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Ex1.xml" ContentType="application/vnd.ms-office.chartex+xml"/>
  <Override PartName="/ppt/charts/style5.xml" ContentType="application/vnd.ms-office.chartstyle+xml"/>
  <Override PartName="/ppt/charts/colors5.xml" ContentType="application/vnd.ms-office.chartcolorstyle+xml"/>
  <Override PartName="/ppt/charts/chartEx2.xml" ContentType="application/vnd.ms-office.chartex+xml"/>
  <Override PartName="/ppt/charts/style6.xml" ContentType="application/vnd.ms-office.chartstyle+xml"/>
  <Override PartName="/ppt/charts/colors6.xml" ContentType="application/vnd.ms-office.chartcolorstyle+xml"/>
  <Override PartName="/ppt/charts/chart5.xml" ContentType="application/vnd.openxmlformats-officedocument.drawingml.chart+xml"/>
  <Override PartName="/ppt/charts/style7.xml" ContentType="application/vnd.ms-office.chartstyle+xml"/>
  <Override PartName="/ppt/charts/colors7.xml" ContentType="application/vnd.ms-office.chartcolorstyle+xml"/>
  <Override PartName="/ppt/charts/chart6.xml" ContentType="application/vnd.openxmlformats-officedocument.drawingml.chart+xml"/>
  <Override PartName="/ppt/charts/style8.xml" ContentType="application/vnd.ms-office.chartstyle+xml"/>
  <Override PartName="/ppt/charts/colors8.xml" ContentType="application/vnd.ms-office.chartcolorstyle+xml"/>
  <Override PartName="/ppt/charts/chart7.xml" ContentType="application/vnd.openxmlformats-officedocument.drawingml.chart+xml"/>
  <Override PartName="/ppt/charts/style9.xml" ContentType="application/vnd.ms-office.chartstyle+xml"/>
  <Override PartName="/ppt/charts/colors9.xml" ContentType="application/vnd.ms-office.chartcolorstyle+xml"/>
  <Override PartName="/ppt/charts/chart8.xml" ContentType="application/vnd.openxmlformats-officedocument.drawingml.chart+xml"/>
  <Override PartName="/ppt/charts/style10.xml" ContentType="application/vnd.ms-office.chartstyle+xml"/>
  <Override PartName="/ppt/charts/colors10.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11"/>
  </p:notesMasterIdLst>
  <p:sldIdLst>
    <p:sldId id="397" r:id="rId2"/>
    <p:sldId id="403" r:id="rId3"/>
    <p:sldId id="401" r:id="rId4"/>
    <p:sldId id="404" r:id="rId5"/>
    <p:sldId id="392" r:id="rId6"/>
    <p:sldId id="405" r:id="rId7"/>
    <p:sldId id="402" r:id="rId8"/>
    <p:sldId id="407" r:id="rId9"/>
    <p:sldId id="399" r:id="rId10"/>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14" autoAdjust="0"/>
    <p:restoredTop sz="92800" autoAdjust="0"/>
  </p:normalViewPr>
  <p:slideViewPr>
    <p:cSldViewPr snapToGrid="0">
      <p:cViewPr varScale="1">
        <p:scale>
          <a:sx n="102" d="100"/>
          <a:sy n="102" d="100"/>
        </p:scale>
        <p:origin x="1848" y="17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file:////Users/divyabastola/Downloads/1618836907_Statistics_Case_Study_Student_Reference_27062020v2.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Users/divyabastola/Downloads/1618836907_Statistics_Case_Study_Student_Reference_27062020v2.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Users/divyabastola/Downloads/1618836907_Statistics_Case_Study_Student_Reference_27062020v2.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Users/divyabastola/Downloads/1618836907_Statistics_Case_Study_Student_Reference_27062020v2.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Users/divyabastola/Downloads/1618836907_Statistics_Case_Study_Student_Reference_27062020v2.xlsx" TargetMode="External"/><Relationship Id="rId2" Type="http://schemas.microsoft.com/office/2011/relationships/chartColorStyle" Target="colors7.xml"/><Relationship Id="rId1" Type="http://schemas.microsoft.com/office/2011/relationships/chartStyle" Target="style7.xml"/></Relationships>
</file>

<file path=ppt/charts/_rels/chart6.xml.rels><?xml version="1.0" encoding="UTF-8" standalone="yes"?>
<Relationships xmlns="http://schemas.openxmlformats.org/package/2006/relationships"><Relationship Id="rId3" Type="http://schemas.openxmlformats.org/officeDocument/2006/relationships/oleObject" Target="file:////Users/divyabastola/Downloads/1618836907_Statistics_Case_Study_Student_Reference_27062020v2.xlsx" TargetMode="External"/><Relationship Id="rId2" Type="http://schemas.microsoft.com/office/2011/relationships/chartColorStyle" Target="colors8.xml"/><Relationship Id="rId1" Type="http://schemas.microsoft.com/office/2011/relationships/chartStyle" Target="style8.xml"/></Relationships>
</file>

<file path=ppt/charts/_rels/chart7.xml.rels><?xml version="1.0" encoding="UTF-8" standalone="yes"?>
<Relationships xmlns="http://schemas.openxmlformats.org/package/2006/relationships"><Relationship Id="rId3" Type="http://schemas.openxmlformats.org/officeDocument/2006/relationships/oleObject" Target="file:////Users/divyabastola/Downloads/1618836907_Statistics_Case_Study_Student_Reference_27062020v2.xlsx" TargetMode="External"/><Relationship Id="rId2" Type="http://schemas.microsoft.com/office/2011/relationships/chartColorStyle" Target="colors9.xml"/><Relationship Id="rId1" Type="http://schemas.microsoft.com/office/2011/relationships/chartStyle" Target="style9.xml"/></Relationships>
</file>

<file path=ppt/charts/_rels/chart8.xml.rels><?xml version="1.0" encoding="UTF-8" standalone="yes"?>
<Relationships xmlns="http://schemas.openxmlformats.org/package/2006/relationships"><Relationship Id="rId3" Type="http://schemas.openxmlformats.org/officeDocument/2006/relationships/oleObject" Target="file:////Users/divyabastola/Downloads/1618836907_Statistics_Case_Study_Student_Reference_27062020v2.xlsx" TargetMode="External"/><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oleObject" Target="file:////Users/divyabastola/Downloads/1618836907_Statistics_Case_Study_Student_Reference_27062020v2.xlsx" TargetMode="External"/></Relationships>
</file>

<file path=ppt/charts/_rels/chartEx2.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oleObject" Target="file:////Users/divyabastola/Downloads/1618836907_Statistics_Case_Study_Student_Reference_27062020v2.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Correlation Coefficient Pump Failure (Rolling</a:t>
            </a:r>
            <a:r>
              <a:rPr lang="en-US" b="1" baseline="0"/>
              <a:t> Stdev)</a:t>
            </a:r>
            <a:endParaRPr lang="en-US" b="1"/>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cat>
            <c:strRef>
              <c:f>'Inferential Statistics'!$W$38:$W$44</c:f>
              <c:strCache>
                <c:ptCount val="7"/>
                <c:pt idx="0">
                  <c:v>Horse Power</c:v>
                </c:pt>
                <c:pt idx="1">
                  <c:v>Volumetric Flow Meter 1</c:v>
                </c:pt>
                <c:pt idx="2">
                  <c:v>Pump Efficiency</c:v>
                </c:pt>
                <c:pt idx="3">
                  <c:v>Volumetric Flow Meter 2</c:v>
                </c:pt>
                <c:pt idx="4">
                  <c:v>Pump Speed (RPM)</c:v>
                </c:pt>
                <c:pt idx="5">
                  <c:v>Ambient Temperature</c:v>
                </c:pt>
                <c:pt idx="6">
                  <c:v>Pump Torque </c:v>
                </c:pt>
              </c:strCache>
            </c:strRef>
          </c:cat>
          <c:val>
            <c:numRef>
              <c:f>'Inferential Statistics'!$X$38:$X$44</c:f>
              <c:numCache>
                <c:formatCode>General</c:formatCode>
                <c:ptCount val="7"/>
                <c:pt idx="0">
                  <c:v>0.69010189460739213</c:v>
                </c:pt>
                <c:pt idx="1">
                  <c:v>0.64488041602710289</c:v>
                </c:pt>
                <c:pt idx="2">
                  <c:v>0.64355468682792749</c:v>
                </c:pt>
                <c:pt idx="3">
                  <c:v>0.62592087058373946</c:v>
                </c:pt>
                <c:pt idx="4">
                  <c:v>0.62455590762221425</c:v>
                </c:pt>
                <c:pt idx="5">
                  <c:v>0.60005043132418734</c:v>
                </c:pt>
                <c:pt idx="6">
                  <c:v>0.59726041395457108</c:v>
                </c:pt>
              </c:numCache>
            </c:numRef>
          </c:val>
          <c:extLst>
            <c:ext xmlns:c16="http://schemas.microsoft.com/office/drawing/2014/chart" uri="{C3380CC4-5D6E-409C-BE32-E72D297353CC}">
              <c16:uniqueId val="{00000000-A004-C542-A3B6-197D448BF7EB}"/>
            </c:ext>
          </c:extLst>
        </c:ser>
        <c:dLbls>
          <c:showLegendKey val="0"/>
          <c:showVal val="0"/>
          <c:showCatName val="0"/>
          <c:showSerName val="0"/>
          <c:showPercent val="0"/>
          <c:showBubbleSize val="0"/>
        </c:dLbls>
        <c:gapWidth val="219"/>
        <c:overlap val="-27"/>
        <c:axId val="1082006655"/>
        <c:axId val="1107543263"/>
      </c:barChart>
      <c:catAx>
        <c:axId val="10820066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107543263"/>
        <c:crosses val="autoZero"/>
        <c:auto val="1"/>
        <c:lblAlgn val="ctr"/>
        <c:lblOffset val="100"/>
        <c:noMultiLvlLbl val="0"/>
      </c:catAx>
      <c:valAx>
        <c:axId val="110754326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08200665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Statistical Alarm Plot</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3"/>
          <c:order val="3"/>
          <c:tx>
            <c:strRef>
              <c:f>'Data Preparation'!$K$1</c:f>
              <c:strCache>
                <c:ptCount val="1"/>
                <c:pt idx="0">
                  <c:v>Regressive Equation</c:v>
                </c:pt>
              </c:strCache>
            </c:strRef>
          </c:tx>
          <c:spPr>
            <a:ln w="28575" cap="rnd">
              <a:solidFill>
                <a:schemeClr val="accent4"/>
              </a:solidFill>
              <a:round/>
            </a:ln>
            <a:effectLst/>
          </c:spPr>
          <c:marker>
            <c:symbol val="none"/>
          </c:marker>
          <c:val>
            <c:numRef>
              <c:f>'Data Preparation'!$K$2:$K$2420</c:f>
              <c:numCache>
                <c:formatCode>0.00</c:formatCode>
                <c:ptCount val="2419"/>
                <c:pt idx="0">
                  <c:v>-0.84581111618396587</c:v>
                </c:pt>
                <c:pt idx="1">
                  <c:v>-0.88796368380762647</c:v>
                </c:pt>
                <c:pt idx="2">
                  <c:v>-0.91176371230085307</c:v>
                </c:pt>
                <c:pt idx="3">
                  <c:v>-0.9337589494455677</c:v>
                </c:pt>
                <c:pt idx="4">
                  <c:v>-0.9217931394428085</c:v>
                </c:pt>
                <c:pt idx="5">
                  <c:v>-0.94418658677016154</c:v>
                </c:pt>
                <c:pt idx="6">
                  <c:v>-0.87511223923410664</c:v>
                </c:pt>
                <c:pt idx="7">
                  <c:v>-0.88934052226828186</c:v>
                </c:pt>
                <c:pt idx="8">
                  <c:v>-0.95058218120008242</c:v>
                </c:pt>
                <c:pt idx="9">
                  <c:v>-0.95944942915330578</c:v>
                </c:pt>
                <c:pt idx="10">
                  <c:v>-0.9641835467011971</c:v>
                </c:pt>
                <c:pt idx="11">
                  <c:v>-0.98334219078275542</c:v>
                </c:pt>
                <c:pt idx="12">
                  <c:v>-0.99848476811015796</c:v>
                </c:pt>
                <c:pt idx="13">
                  <c:v>-1.0332868188660285</c:v>
                </c:pt>
                <c:pt idx="14">
                  <c:v>-1.0287484591055192</c:v>
                </c:pt>
                <c:pt idx="15">
                  <c:v>-1.0279379777202231</c:v>
                </c:pt>
                <c:pt idx="16">
                  <c:v>-1.0382656161305224</c:v>
                </c:pt>
                <c:pt idx="17">
                  <c:v>-1.0507958983483612</c:v>
                </c:pt>
                <c:pt idx="18">
                  <c:v>-1.0898786962615756</c:v>
                </c:pt>
                <c:pt idx="19">
                  <c:v>-1.0545050240785496</c:v>
                </c:pt>
                <c:pt idx="20">
                  <c:v>-1.0968683335039702</c:v>
                </c:pt>
                <c:pt idx="21">
                  <c:v>-1.0819716624664357</c:v>
                </c:pt>
                <c:pt idx="22">
                  <c:v>-1.1142205683155857</c:v>
                </c:pt>
                <c:pt idx="23">
                  <c:v>-1.1161454737954941</c:v>
                </c:pt>
                <c:pt idx="24">
                  <c:v>-1.1181709365301802</c:v>
                </c:pt>
                <c:pt idx="25">
                  <c:v>-1.0757334304146946</c:v>
                </c:pt>
                <c:pt idx="26">
                  <c:v>-1.064373016731353</c:v>
                </c:pt>
                <c:pt idx="27">
                  <c:v>-1.1027616359758734</c:v>
                </c:pt>
                <c:pt idx="28">
                  <c:v>-1.0966586367983944</c:v>
                </c:pt>
                <c:pt idx="29">
                  <c:v>-1.1148861437687672</c:v>
                </c:pt>
                <c:pt idx="30">
                  <c:v>-1.1125336613867263</c:v>
                </c:pt>
                <c:pt idx="31">
                  <c:v>-1.0811249750235961</c:v>
                </c:pt>
                <c:pt idx="32">
                  <c:v>-1.030576098899993</c:v>
                </c:pt>
                <c:pt idx="33">
                  <c:v>-1.073849443353696</c:v>
                </c:pt>
                <c:pt idx="34">
                  <c:v>-1.1030420173596109</c:v>
                </c:pt>
                <c:pt idx="35">
                  <c:v>-1.0481825004095289</c:v>
                </c:pt>
                <c:pt idx="36">
                  <c:v>-1.0468606068424871</c:v>
                </c:pt>
                <c:pt idx="37">
                  <c:v>-1.026771824738212</c:v>
                </c:pt>
                <c:pt idx="38">
                  <c:v>-1.0046006526633313</c:v>
                </c:pt>
                <c:pt idx="39">
                  <c:v>-1.012781093488704</c:v>
                </c:pt>
                <c:pt idx="40">
                  <c:v>-1.01824976920566</c:v>
                </c:pt>
                <c:pt idx="41">
                  <c:v>-1.0517577431660106</c:v>
                </c:pt>
                <c:pt idx="42">
                  <c:v>-1.2518381734430069</c:v>
                </c:pt>
                <c:pt idx="43">
                  <c:v>-1.2528535493726787</c:v>
                </c:pt>
                <c:pt idx="44">
                  <c:v>-1.2243716716465092</c:v>
                </c:pt>
                <c:pt idx="45">
                  <c:v>-1.2097081563441923</c:v>
                </c:pt>
                <c:pt idx="46">
                  <c:v>-1.2054623752666436</c:v>
                </c:pt>
                <c:pt idx="47">
                  <c:v>-1.1687945461587397</c:v>
                </c:pt>
                <c:pt idx="48">
                  <c:v>-1.1102510220541306</c:v>
                </c:pt>
                <c:pt idx="49">
                  <c:v>-1.0655249687046395</c:v>
                </c:pt>
                <c:pt idx="50">
                  <c:v>-1.0916347940843854</c:v>
                </c:pt>
                <c:pt idx="51">
                  <c:v>-1.0796544767896008</c:v>
                </c:pt>
                <c:pt idx="52">
                  <c:v>-1.0798974358812536</c:v>
                </c:pt>
                <c:pt idx="53">
                  <c:v>-1.0645946402981701</c:v>
                </c:pt>
                <c:pt idx="54">
                  <c:v>-1.0616998252149505</c:v>
                </c:pt>
                <c:pt idx="55">
                  <c:v>-1.0760739392716721</c:v>
                </c:pt>
                <c:pt idx="56">
                  <c:v>-1.0524097038698381</c:v>
                </c:pt>
                <c:pt idx="57">
                  <c:v>-1.0248507843960513</c:v>
                </c:pt>
                <c:pt idx="58">
                  <c:v>-0.99509227411490797</c:v>
                </c:pt>
                <c:pt idx="59">
                  <c:v>-0.99429860989391194</c:v>
                </c:pt>
                <c:pt idx="60">
                  <c:v>-1.0148053595132236</c:v>
                </c:pt>
                <c:pt idx="61">
                  <c:v>-0.98177116432413147</c:v>
                </c:pt>
                <c:pt idx="62">
                  <c:v>-0.96950240057424464</c:v>
                </c:pt>
                <c:pt idx="63">
                  <c:v>-0.9827409258303984</c:v>
                </c:pt>
                <c:pt idx="64">
                  <c:v>-1.0385515659911184</c:v>
                </c:pt>
                <c:pt idx="65">
                  <c:v>-1.0190024027017868</c:v>
                </c:pt>
                <c:pt idx="66">
                  <c:v>-1.0100587215110173</c:v>
                </c:pt>
                <c:pt idx="67">
                  <c:v>-1.0107612892630025</c:v>
                </c:pt>
                <c:pt idx="68">
                  <c:v>-1.0091844594772086</c:v>
                </c:pt>
                <c:pt idx="69">
                  <c:v>-0.97422289519932304</c:v>
                </c:pt>
                <c:pt idx="70">
                  <c:v>-1.0194954574664552</c:v>
                </c:pt>
                <c:pt idx="71">
                  <c:v>-0.95190899225412173</c:v>
                </c:pt>
                <c:pt idx="72">
                  <c:v>-1.034748027671321</c:v>
                </c:pt>
                <c:pt idx="73">
                  <c:v>-1.0531087630496669</c:v>
                </c:pt>
                <c:pt idx="74">
                  <c:v>-1.0384311572253</c:v>
                </c:pt>
                <c:pt idx="75">
                  <c:v>-1.0250868492736549</c:v>
                </c:pt>
                <c:pt idx="76">
                  <c:v>-1.0288266642011357</c:v>
                </c:pt>
                <c:pt idx="77">
                  <c:v>-1.0520921685945128</c:v>
                </c:pt>
                <c:pt idx="78">
                  <c:v>-1.0512498053349844</c:v>
                </c:pt>
                <c:pt idx="79">
                  <c:v>-1.1104504521809324</c:v>
                </c:pt>
                <c:pt idx="80">
                  <c:v>-1.1185175353213987</c:v>
                </c:pt>
                <c:pt idx="81">
                  <c:v>-1.1094211549444997</c:v>
                </c:pt>
                <c:pt idx="82">
                  <c:v>-1.1070660033539999</c:v>
                </c:pt>
                <c:pt idx="83">
                  <c:v>-1.1366158355757838</c:v>
                </c:pt>
                <c:pt idx="84">
                  <c:v>-1.1272728544121859</c:v>
                </c:pt>
                <c:pt idx="85">
                  <c:v>-1.1185133730214054</c:v>
                </c:pt>
                <c:pt idx="86">
                  <c:v>-1.1050224302419469</c:v>
                </c:pt>
                <c:pt idx="87">
                  <c:v>-1.1181708379502131</c:v>
                </c:pt>
                <c:pt idx="88">
                  <c:v>-1.134177123733273</c:v>
                </c:pt>
                <c:pt idx="89">
                  <c:v>-1.12641622245613</c:v>
                </c:pt>
                <c:pt idx="90">
                  <c:v>-1.1473547173232979</c:v>
                </c:pt>
                <c:pt idx="91">
                  <c:v>-1.1421802859470729</c:v>
                </c:pt>
                <c:pt idx="92">
                  <c:v>-1.1412355446299352</c:v>
                </c:pt>
                <c:pt idx="93">
                  <c:v>-1.1100524306811674</c:v>
                </c:pt>
                <c:pt idx="94">
                  <c:v>-1.0701373495807904</c:v>
                </c:pt>
                <c:pt idx="95">
                  <c:v>-1.1248726161440548</c:v>
                </c:pt>
                <c:pt idx="96">
                  <c:v>-1.1030296344997987</c:v>
                </c:pt>
                <c:pt idx="97">
                  <c:v>-1.1190954432784073</c:v>
                </c:pt>
                <c:pt idx="98">
                  <c:v>-1.1032444292329699</c:v>
                </c:pt>
                <c:pt idx="99">
                  <c:v>-1.107399839350099</c:v>
                </c:pt>
                <c:pt idx="100">
                  <c:v>-1.0730336867201355</c:v>
                </c:pt>
                <c:pt idx="101">
                  <c:v>-1.0476163955699218</c:v>
                </c:pt>
                <c:pt idx="102">
                  <c:v>-0.98272565744823714</c:v>
                </c:pt>
                <c:pt idx="103">
                  <c:v>-0.92387021545010561</c:v>
                </c:pt>
                <c:pt idx="104">
                  <c:v>-0.93251398069111302</c:v>
                </c:pt>
                <c:pt idx="105">
                  <c:v>-0.9289131850263993</c:v>
                </c:pt>
                <c:pt idx="106">
                  <c:v>-0.91471713766420559</c:v>
                </c:pt>
                <c:pt idx="107">
                  <c:v>-0.9258058778327658</c:v>
                </c:pt>
                <c:pt idx="108">
                  <c:v>-0.93686974100459686</c:v>
                </c:pt>
                <c:pt idx="109">
                  <c:v>-0.90645144635548225</c:v>
                </c:pt>
                <c:pt idx="110">
                  <c:v>-0.90306997780776499</c:v>
                </c:pt>
                <c:pt idx="111">
                  <c:v>-0.89304482772090577</c:v>
                </c:pt>
                <c:pt idx="112">
                  <c:v>-0.87306161260175874</c:v>
                </c:pt>
                <c:pt idx="113">
                  <c:v>-0.85190906923116394</c:v>
                </c:pt>
                <c:pt idx="114">
                  <c:v>-0.88663647052932204</c:v>
                </c:pt>
                <c:pt idx="115">
                  <c:v>-0.87203885492232147</c:v>
                </c:pt>
                <c:pt idx="116">
                  <c:v>-0.91577349284805265</c:v>
                </c:pt>
                <c:pt idx="117">
                  <c:v>-0.94725858262115548</c:v>
                </c:pt>
                <c:pt idx="118">
                  <c:v>-0.92917112356935094</c:v>
                </c:pt>
                <c:pt idx="119">
                  <c:v>-0.98661626866591623</c:v>
                </c:pt>
                <c:pt idx="120">
                  <c:v>-0.95795901838416486</c:v>
                </c:pt>
                <c:pt idx="121">
                  <c:v>-0.92215845623277404</c:v>
                </c:pt>
                <c:pt idx="122">
                  <c:v>-0.91011135954682909</c:v>
                </c:pt>
                <c:pt idx="123">
                  <c:v>-0.91348245450267052</c:v>
                </c:pt>
                <c:pt idx="124">
                  <c:v>-0.9151934297897566</c:v>
                </c:pt>
                <c:pt idx="125">
                  <c:v>-0.89154081538733176</c:v>
                </c:pt>
                <c:pt idx="126">
                  <c:v>-0.90446786909496868</c:v>
                </c:pt>
                <c:pt idx="127">
                  <c:v>-0.93993026944769287</c:v>
                </c:pt>
                <c:pt idx="128">
                  <c:v>-0.93462619884152742</c:v>
                </c:pt>
                <c:pt idx="129">
                  <c:v>-0.92305601787497682</c:v>
                </c:pt>
                <c:pt idx="130">
                  <c:v>-0.93241293819233717</c:v>
                </c:pt>
                <c:pt idx="131">
                  <c:v>-0.93209999173044777</c:v>
                </c:pt>
                <c:pt idx="132">
                  <c:v>-0.93917325463331658</c:v>
                </c:pt>
                <c:pt idx="133">
                  <c:v>-0.96252572082715449</c:v>
                </c:pt>
                <c:pt idx="134">
                  <c:v>-0.94869831325069054</c:v>
                </c:pt>
                <c:pt idx="135">
                  <c:v>-0.98290569142641027</c:v>
                </c:pt>
                <c:pt idx="136">
                  <c:v>-0.9773266548006263</c:v>
                </c:pt>
                <c:pt idx="137">
                  <c:v>-0.93247090407793631</c:v>
                </c:pt>
                <c:pt idx="138">
                  <c:v>-0.8835572536394749</c:v>
                </c:pt>
                <c:pt idx="139">
                  <c:v>-0.81531642170870922</c:v>
                </c:pt>
                <c:pt idx="140">
                  <c:v>-0.82652367686819139</c:v>
                </c:pt>
                <c:pt idx="141">
                  <c:v>-0.89615689408507337</c:v>
                </c:pt>
                <c:pt idx="142">
                  <c:v>-0.90056421314868884</c:v>
                </c:pt>
                <c:pt idx="143">
                  <c:v>-0.9026092773580372</c:v>
                </c:pt>
                <c:pt idx="144">
                  <c:v>-0.90903310188729458</c:v>
                </c:pt>
                <c:pt idx="145">
                  <c:v>-0.97611596122209277</c:v>
                </c:pt>
                <c:pt idx="146">
                  <c:v>-0.9990648211088502</c:v>
                </c:pt>
                <c:pt idx="147">
                  <c:v>-0.97101473796616211</c:v>
                </c:pt>
                <c:pt idx="148">
                  <c:v>-0.92557456856133391</c:v>
                </c:pt>
                <c:pt idx="149">
                  <c:v>-0.88026713789963074</c:v>
                </c:pt>
                <c:pt idx="150">
                  <c:v>-0.90368242623311434</c:v>
                </c:pt>
                <c:pt idx="151">
                  <c:v>-0.93682635882034138</c:v>
                </c:pt>
                <c:pt idx="152">
                  <c:v>-0.95470826105920059</c:v>
                </c:pt>
                <c:pt idx="153">
                  <c:v>-1.0044009292604523</c:v>
                </c:pt>
                <c:pt idx="154">
                  <c:v>-1.0321232357668912</c:v>
                </c:pt>
                <c:pt idx="155">
                  <c:v>-1.0290564204296491</c:v>
                </c:pt>
                <c:pt idx="156">
                  <c:v>-1.0479141201459545</c:v>
                </c:pt>
                <c:pt idx="157">
                  <c:v>-1.0661583245471999</c:v>
                </c:pt>
                <c:pt idx="158">
                  <c:v>-1.0457910928407366</c:v>
                </c:pt>
                <c:pt idx="159">
                  <c:v>-1.0542011028984122</c:v>
                </c:pt>
                <c:pt idx="160">
                  <c:v>-1.0551786300187467</c:v>
                </c:pt>
                <c:pt idx="161">
                  <c:v>-1.0653089356683147</c:v>
                </c:pt>
                <c:pt idx="162">
                  <c:v>-1.0942536334299389</c:v>
                </c:pt>
                <c:pt idx="163">
                  <c:v>-1.1169443507701902</c:v>
                </c:pt>
                <c:pt idx="164">
                  <c:v>-1.1402726677596211</c:v>
                </c:pt>
                <c:pt idx="165">
                  <c:v>-1.1272135740091946</c:v>
                </c:pt>
                <c:pt idx="166">
                  <c:v>-1.143869404504027</c:v>
                </c:pt>
                <c:pt idx="167">
                  <c:v>-1.1652412124356069</c:v>
                </c:pt>
                <c:pt idx="168">
                  <c:v>-1.2188267511506055</c:v>
                </c:pt>
                <c:pt idx="169">
                  <c:v>-1.1938347015418036</c:v>
                </c:pt>
                <c:pt idx="170">
                  <c:v>-1.1522662870443865</c:v>
                </c:pt>
                <c:pt idx="171">
                  <c:v>-1.1575539005236257</c:v>
                </c:pt>
                <c:pt idx="172">
                  <c:v>-1.1728610124018997</c:v>
                </c:pt>
                <c:pt idx="173">
                  <c:v>-1.1755017584935965</c:v>
                </c:pt>
                <c:pt idx="174">
                  <c:v>-1.1886979457604783</c:v>
                </c:pt>
                <c:pt idx="175">
                  <c:v>-1.1934657122913797</c:v>
                </c:pt>
                <c:pt idx="176">
                  <c:v>-1.1628175677780874</c:v>
                </c:pt>
                <c:pt idx="177">
                  <c:v>-1.169739465771451</c:v>
                </c:pt>
                <c:pt idx="178">
                  <c:v>-1.186447855532053</c:v>
                </c:pt>
                <c:pt idx="179">
                  <c:v>-1.1922955775291175</c:v>
                </c:pt>
                <c:pt idx="180">
                  <c:v>-1.2333139182246893</c:v>
                </c:pt>
                <c:pt idx="181">
                  <c:v>-1.2089763675098022</c:v>
                </c:pt>
                <c:pt idx="182">
                  <c:v>-1.2302505040489857</c:v>
                </c:pt>
                <c:pt idx="183">
                  <c:v>-1.2025481136392822</c:v>
                </c:pt>
                <c:pt idx="184">
                  <c:v>-1.2117532054697289</c:v>
                </c:pt>
                <c:pt idx="185">
                  <c:v>-1.2831401053426668</c:v>
                </c:pt>
                <c:pt idx="186">
                  <c:v>-1.3862332763001</c:v>
                </c:pt>
                <c:pt idx="187">
                  <c:v>-1.3677230994927829</c:v>
                </c:pt>
                <c:pt idx="188">
                  <c:v>-1.3722979792447527</c:v>
                </c:pt>
                <c:pt idx="189">
                  <c:v>-1.385300837657182</c:v>
                </c:pt>
                <c:pt idx="190">
                  <c:v>-1.4032292610697652</c:v>
                </c:pt>
                <c:pt idx="191">
                  <c:v>-1.4962709177838671</c:v>
                </c:pt>
                <c:pt idx="192">
                  <c:v>-1.4658857216011605</c:v>
                </c:pt>
                <c:pt idx="193">
                  <c:v>-1.4636231461917544</c:v>
                </c:pt>
                <c:pt idx="194">
                  <c:v>-1.4402246565971892</c:v>
                </c:pt>
                <c:pt idx="195">
                  <c:v>-1.4810602289593044</c:v>
                </c:pt>
                <c:pt idx="196">
                  <c:v>-1.4764563608331593</c:v>
                </c:pt>
                <c:pt idx="197">
                  <c:v>-1.4091329201001632</c:v>
                </c:pt>
                <c:pt idx="198">
                  <c:v>-1.4240937691965543</c:v>
                </c:pt>
                <c:pt idx="199">
                  <c:v>-1.400380980712602</c:v>
                </c:pt>
                <c:pt idx="200">
                  <c:v>-1.4180293286113892</c:v>
                </c:pt>
                <c:pt idx="201">
                  <c:v>-1.3232379486576034</c:v>
                </c:pt>
                <c:pt idx="202">
                  <c:v>-1.3089827304022703</c:v>
                </c:pt>
                <c:pt idx="203">
                  <c:v>-1.2981135893931086</c:v>
                </c:pt>
                <c:pt idx="204">
                  <c:v>-1.2014314327342743</c:v>
                </c:pt>
                <c:pt idx="205">
                  <c:v>-1.0906343127008344</c:v>
                </c:pt>
                <c:pt idx="206">
                  <c:v>-1.0458272154775765</c:v>
                </c:pt>
                <c:pt idx="207">
                  <c:v>-1.0412443789655343</c:v>
                </c:pt>
                <c:pt idx="208">
                  <c:v>-0.97363586372029798</c:v>
                </c:pt>
                <c:pt idx="209">
                  <c:v>-0.86921808506707132</c:v>
                </c:pt>
                <c:pt idx="210">
                  <c:v>-0.67735646513610603</c:v>
                </c:pt>
                <c:pt idx="211">
                  <c:v>-0.68705071891735614</c:v>
                </c:pt>
                <c:pt idx="212">
                  <c:v>-0.72464430551733516</c:v>
                </c:pt>
                <c:pt idx="213">
                  <c:v>-0.71249601064657253</c:v>
                </c:pt>
                <c:pt idx="214">
                  <c:v>-0.73091030938393597</c:v>
                </c:pt>
                <c:pt idx="215">
                  <c:v>-0.72146220655571536</c:v>
                </c:pt>
                <c:pt idx="216">
                  <c:v>-0.70135049523204018</c:v>
                </c:pt>
                <c:pt idx="217">
                  <c:v>-0.72195307239970119</c:v>
                </c:pt>
                <c:pt idx="218">
                  <c:v>-0.6962929394154278</c:v>
                </c:pt>
                <c:pt idx="219">
                  <c:v>-0.69947918858981184</c:v>
                </c:pt>
                <c:pt idx="220">
                  <c:v>-0.7004746176172445</c:v>
                </c:pt>
                <c:pt idx="221">
                  <c:v>-0.68869374775377823</c:v>
                </c:pt>
                <c:pt idx="222">
                  <c:v>-0.71037813744709077</c:v>
                </c:pt>
                <c:pt idx="223">
                  <c:v>-0.7051169279237951</c:v>
                </c:pt>
                <c:pt idx="224">
                  <c:v>-0.71529359991707309</c:v>
                </c:pt>
                <c:pt idx="225">
                  <c:v>-0.90432230449007645</c:v>
                </c:pt>
                <c:pt idx="226">
                  <c:v>-0.93746923096887158</c:v>
                </c:pt>
                <c:pt idx="227">
                  <c:v>-0.99675692300797736</c:v>
                </c:pt>
                <c:pt idx="228">
                  <c:v>-1.0147424008462065</c:v>
                </c:pt>
                <c:pt idx="229">
                  <c:v>-1.089258901093209</c:v>
                </c:pt>
                <c:pt idx="230">
                  <c:v>-1.1174164056331963</c:v>
                </c:pt>
                <c:pt idx="231">
                  <c:v>-1.1083802963767371</c:v>
                </c:pt>
                <c:pt idx="232">
                  <c:v>-1.2087476254479703</c:v>
                </c:pt>
                <c:pt idx="233">
                  <c:v>-1.2341409938672685</c:v>
                </c:pt>
                <c:pt idx="234">
                  <c:v>-1.3102225746525922</c:v>
                </c:pt>
                <c:pt idx="235">
                  <c:v>-1.3602391891112449</c:v>
                </c:pt>
                <c:pt idx="236">
                  <c:v>-1.374641490651572</c:v>
                </c:pt>
                <c:pt idx="237">
                  <c:v>-1.4435198672278575</c:v>
                </c:pt>
                <c:pt idx="238">
                  <c:v>-1.4834509786376116</c:v>
                </c:pt>
                <c:pt idx="239">
                  <c:v>-1.4623904531087888</c:v>
                </c:pt>
                <c:pt idx="240">
                  <c:v>-1.4426972069928845</c:v>
                </c:pt>
                <c:pt idx="241">
                  <c:v>-1.3972864836724792</c:v>
                </c:pt>
                <c:pt idx="242">
                  <c:v>-1.3477468857532633</c:v>
                </c:pt>
                <c:pt idx="243">
                  <c:v>-1.3533859568732507</c:v>
                </c:pt>
                <c:pt idx="244">
                  <c:v>-1.2802710703787699</c:v>
                </c:pt>
                <c:pt idx="245">
                  <c:v>-1.2888646686970879</c:v>
                </c:pt>
                <c:pt idx="246">
                  <c:v>-1.2589521630095333</c:v>
                </c:pt>
                <c:pt idx="247">
                  <c:v>-1.1946425898047557</c:v>
                </c:pt>
                <c:pt idx="248">
                  <c:v>-1.1235121121303266</c:v>
                </c:pt>
                <c:pt idx="249">
                  <c:v>-1.1299113172416329</c:v>
                </c:pt>
                <c:pt idx="250">
                  <c:v>-1.1367118018842353</c:v>
                </c:pt>
                <c:pt idx="251">
                  <c:v>-1.1365621464527402</c:v>
                </c:pt>
                <c:pt idx="252">
                  <c:v>-1.1427462878603409</c:v>
                </c:pt>
                <c:pt idx="253">
                  <c:v>-1.0755645240190104</c:v>
                </c:pt>
                <c:pt idx="254">
                  <c:v>-1.037084138178616</c:v>
                </c:pt>
                <c:pt idx="255">
                  <c:v>-1.031078245999665</c:v>
                </c:pt>
                <c:pt idx="256">
                  <c:v>-1.032428324796566</c:v>
                </c:pt>
                <c:pt idx="257">
                  <c:v>-1.0396910590447543</c:v>
                </c:pt>
                <c:pt idx="258">
                  <c:v>-1.0433568004295799</c:v>
                </c:pt>
                <c:pt idx="259">
                  <c:v>-1.1135747866464332</c:v>
                </c:pt>
                <c:pt idx="260">
                  <c:v>-1.1297497559134788</c:v>
                </c:pt>
                <c:pt idx="261">
                  <c:v>-1.1472132143672353</c:v>
                </c:pt>
                <c:pt idx="262">
                  <c:v>-1.1136101241198755</c:v>
                </c:pt>
                <c:pt idx="263">
                  <c:v>-1.175080350303229</c:v>
                </c:pt>
                <c:pt idx="264">
                  <c:v>-1.1300094581476721</c:v>
                </c:pt>
                <c:pt idx="265">
                  <c:v>-1.144248822239986</c:v>
                </c:pt>
                <c:pt idx="266">
                  <c:v>-1.1645529156601555</c:v>
                </c:pt>
                <c:pt idx="267">
                  <c:v>-1.1806816313600281</c:v>
                </c:pt>
                <c:pt idx="268">
                  <c:v>-1.1804080095540972</c:v>
                </c:pt>
                <c:pt idx="269">
                  <c:v>-1.2102406019001397</c:v>
                </c:pt>
                <c:pt idx="270">
                  <c:v>-1.2144446061375489</c:v>
                </c:pt>
                <c:pt idx="271">
                  <c:v>-1.27803299527815</c:v>
                </c:pt>
                <c:pt idx="272">
                  <c:v>-1.2291079220737831</c:v>
                </c:pt>
                <c:pt idx="273">
                  <c:v>-1.2235265290081849</c:v>
                </c:pt>
                <c:pt idx="274">
                  <c:v>-1.2414733685977208</c:v>
                </c:pt>
                <c:pt idx="275">
                  <c:v>-1.2521280093328313</c:v>
                </c:pt>
                <c:pt idx="276">
                  <c:v>-1.2827101422520866</c:v>
                </c:pt>
                <c:pt idx="277">
                  <c:v>-1.2477808016445426</c:v>
                </c:pt>
                <c:pt idx="278">
                  <c:v>-1.2362004439026759</c:v>
                </c:pt>
                <c:pt idx="279">
                  <c:v>-1.2265149874440007</c:v>
                </c:pt>
                <c:pt idx="280">
                  <c:v>-1.1835822510883041</c:v>
                </c:pt>
                <c:pt idx="281">
                  <c:v>-1.143129298328984</c:v>
                </c:pt>
                <c:pt idx="282">
                  <c:v>-1.1573813284930468</c:v>
                </c:pt>
                <c:pt idx="283">
                  <c:v>-1.1721078304798669</c:v>
                </c:pt>
                <c:pt idx="284">
                  <c:v>-1.2325594029590867</c:v>
                </c:pt>
                <c:pt idx="285">
                  <c:v>-1.2019319541651254</c:v>
                </c:pt>
                <c:pt idx="286">
                  <c:v>-1.2418103326336232</c:v>
                </c:pt>
                <c:pt idx="287">
                  <c:v>-1.2251100861966271</c:v>
                </c:pt>
                <c:pt idx="288">
                  <c:v>-1.2592611034553103</c:v>
                </c:pt>
                <c:pt idx="289">
                  <c:v>-1.2164159180555991</c:v>
                </c:pt>
                <c:pt idx="290">
                  <c:v>-1.1944037165313151</c:v>
                </c:pt>
                <c:pt idx="291">
                  <c:v>-1.1861746321270603</c:v>
                </c:pt>
                <c:pt idx="292">
                  <c:v>-1.1894023702591028</c:v>
                </c:pt>
                <c:pt idx="293">
                  <c:v>-1.1870160629480613</c:v>
                </c:pt>
                <c:pt idx="294">
                  <c:v>-1.2110228101674392</c:v>
                </c:pt>
                <c:pt idx="295">
                  <c:v>-1.1887945893382867</c:v>
                </c:pt>
                <c:pt idx="296">
                  <c:v>-1.183126744783068</c:v>
                </c:pt>
                <c:pt idx="297">
                  <c:v>-1.1784478147741366</c:v>
                </c:pt>
                <c:pt idx="298">
                  <c:v>-1.1588360811415794</c:v>
                </c:pt>
                <c:pt idx="299">
                  <c:v>-1.1090095421038433</c:v>
                </c:pt>
                <c:pt idx="300">
                  <c:v>-1.1515547343969819</c:v>
                </c:pt>
                <c:pt idx="301">
                  <c:v>-1.1039162247128615</c:v>
                </c:pt>
                <c:pt idx="302">
                  <c:v>-1.104423327719624</c:v>
                </c:pt>
                <c:pt idx="303">
                  <c:v>-1.0293082688975859</c:v>
                </c:pt>
                <c:pt idx="304">
                  <c:v>-0.99820723616319196</c:v>
                </c:pt>
                <c:pt idx="305">
                  <c:v>-1.0131050159250161</c:v>
                </c:pt>
                <c:pt idx="306">
                  <c:v>-0.99419712292472351</c:v>
                </c:pt>
                <c:pt idx="307">
                  <c:v>-1.0249916255231963</c:v>
                </c:pt>
                <c:pt idx="308">
                  <c:v>-1.0269435330308059</c:v>
                </c:pt>
                <c:pt idx="309">
                  <c:v>-1.0048535039664217</c:v>
                </c:pt>
                <c:pt idx="310">
                  <c:v>-1.0370378773004294</c:v>
                </c:pt>
                <c:pt idx="311">
                  <c:v>-1.026472795556689</c:v>
                </c:pt>
                <c:pt idx="312">
                  <c:v>-0.97038981386352896</c:v>
                </c:pt>
                <c:pt idx="313">
                  <c:v>-0.9619623745146143</c:v>
                </c:pt>
                <c:pt idx="314">
                  <c:v>-0.89081753147697218</c:v>
                </c:pt>
                <c:pt idx="315">
                  <c:v>-0.87429353557833123</c:v>
                </c:pt>
                <c:pt idx="316">
                  <c:v>-0.81097470396421767</c:v>
                </c:pt>
                <c:pt idx="317">
                  <c:v>-0.82898277323267267</c:v>
                </c:pt>
                <c:pt idx="318">
                  <c:v>-0.80238345262799382</c:v>
                </c:pt>
                <c:pt idx="319">
                  <c:v>-0.81200712690743981</c:v>
                </c:pt>
                <c:pt idx="320">
                  <c:v>-0.81422934819040227</c:v>
                </c:pt>
                <c:pt idx="321">
                  <c:v>-0.83774536640802166</c:v>
                </c:pt>
                <c:pt idx="322">
                  <c:v>-0.81419512739754407</c:v>
                </c:pt>
                <c:pt idx="323">
                  <c:v>-0.78375762708630858</c:v>
                </c:pt>
                <c:pt idx="324">
                  <c:v>-0.78349917499874433</c:v>
                </c:pt>
                <c:pt idx="325">
                  <c:v>-0.81642741408963837</c:v>
                </c:pt>
                <c:pt idx="326">
                  <c:v>-0.8327421038105518</c:v>
                </c:pt>
                <c:pt idx="327">
                  <c:v>-0.84183756061673032</c:v>
                </c:pt>
                <c:pt idx="328">
                  <c:v>-0.81845165358415706</c:v>
                </c:pt>
                <c:pt idx="329">
                  <c:v>-0.90127569040407995</c:v>
                </c:pt>
                <c:pt idx="330">
                  <c:v>-0.89038585343661247</c:v>
                </c:pt>
                <c:pt idx="331">
                  <c:v>-0.89170709208732624</c:v>
                </c:pt>
                <c:pt idx="332">
                  <c:v>-0.92166670521907057</c:v>
                </c:pt>
                <c:pt idx="333">
                  <c:v>-0.97386456034204394</c:v>
                </c:pt>
                <c:pt idx="334">
                  <c:v>-0.9975635412185635</c:v>
                </c:pt>
                <c:pt idx="335">
                  <c:v>-0.94058544005079803</c:v>
                </c:pt>
                <c:pt idx="336">
                  <c:v>-0.93534149810988132</c:v>
                </c:pt>
                <c:pt idx="337">
                  <c:v>-0.89255827833025103</c:v>
                </c:pt>
                <c:pt idx="338">
                  <c:v>-0.89852689026489641</c:v>
                </c:pt>
                <c:pt idx="339">
                  <c:v>-0.89935878341688735</c:v>
                </c:pt>
                <c:pt idx="340">
                  <c:v>-0.87933507632397068</c:v>
                </c:pt>
                <c:pt idx="341">
                  <c:v>-0.88059298897183225</c:v>
                </c:pt>
                <c:pt idx="342">
                  <c:v>-0.88910802196827998</c:v>
                </c:pt>
                <c:pt idx="343">
                  <c:v>-0.8808603952932712</c:v>
                </c:pt>
                <c:pt idx="344">
                  <c:v>-0.89937234484617856</c:v>
                </c:pt>
                <c:pt idx="345">
                  <c:v>-0.93128984139088367</c:v>
                </c:pt>
                <c:pt idx="346">
                  <c:v>-0.93655671836129528</c:v>
                </c:pt>
                <c:pt idx="347">
                  <c:v>-0.97542111926246733</c:v>
                </c:pt>
                <c:pt idx="348">
                  <c:v>-0.96671929897766451</c:v>
                </c:pt>
                <c:pt idx="349">
                  <c:v>-0.96037959828332609</c:v>
                </c:pt>
                <c:pt idx="350">
                  <c:v>-0.96603404459111497</c:v>
                </c:pt>
                <c:pt idx="351">
                  <c:v>-0.93781967087904805</c:v>
                </c:pt>
                <c:pt idx="352">
                  <c:v>-0.98846051028808812</c:v>
                </c:pt>
                <c:pt idx="353">
                  <c:v>-1.0246676605656462</c:v>
                </c:pt>
                <c:pt idx="354">
                  <c:v>-1.0082270386533378</c:v>
                </c:pt>
                <c:pt idx="355">
                  <c:v>-1.010902030568587</c:v>
                </c:pt>
                <c:pt idx="356">
                  <c:v>-0.98793054090766597</c:v>
                </c:pt>
                <c:pt idx="357">
                  <c:v>-0.96062627928401412</c:v>
                </c:pt>
                <c:pt idx="358">
                  <c:v>-0.98240533076066161</c:v>
                </c:pt>
                <c:pt idx="359">
                  <c:v>-0.95389257920502479</c:v>
                </c:pt>
                <c:pt idx="360">
                  <c:v>-0.92078662500265018</c:v>
                </c:pt>
                <c:pt idx="361">
                  <c:v>-0.93324111859425396</c:v>
                </c:pt>
                <c:pt idx="362">
                  <c:v>-0.87841475620355114</c:v>
                </c:pt>
                <c:pt idx="363">
                  <c:v>-0.84590098654024337</c:v>
                </c:pt>
                <c:pt idx="364">
                  <c:v>-0.82792253618668177</c:v>
                </c:pt>
                <c:pt idx="365">
                  <c:v>-0.859971573257024</c:v>
                </c:pt>
                <c:pt idx="366">
                  <c:v>-0.91948413160141751</c:v>
                </c:pt>
                <c:pt idx="367">
                  <c:v>-0.93727436521068741</c:v>
                </c:pt>
                <c:pt idx="368">
                  <c:v>-0.99263743570680374</c:v>
                </c:pt>
                <c:pt idx="369">
                  <c:v>-1.0264149379522838</c:v>
                </c:pt>
                <c:pt idx="370">
                  <c:v>-0.99580023542481411</c:v>
                </c:pt>
                <c:pt idx="371">
                  <c:v>-0.9794994473167753</c:v>
                </c:pt>
                <c:pt idx="372">
                  <c:v>-1.0219485805131128</c:v>
                </c:pt>
                <c:pt idx="373">
                  <c:v>-1.0375813637199021</c:v>
                </c:pt>
                <c:pt idx="374">
                  <c:v>-0.99638845599057491</c:v>
                </c:pt>
                <c:pt idx="375">
                  <c:v>-0.99675909436614207</c:v>
                </c:pt>
                <c:pt idx="376">
                  <c:v>-0.96933099374215648</c:v>
                </c:pt>
                <c:pt idx="377">
                  <c:v>-0.93236831173459944</c:v>
                </c:pt>
                <c:pt idx="378">
                  <c:v>-0.92938834342030363</c:v>
                </c:pt>
                <c:pt idx="379">
                  <c:v>-0.92612615638673157</c:v>
                </c:pt>
                <c:pt idx="380">
                  <c:v>-0.95512187125079606</c:v>
                </c:pt>
                <c:pt idx="381">
                  <c:v>-0.93945401950263108</c:v>
                </c:pt>
                <c:pt idx="382">
                  <c:v>-0.95102366627679014</c:v>
                </c:pt>
                <c:pt idx="383">
                  <c:v>-0.9151856302398762</c:v>
                </c:pt>
                <c:pt idx="384">
                  <c:v>-0.92165715309167351</c:v>
                </c:pt>
                <c:pt idx="385">
                  <c:v>-0.9123168594930422</c:v>
                </c:pt>
                <c:pt idx="386">
                  <c:v>-0.92269161018250212</c:v>
                </c:pt>
                <c:pt idx="387">
                  <c:v>-0.95389799490886973</c:v>
                </c:pt>
                <c:pt idx="388">
                  <c:v>-0.95896747177977459</c:v>
                </c:pt>
                <c:pt idx="389">
                  <c:v>-0.98473632257434474</c:v>
                </c:pt>
                <c:pt idx="390">
                  <c:v>-0.96620706601060991</c:v>
                </c:pt>
                <c:pt idx="391">
                  <c:v>-1.0001195376276044</c:v>
                </c:pt>
                <c:pt idx="392">
                  <c:v>-1.0061379721896802</c:v>
                </c:pt>
                <c:pt idx="393">
                  <c:v>-1.0118513152797153</c:v>
                </c:pt>
                <c:pt idx="394">
                  <c:v>-0.96886005506555062</c:v>
                </c:pt>
                <c:pt idx="395">
                  <c:v>-0.97214987183685952</c:v>
                </c:pt>
                <c:pt idx="396">
                  <c:v>-0.97806620300369085</c:v>
                </c:pt>
                <c:pt idx="397">
                  <c:v>-0.95801463386910102</c:v>
                </c:pt>
                <c:pt idx="398">
                  <c:v>-0.94799973950690386</c:v>
                </c:pt>
                <c:pt idx="399">
                  <c:v>-0.93851172022766272</c:v>
                </c:pt>
                <c:pt idx="400">
                  <c:v>-0.96979979142795503</c:v>
                </c:pt>
                <c:pt idx="401">
                  <c:v>-0.95594128282525848</c:v>
                </c:pt>
                <c:pt idx="402">
                  <c:v>-0.9216840558847833</c:v>
                </c:pt>
                <c:pt idx="403">
                  <c:v>-0.91849104488380728</c:v>
                </c:pt>
                <c:pt idx="404">
                  <c:v>-0.96479594187647821</c:v>
                </c:pt>
                <c:pt idx="405">
                  <c:v>-0.9339146540915233</c:v>
                </c:pt>
                <c:pt idx="406">
                  <c:v>-0.96787936005259334</c:v>
                </c:pt>
                <c:pt idx="407">
                  <c:v>-1.0178985146123609</c:v>
                </c:pt>
                <c:pt idx="408">
                  <c:v>-1.0145560308020001</c:v>
                </c:pt>
                <c:pt idx="409">
                  <c:v>-1.0401989720168179</c:v>
                </c:pt>
                <c:pt idx="410">
                  <c:v>-0.9999304812482277</c:v>
                </c:pt>
                <c:pt idx="411">
                  <c:v>-1.0382003542973015</c:v>
                </c:pt>
                <c:pt idx="412">
                  <c:v>-1.0093639941182806</c:v>
                </c:pt>
                <c:pt idx="413">
                  <c:v>-0.99789704318478889</c:v>
                </c:pt>
                <c:pt idx="414">
                  <c:v>-1.0094883541865234</c:v>
                </c:pt>
                <c:pt idx="415">
                  <c:v>-1.0058063358242837</c:v>
                </c:pt>
                <c:pt idx="416">
                  <c:v>-0.99457962175463255</c:v>
                </c:pt>
                <c:pt idx="417">
                  <c:v>-0.97362121391015388</c:v>
                </c:pt>
                <c:pt idx="418">
                  <c:v>-0.94083681183730539</c:v>
                </c:pt>
                <c:pt idx="419">
                  <c:v>-0.95134551413152868</c:v>
                </c:pt>
                <c:pt idx="420">
                  <c:v>-0.97811792799878494</c:v>
                </c:pt>
                <c:pt idx="421">
                  <c:v>-0.90876362174371694</c:v>
                </c:pt>
                <c:pt idx="422">
                  <c:v>-0.89764589524098404</c:v>
                </c:pt>
                <c:pt idx="423">
                  <c:v>-0.95739147322372919</c:v>
                </c:pt>
                <c:pt idx="424">
                  <c:v>-0.99257501722409902</c:v>
                </c:pt>
                <c:pt idx="425">
                  <c:v>-1.017351904385202</c:v>
                </c:pt>
                <c:pt idx="426">
                  <c:v>-1.0227336974777843</c:v>
                </c:pt>
                <c:pt idx="427">
                  <c:v>-1.0173802958153244</c:v>
                </c:pt>
                <c:pt idx="428">
                  <c:v>-0.98745191054702475</c:v>
                </c:pt>
                <c:pt idx="429">
                  <c:v>-0.98905853474409344</c:v>
                </c:pt>
                <c:pt idx="430">
                  <c:v>-0.95537569897274421</c:v>
                </c:pt>
                <c:pt idx="431">
                  <c:v>-1.0210558758543167</c:v>
                </c:pt>
                <c:pt idx="432">
                  <c:v>-1.0192255486901942</c:v>
                </c:pt>
                <c:pt idx="433">
                  <c:v>-1.0668215815846365</c:v>
                </c:pt>
                <c:pt idx="434">
                  <c:v>-1.041918434660253</c:v>
                </c:pt>
                <c:pt idx="435">
                  <c:v>-1.0980112104724968</c:v>
                </c:pt>
                <c:pt idx="436">
                  <c:v>-1.0717419829904853</c:v>
                </c:pt>
                <c:pt idx="437">
                  <c:v>-1.0723785877395562</c:v>
                </c:pt>
                <c:pt idx="438">
                  <c:v>-1.1047223988689494</c:v>
                </c:pt>
                <c:pt idx="439">
                  <c:v>-1.0975659080140083</c:v>
                </c:pt>
                <c:pt idx="440">
                  <c:v>-1.1065501211315236</c:v>
                </c:pt>
                <c:pt idx="441">
                  <c:v>-1.0631835447101661</c:v>
                </c:pt>
                <c:pt idx="442">
                  <c:v>-1.051991686560207</c:v>
                </c:pt>
                <c:pt idx="443">
                  <c:v>-1.0646643133070997</c:v>
                </c:pt>
                <c:pt idx="444">
                  <c:v>-1.0575731634488976</c:v>
                </c:pt>
                <c:pt idx="445">
                  <c:v>-1.049537052467663</c:v>
                </c:pt>
                <c:pt idx="446">
                  <c:v>-1.0552078632207711</c:v>
                </c:pt>
                <c:pt idx="447">
                  <c:v>-1.0458371938239397</c:v>
                </c:pt>
                <c:pt idx="448">
                  <c:v>-1.0316150775825805</c:v>
                </c:pt>
                <c:pt idx="449">
                  <c:v>-0.97377684284854471</c:v>
                </c:pt>
                <c:pt idx="450">
                  <c:v>-0.94558760978287459</c:v>
                </c:pt>
                <c:pt idx="451">
                  <c:v>-0.93287681793032806</c:v>
                </c:pt>
                <c:pt idx="452">
                  <c:v>-0.9147050448665679</c:v>
                </c:pt>
                <c:pt idx="453">
                  <c:v>-0.88562120029925351</c:v>
                </c:pt>
                <c:pt idx="454">
                  <c:v>-0.83245899008826363</c:v>
                </c:pt>
                <c:pt idx="455">
                  <c:v>-0.8382390063744064</c:v>
                </c:pt>
                <c:pt idx="456">
                  <c:v>-0.83146464476697768</c:v>
                </c:pt>
                <c:pt idx="457">
                  <c:v>-0.89052117096147088</c:v>
                </c:pt>
                <c:pt idx="458">
                  <c:v>-0.90648942430161161</c:v>
                </c:pt>
                <c:pt idx="459">
                  <c:v>-0.91447767408740666</c:v>
                </c:pt>
                <c:pt idx="460">
                  <c:v>-0.94790782457601375</c:v>
                </c:pt>
                <c:pt idx="461">
                  <c:v>-0.85228289058831386</c:v>
                </c:pt>
                <c:pt idx="462">
                  <c:v>-0.88625499140373876</c:v>
                </c:pt>
                <c:pt idx="463">
                  <c:v>-0.82814316989131842</c:v>
                </c:pt>
                <c:pt idx="464">
                  <c:v>-0.79595014989572277</c:v>
                </c:pt>
                <c:pt idx="465">
                  <c:v>-0.74713378286154797</c:v>
                </c:pt>
                <c:pt idx="466">
                  <c:v>-0.7594084884859329</c:v>
                </c:pt>
                <c:pt idx="467">
                  <c:v>-0.67659776538341743</c:v>
                </c:pt>
                <c:pt idx="468">
                  <c:v>-0.63580088387389133</c:v>
                </c:pt>
                <c:pt idx="469">
                  <c:v>-0.72595231714374198</c:v>
                </c:pt>
                <c:pt idx="470">
                  <c:v>-0.72805327801466424</c:v>
                </c:pt>
                <c:pt idx="471">
                  <c:v>-0.78794567257664205</c:v>
                </c:pt>
                <c:pt idx="472">
                  <c:v>-0.83667547253633368</c:v>
                </c:pt>
                <c:pt idx="473">
                  <c:v>-0.82164466164328309</c:v>
                </c:pt>
                <c:pt idx="474">
                  <c:v>-0.83931703591126228</c:v>
                </c:pt>
                <c:pt idx="475">
                  <c:v>-0.8336515363144299</c:v>
                </c:pt>
                <c:pt idx="476">
                  <c:v>-0.87472679242660578</c:v>
                </c:pt>
                <c:pt idx="477">
                  <c:v>-0.9118744371121239</c:v>
                </c:pt>
                <c:pt idx="478">
                  <c:v>-0.96443616566229284</c:v>
                </c:pt>
                <c:pt idx="479">
                  <c:v>-1.0101611296911561</c:v>
                </c:pt>
                <c:pt idx="480">
                  <c:v>-1.0185974393039263</c:v>
                </c:pt>
                <c:pt idx="481">
                  <c:v>-1.0207580396233158</c:v>
                </c:pt>
                <c:pt idx="482">
                  <c:v>-0.99957977103763063</c:v>
                </c:pt>
                <c:pt idx="483">
                  <c:v>-0.98807704772448512</c:v>
                </c:pt>
                <c:pt idx="484">
                  <c:v>-1.0450399644568338</c:v>
                </c:pt>
                <c:pt idx="485">
                  <c:v>-1.0653226601787056</c:v>
                </c:pt>
                <c:pt idx="486">
                  <c:v>-1.0618687166859215</c:v>
                </c:pt>
                <c:pt idx="487">
                  <c:v>-1.0731217418475127</c:v>
                </c:pt>
                <c:pt idx="488">
                  <c:v>-1.0392125370164846</c:v>
                </c:pt>
                <c:pt idx="489">
                  <c:v>-1.0021019263783493</c:v>
                </c:pt>
                <c:pt idx="490">
                  <c:v>-0.99445912311553686</c:v>
                </c:pt>
                <c:pt idx="491">
                  <c:v>-1.0052801125776134</c:v>
                </c:pt>
                <c:pt idx="492">
                  <c:v>-1.0297519620146318</c:v>
                </c:pt>
                <c:pt idx="493">
                  <c:v>-1.0093430853740186</c:v>
                </c:pt>
                <c:pt idx="494">
                  <c:v>-0.99715789107412656</c:v>
                </c:pt>
                <c:pt idx="495">
                  <c:v>-1.0084446265899978</c:v>
                </c:pt>
                <c:pt idx="496">
                  <c:v>-1.0016252593235735</c:v>
                </c:pt>
                <c:pt idx="497">
                  <c:v>-1.009743715703721</c:v>
                </c:pt>
                <c:pt idx="498">
                  <c:v>-1.0414561290200079</c:v>
                </c:pt>
                <c:pt idx="499">
                  <c:v>-1.010989101558927</c:v>
                </c:pt>
                <c:pt idx="500">
                  <c:v>-0.99702407996677211</c:v>
                </c:pt>
                <c:pt idx="501">
                  <c:v>-0.91254899585137106</c:v>
                </c:pt>
                <c:pt idx="502">
                  <c:v>-0.93018260598027447</c:v>
                </c:pt>
                <c:pt idx="503">
                  <c:v>-0.93086055943465529</c:v>
                </c:pt>
                <c:pt idx="504">
                  <c:v>-0.94393631646623155</c:v>
                </c:pt>
                <c:pt idx="505">
                  <c:v>-1.0272419362774232</c:v>
                </c:pt>
                <c:pt idx="506">
                  <c:v>-1.0265420384166974</c:v>
                </c:pt>
                <c:pt idx="507">
                  <c:v>-1.0050249610130462</c:v>
                </c:pt>
                <c:pt idx="508">
                  <c:v>-0.96879336658128756</c:v>
                </c:pt>
                <c:pt idx="509">
                  <c:v>-1.0056394723412025</c:v>
                </c:pt>
                <c:pt idx="510">
                  <c:v>-1.0492392946930715</c:v>
                </c:pt>
                <c:pt idx="511">
                  <c:v>-1.0651683708627564</c:v>
                </c:pt>
                <c:pt idx="512">
                  <c:v>-1.136141350090089</c:v>
                </c:pt>
                <c:pt idx="513">
                  <c:v>-1.1347928114725685</c:v>
                </c:pt>
                <c:pt idx="514">
                  <c:v>-1.1085885891670755</c:v>
                </c:pt>
                <c:pt idx="515">
                  <c:v>-1.0909564827042713</c:v>
                </c:pt>
                <c:pt idx="516">
                  <c:v>-1.1008131993936545</c:v>
                </c:pt>
                <c:pt idx="517">
                  <c:v>-1.0704471636158721</c:v>
                </c:pt>
                <c:pt idx="518">
                  <c:v>-1.0567379546682545</c:v>
                </c:pt>
                <c:pt idx="519">
                  <c:v>-1.0458874742761686</c:v>
                </c:pt>
                <c:pt idx="520">
                  <c:v>-1.0317808227388019</c:v>
                </c:pt>
                <c:pt idx="521">
                  <c:v>-1.034323273925426</c:v>
                </c:pt>
                <c:pt idx="522">
                  <c:v>-1.0363557700584078</c:v>
                </c:pt>
                <c:pt idx="523">
                  <c:v>-1.0683485795896432</c:v>
                </c:pt>
                <c:pt idx="524">
                  <c:v>-1.0831298432777927</c:v>
                </c:pt>
                <c:pt idx="525">
                  <c:v>-1.0672741549132569</c:v>
                </c:pt>
                <c:pt idx="526">
                  <c:v>-1.0541978362907645</c:v>
                </c:pt>
                <c:pt idx="527">
                  <c:v>-1.0917438305775746</c:v>
                </c:pt>
                <c:pt idx="528">
                  <c:v>-1.1021985540365888</c:v>
                </c:pt>
                <c:pt idx="529">
                  <c:v>-1.1078508276538126</c:v>
                </c:pt>
                <c:pt idx="530">
                  <c:v>-1.1577870182717103</c:v>
                </c:pt>
                <c:pt idx="531">
                  <c:v>-1.1879943003772215</c:v>
                </c:pt>
                <c:pt idx="532">
                  <c:v>-1.1471080816862691</c:v>
                </c:pt>
                <c:pt idx="533">
                  <c:v>-1.1661451918603631</c:v>
                </c:pt>
                <c:pt idx="534">
                  <c:v>-1.1495498034835852</c:v>
                </c:pt>
                <c:pt idx="535">
                  <c:v>-1.1009685721127243</c:v>
                </c:pt>
                <c:pt idx="536">
                  <c:v>-1.1078950921091524</c:v>
                </c:pt>
                <c:pt idx="537">
                  <c:v>-1.0909338529623269</c:v>
                </c:pt>
                <c:pt idx="538">
                  <c:v>-1.0988698373643504</c:v>
                </c:pt>
                <c:pt idx="539">
                  <c:v>-1.0949474774576804</c:v>
                </c:pt>
                <c:pt idx="540">
                  <c:v>-1.067522413414369</c:v>
                </c:pt>
                <c:pt idx="541">
                  <c:v>-1.0742362101403113</c:v>
                </c:pt>
                <c:pt idx="542">
                  <c:v>-1.0859619016313651</c:v>
                </c:pt>
                <c:pt idx="543">
                  <c:v>-1.0948088131082043</c:v>
                </c:pt>
                <c:pt idx="544">
                  <c:v>-1.0893006921743758</c:v>
                </c:pt>
                <c:pt idx="545">
                  <c:v>-1.0790315728734157</c:v>
                </c:pt>
                <c:pt idx="546">
                  <c:v>-1.0950898899962578</c:v>
                </c:pt>
                <c:pt idx="547">
                  <c:v>-1.0858904925977775</c:v>
                </c:pt>
                <c:pt idx="548">
                  <c:v>-1.1272020649581584</c:v>
                </c:pt>
                <c:pt idx="549">
                  <c:v>-1.1079917610195202</c:v>
                </c:pt>
                <c:pt idx="550">
                  <c:v>-1.1264101181716208</c:v>
                </c:pt>
                <c:pt idx="551">
                  <c:v>-1.1301813238920724</c:v>
                </c:pt>
                <c:pt idx="552">
                  <c:v>-1.0974909300731133</c:v>
                </c:pt>
                <c:pt idx="553">
                  <c:v>-1.0779439323028175</c:v>
                </c:pt>
                <c:pt idx="554">
                  <c:v>-1.031688365145254</c:v>
                </c:pt>
                <c:pt idx="555">
                  <c:v>-0.97972774700802678</c:v>
                </c:pt>
                <c:pt idx="556">
                  <c:v>-0.96585771839571155</c:v>
                </c:pt>
                <c:pt idx="557">
                  <c:v>-0.96843678172061121</c:v>
                </c:pt>
                <c:pt idx="558">
                  <c:v>-0.92397565003457283</c:v>
                </c:pt>
                <c:pt idx="559">
                  <c:v>-0.86945479622943389</c:v>
                </c:pt>
                <c:pt idx="560">
                  <c:v>-0.81048174157985908</c:v>
                </c:pt>
                <c:pt idx="561">
                  <c:v>-0.76840754179257409</c:v>
                </c:pt>
                <c:pt idx="562">
                  <c:v>-0.80026907266275571</c:v>
                </c:pt>
                <c:pt idx="563">
                  <c:v>-0.85086925415875125</c:v>
                </c:pt>
                <c:pt idx="564">
                  <c:v>-0.91260928249457307</c:v>
                </c:pt>
                <c:pt idx="565">
                  <c:v>-0.96705462036629652</c:v>
                </c:pt>
                <c:pt idx="566">
                  <c:v>-0.960971517902803</c:v>
                </c:pt>
                <c:pt idx="567">
                  <c:v>-0.98031070644094309</c:v>
                </c:pt>
                <c:pt idx="568">
                  <c:v>-1.0090490535054419</c:v>
                </c:pt>
                <c:pt idx="569">
                  <c:v>-0.95384852131916364</c:v>
                </c:pt>
                <c:pt idx="570">
                  <c:v>-1.0458729684499446</c:v>
                </c:pt>
                <c:pt idx="571">
                  <c:v>-1.0181168723047069</c:v>
                </c:pt>
                <c:pt idx="572">
                  <c:v>-1.0120600610547288</c:v>
                </c:pt>
                <c:pt idx="573">
                  <c:v>-1.0279393130359906</c:v>
                </c:pt>
                <c:pt idx="574">
                  <c:v>-1.0586872813666117</c:v>
                </c:pt>
                <c:pt idx="575">
                  <c:v>-1.0569831511086012</c:v>
                </c:pt>
                <c:pt idx="576">
                  <c:v>-1.0884238509454869</c:v>
                </c:pt>
                <c:pt idx="577">
                  <c:v>-1.1056618174116206</c:v>
                </c:pt>
                <c:pt idx="578">
                  <c:v>-1.100983066592347</c:v>
                </c:pt>
                <c:pt idx="579">
                  <c:v>-1.125433593029278</c:v>
                </c:pt>
                <c:pt idx="580">
                  <c:v>-1.1014238984096525</c:v>
                </c:pt>
                <c:pt idx="581">
                  <c:v>-1.0934797880875637</c:v>
                </c:pt>
                <c:pt idx="582">
                  <c:v>-1.0656123778405047</c:v>
                </c:pt>
                <c:pt idx="583">
                  <c:v>-1.0451672284556772</c:v>
                </c:pt>
                <c:pt idx="584">
                  <c:v>-1.0377780019507936</c:v>
                </c:pt>
                <c:pt idx="585">
                  <c:v>-1.0272767719307307</c:v>
                </c:pt>
                <c:pt idx="586">
                  <c:v>-0.95671712644201079</c:v>
                </c:pt>
                <c:pt idx="587">
                  <c:v>-0.98869459857170083</c:v>
                </c:pt>
                <c:pt idx="588">
                  <c:v>-0.99647886248856632</c:v>
                </c:pt>
                <c:pt idx="589">
                  <c:v>-0.9766084655555064</c:v>
                </c:pt>
                <c:pt idx="590">
                  <c:v>-0.95882444804686984</c:v>
                </c:pt>
                <c:pt idx="591">
                  <c:v>-0.8972212064755104</c:v>
                </c:pt>
                <c:pt idx="592">
                  <c:v>-0.92735342312394731</c:v>
                </c:pt>
                <c:pt idx="593">
                  <c:v>-0.9330610940279217</c:v>
                </c:pt>
                <c:pt idx="594">
                  <c:v>-0.92303591067672497</c:v>
                </c:pt>
                <c:pt idx="595">
                  <c:v>-0.97119422293091817</c:v>
                </c:pt>
                <c:pt idx="596">
                  <c:v>-0.92567325814831336</c:v>
                </c:pt>
                <c:pt idx="597">
                  <c:v>-0.96146047283430192</c:v>
                </c:pt>
                <c:pt idx="598">
                  <c:v>-0.75557700629576685</c:v>
                </c:pt>
                <c:pt idx="599">
                  <c:v>-0.67365369651984353</c:v>
                </c:pt>
                <c:pt idx="600">
                  <c:v>-0.65768211931933507</c:v>
                </c:pt>
                <c:pt idx="601">
                  <c:v>-0.66432077019192537</c:v>
                </c:pt>
                <c:pt idx="602">
                  <c:v>-0.66153596331677267</c:v>
                </c:pt>
                <c:pt idx="603">
                  <c:v>-0.67687378312704127</c:v>
                </c:pt>
                <c:pt idx="604">
                  <c:v>-0.67950641442801296</c:v>
                </c:pt>
                <c:pt idx="605">
                  <c:v>-0.69596580411879216</c:v>
                </c:pt>
                <c:pt idx="606">
                  <c:v>-0.69895087942279233</c:v>
                </c:pt>
                <c:pt idx="607">
                  <c:v>-0.72571519641489135</c:v>
                </c:pt>
                <c:pt idx="608">
                  <c:v>-0.71695901430327669</c:v>
                </c:pt>
                <c:pt idx="609">
                  <c:v>-0.72403980369978838</c:v>
                </c:pt>
                <c:pt idx="610">
                  <c:v>-0.73087269193712945</c:v>
                </c:pt>
                <c:pt idx="611">
                  <c:v>-0.72075584162350359</c:v>
                </c:pt>
                <c:pt idx="612">
                  <c:v>-0.72187254791708932</c:v>
                </c:pt>
                <c:pt idx="613">
                  <c:v>-0.73020683730870073</c:v>
                </c:pt>
                <c:pt idx="614">
                  <c:v>-0.88096790149465831</c:v>
                </c:pt>
                <c:pt idx="615">
                  <c:v>-0.90851524494563329</c:v>
                </c:pt>
                <c:pt idx="616">
                  <c:v>-0.88676245830063616</c:v>
                </c:pt>
                <c:pt idx="617">
                  <c:v>-0.96059726468344997</c:v>
                </c:pt>
                <c:pt idx="618">
                  <c:v>-1.01113445434502</c:v>
                </c:pt>
                <c:pt idx="619">
                  <c:v>-1.1607972277106648</c:v>
                </c:pt>
                <c:pt idx="620">
                  <c:v>-1.1329713031361028</c:v>
                </c:pt>
                <c:pt idx="621">
                  <c:v>-1.1533132518434115</c:v>
                </c:pt>
                <c:pt idx="622">
                  <c:v>-1.1468090997861813</c:v>
                </c:pt>
                <c:pt idx="623">
                  <c:v>-1.2128938964032248</c:v>
                </c:pt>
                <c:pt idx="624">
                  <c:v>-1.1967280181179125</c:v>
                </c:pt>
                <c:pt idx="625">
                  <c:v>-1.1571540330359813</c:v>
                </c:pt>
                <c:pt idx="626">
                  <c:v>-1.1659840535699493</c:v>
                </c:pt>
                <c:pt idx="627">
                  <c:v>-1.1484555346368497</c:v>
                </c:pt>
                <c:pt idx="628">
                  <c:v>-1.1802111721801225</c:v>
                </c:pt>
                <c:pt idx="629">
                  <c:v>-1.1611872849470997</c:v>
                </c:pt>
                <c:pt idx="630">
                  <c:v>-1.1469989693155753</c:v>
                </c:pt>
                <c:pt idx="631">
                  <c:v>-1.181341287485637</c:v>
                </c:pt>
                <c:pt idx="632">
                  <c:v>-1.156974558007434</c:v>
                </c:pt>
                <c:pt idx="633">
                  <c:v>-1.1931796824949505</c:v>
                </c:pt>
                <c:pt idx="634">
                  <c:v>-1.2108684193806551</c:v>
                </c:pt>
                <c:pt idx="635">
                  <c:v>-1.1869096292925818</c:v>
                </c:pt>
                <c:pt idx="636">
                  <c:v>-1.2391863486276549</c:v>
                </c:pt>
                <c:pt idx="637">
                  <c:v>-1.2716385821652687</c:v>
                </c:pt>
                <c:pt idx="638">
                  <c:v>-1.2428554697249274</c:v>
                </c:pt>
                <c:pt idx="639">
                  <c:v>-1.1857699972420306</c:v>
                </c:pt>
                <c:pt idx="640">
                  <c:v>-1.1546813218899343</c:v>
                </c:pt>
                <c:pt idx="641">
                  <c:v>-1.1790289841420141</c:v>
                </c:pt>
                <c:pt idx="642">
                  <c:v>-1.1586429727071246</c:v>
                </c:pt>
                <c:pt idx="643">
                  <c:v>-1.1906618490688385</c:v>
                </c:pt>
                <c:pt idx="644">
                  <c:v>-1.1808340526844356</c:v>
                </c:pt>
                <c:pt idx="645">
                  <c:v>-1.1800073596302796</c:v>
                </c:pt>
                <c:pt idx="646">
                  <c:v>-1.1673850227582321</c:v>
                </c:pt>
                <c:pt idx="647">
                  <c:v>-1.2003787699628905</c:v>
                </c:pt>
                <c:pt idx="648">
                  <c:v>-1.2217517477292996</c:v>
                </c:pt>
                <c:pt idx="649">
                  <c:v>-1.1837734091867644</c:v>
                </c:pt>
                <c:pt idx="650">
                  <c:v>-1.1862907659486441</c:v>
                </c:pt>
                <c:pt idx="651">
                  <c:v>-1.1996354391295549</c:v>
                </c:pt>
                <c:pt idx="652">
                  <c:v>-1.1981530062249519</c:v>
                </c:pt>
                <c:pt idx="653">
                  <c:v>-1.1989368940370737</c:v>
                </c:pt>
                <c:pt idx="654">
                  <c:v>-1.1804041546084565</c:v>
                </c:pt>
                <c:pt idx="655">
                  <c:v>-1.1853245936631569</c:v>
                </c:pt>
                <c:pt idx="656">
                  <c:v>-1.1330001317146374</c:v>
                </c:pt>
                <c:pt idx="657">
                  <c:v>-1.1336538043100997</c:v>
                </c:pt>
                <c:pt idx="658">
                  <c:v>-1.1519162405588355</c:v>
                </c:pt>
                <c:pt idx="659">
                  <c:v>-1.2249683878139286</c:v>
                </c:pt>
                <c:pt idx="660">
                  <c:v>-1.2620226241943937</c:v>
                </c:pt>
                <c:pt idx="661">
                  <c:v>-1.2397667457075472</c:v>
                </c:pt>
                <c:pt idx="662">
                  <c:v>-1.2346409350540175</c:v>
                </c:pt>
                <c:pt idx="663">
                  <c:v>-1.210747845719818</c:v>
                </c:pt>
                <c:pt idx="664">
                  <c:v>-1.2288536636345437</c:v>
                </c:pt>
                <c:pt idx="665">
                  <c:v>-1.189916327519164</c:v>
                </c:pt>
                <c:pt idx="666">
                  <c:v>-1.1334642135936319</c:v>
                </c:pt>
                <c:pt idx="667">
                  <c:v>-1.1027488492793089</c:v>
                </c:pt>
                <c:pt idx="668">
                  <c:v>-1.0919843917175263</c:v>
                </c:pt>
                <c:pt idx="669">
                  <c:v>-1.1024551385801575</c:v>
                </c:pt>
                <c:pt idx="670">
                  <c:v>-1.0563121616176498</c:v>
                </c:pt>
                <c:pt idx="671">
                  <c:v>-1.0123893444329108</c:v>
                </c:pt>
                <c:pt idx="672">
                  <c:v>-1.0010193775114316</c:v>
                </c:pt>
                <c:pt idx="673">
                  <c:v>-0.95522306451870065</c:v>
                </c:pt>
                <c:pt idx="674">
                  <c:v>-0.94747366935833788</c:v>
                </c:pt>
                <c:pt idx="675">
                  <c:v>-0.97600963001887486</c:v>
                </c:pt>
                <c:pt idx="676">
                  <c:v>-0.98133448124724587</c:v>
                </c:pt>
                <c:pt idx="677">
                  <c:v>-0.95991275684178434</c:v>
                </c:pt>
                <c:pt idx="678">
                  <c:v>-0.92773413241383651</c:v>
                </c:pt>
                <c:pt idx="679">
                  <c:v>-0.92665480717641135</c:v>
                </c:pt>
                <c:pt idx="680">
                  <c:v>-0.90904036492998275</c:v>
                </c:pt>
                <c:pt idx="681">
                  <c:v>-0.8785318529627324</c:v>
                </c:pt>
                <c:pt idx="682">
                  <c:v>-0.93927445774291007</c:v>
                </c:pt>
                <c:pt idx="683">
                  <c:v>-0.95732757694408921</c:v>
                </c:pt>
                <c:pt idx="684">
                  <c:v>-0.95554051228209724</c:v>
                </c:pt>
                <c:pt idx="685">
                  <c:v>-0.94566517233222125</c:v>
                </c:pt>
                <c:pt idx="686">
                  <c:v>-0.94191980642390882</c:v>
                </c:pt>
                <c:pt idx="687">
                  <c:v>-0.94513940766811333</c:v>
                </c:pt>
                <c:pt idx="688">
                  <c:v>-0.95559131499337902</c:v>
                </c:pt>
                <c:pt idx="689">
                  <c:v>-0.93480893023883294</c:v>
                </c:pt>
                <c:pt idx="690">
                  <c:v>-0.91670782658193906</c:v>
                </c:pt>
                <c:pt idx="691">
                  <c:v>-0.93780878365706544</c:v>
                </c:pt>
                <c:pt idx="692">
                  <c:v>-0.96437279082673311</c:v>
                </c:pt>
                <c:pt idx="693">
                  <c:v>-1.0003848757209688</c:v>
                </c:pt>
                <c:pt idx="694">
                  <c:v>-1.0069496733756886</c:v>
                </c:pt>
                <c:pt idx="695">
                  <c:v>-1.0760804761175116</c:v>
                </c:pt>
                <c:pt idx="696">
                  <c:v>-1.0662205261395394</c:v>
                </c:pt>
                <c:pt idx="697">
                  <c:v>-1.1041110971572299</c:v>
                </c:pt>
                <c:pt idx="698">
                  <c:v>-1.1059605746946075</c:v>
                </c:pt>
                <c:pt idx="699">
                  <c:v>-1.1832315048995938</c:v>
                </c:pt>
                <c:pt idx="700">
                  <c:v>-1.2044599373403488</c:v>
                </c:pt>
                <c:pt idx="701">
                  <c:v>-1.1840779286973282</c:v>
                </c:pt>
                <c:pt idx="702">
                  <c:v>-1.1843099374043866</c:v>
                </c:pt>
                <c:pt idx="703">
                  <c:v>-1.1971149026480536</c:v>
                </c:pt>
                <c:pt idx="704">
                  <c:v>-1.1943648808056027</c:v>
                </c:pt>
                <c:pt idx="705">
                  <c:v>-1.1907239298877552</c:v>
                </c:pt>
                <c:pt idx="706">
                  <c:v>-1.1796335613177897</c:v>
                </c:pt>
                <c:pt idx="707">
                  <c:v>-1.1728283439197771</c:v>
                </c:pt>
                <c:pt idx="708">
                  <c:v>-1.1708784266976793</c:v>
                </c:pt>
                <c:pt idx="709">
                  <c:v>-1.1801990237693842</c:v>
                </c:pt>
                <c:pt idx="710">
                  <c:v>-1.210314597487635</c:v>
                </c:pt>
                <c:pt idx="711">
                  <c:v>-1.2105475558351089</c:v>
                </c:pt>
                <c:pt idx="712">
                  <c:v>-1.1763323997273767</c:v>
                </c:pt>
                <c:pt idx="713">
                  <c:v>-1.1099879952183764</c:v>
                </c:pt>
                <c:pt idx="714">
                  <c:v>-1.0972561371437577</c:v>
                </c:pt>
                <c:pt idx="715">
                  <c:v>-1.14990334460862</c:v>
                </c:pt>
                <c:pt idx="716">
                  <c:v>-1.1565220975999426</c:v>
                </c:pt>
                <c:pt idx="717">
                  <c:v>-1.1610863590556693</c:v>
                </c:pt>
                <c:pt idx="718">
                  <c:v>-1.1211184971052541</c:v>
                </c:pt>
                <c:pt idx="719">
                  <c:v>-1.0716784472311498</c:v>
                </c:pt>
                <c:pt idx="720">
                  <c:v>-1.0323780951218087</c:v>
                </c:pt>
                <c:pt idx="721">
                  <c:v>-1.0523524039618217</c:v>
                </c:pt>
                <c:pt idx="722">
                  <c:v>-0.98385746873681679</c:v>
                </c:pt>
                <c:pt idx="723">
                  <c:v>-0.98656477147495436</c:v>
                </c:pt>
                <c:pt idx="724">
                  <c:v>-0.9336354289375538</c:v>
                </c:pt>
                <c:pt idx="725">
                  <c:v>-0.89760778458369828</c:v>
                </c:pt>
                <c:pt idx="726">
                  <c:v>-0.92515836266913376</c:v>
                </c:pt>
                <c:pt idx="727">
                  <c:v>-0.89379377758612821</c:v>
                </c:pt>
                <c:pt idx="728">
                  <c:v>-0.85081980255270895</c:v>
                </c:pt>
                <c:pt idx="729">
                  <c:v>-0.76851752214710523</c:v>
                </c:pt>
                <c:pt idx="730">
                  <c:v>-0.71137425822642542</c:v>
                </c:pt>
                <c:pt idx="731">
                  <c:v>-0.76647061749890932</c:v>
                </c:pt>
                <c:pt idx="732">
                  <c:v>-0.75585453791863766</c:v>
                </c:pt>
                <c:pt idx="733">
                  <c:v>-0.76502711650475652</c:v>
                </c:pt>
                <c:pt idx="734">
                  <c:v>-0.79308024638461339</c:v>
                </c:pt>
                <c:pt idx="735">
                  <c:v>-0.75658043812933773</c:v>
                </c:pt>
                <c:pt idx="736">
                  <c:v>-0.7650900703374155</c:v>
                </c:pt>
                <c:pt idx="737">
                  <c:v>-0.78438032008335656</c:v>
                </c:pt>
                <c:pt idx="738">
                  <c:v>-0.79867993261831982</c:v>
                </c:pt>
                <c:pt idx="739">
                  <c:v>-0.75333581057139898</c:v>
                </c:pt>
                <c:pt idx="740">
                  <c:v>-0.75256574961505995</c:v>
                </c:pt>
                <c:pt idx="741">
                  <c:v>-0.75835181174717836</c:v>
                </c:pt>
                <c:pt idx="742">
                  <c:v>-0.75223809470027936</c:v>
                </c:pt>
                <c:pt idx="743">
                  <c:v>-0.81061235003017029</c:v>
                </c:pt>
                <c:pt idx="744">
                  <c:v>-0.81668229716125351</c:v>
                </c:pt>
                <c:pt idx="745">
                  <c:v>-0.80311803631041778</c:v>
                </c:pt>
                <c:pt idx="746">
                  <c:v>-0.79066208687241879</c:v>
                </c:pt>
                <c:pt idx="747">
                  <c:v>-0.79763295486804187</c:v>
                </c:pt>
                <c:pt idx="748">
                  <c:v>-0.83313018308248055</c:v>
                </c:pt>
                <c:pt idx="749">
                  <c:v>-0.84936074715409005</c:v>
                </c:pt>
                <c:pt idx="750">
                  <c:v>-0.87355484451658005</c:v>
                </c:pt>
                <c:pt idx="751">
                  <c:v>-0.82558822220243</c:v>
                </c:pt>
                <c:pt idx="752">
                  <c:v>-0.89594323715809165</c:v>
                </c:pt>
                <c:pt idx="753">
                  <c:v>-0.89175174384077238</c:v>
                </c:pt>
                <c:pt idx="754">
                  <c:v>-0.89623335078449418</c:v>
                </c:pt>
                <c:pt idx="755">
                  <c:v>-0.87465955059486644</c:v>
                </c:pt>
                <c:pt idx="756">
                  <c:v>-0.90820262211373781</c:v>
                </c:pt>
                <c:pt idx="757">
                  <c:v>-0.91729836878163462</c:v>
                </c:pt>
                <c:pt idx="758">
                  <c:v>-1.00227350646709</c:v>
                </c:pt>
                <c:pt idx="759">
                  <c:v>-0.99991983802562145</c:v>
                </c:pt>
                <c:pt idx="760">
                  <c:v>-0.99583212545151933</c:v>
                </c:pt>
                <c:pt idx="761">
                  <c:v>-0.96013701876190927</c:v>
                </c:pt>
                <c:pt idx="762">
                  <c:v>-0.96300122494893403</c:v>
                </c:pt>
                <c:pt idx="763">
                  <c:v>-0.97527047595563632</c:v>
                </c:pt>
                <c:pt idx="764">
                  <c:v>-0.97159056571869273</c:v>
                </c:pt>
                <c:pt idx="765">
                  <c:v>-0.98050965556340119</c:v>
                </c:pt>
                <c:pt idx="766">
                  <c:v>-0.95924628416226365</c:v>
                </c:pt>
                <c:pt idx="767">
                  <c:v>-0.96743920048265941</c:v>
                </c:pt>
                <c:pt idx="768">
                  <c:v>-0.96493771435071063</c:v>
                </c:pt>
                <c:pt idx="769">
                  <c:v>-1.0037461250206943</c:v>
                </c:pt>
                <c:pt idx="770">
                  <c:v>-1.0322345815235598</c:v>
                </c:pt>
                <c:pt idx="771">
                  <c:v>-1.0373820379107421</c:v>
                </c:pt>
                <c:pt idx="772">
                  <c:v>-1.0499983847603307</c:v>
                </c:pt>
                <c:pt idx="773">
                  <c:v>-1.0019850203411325</c:v>
                </c:pt>
                <c:pt idx="774">
                  <c:v>-1.0102266732897505</c:v>
                </c:pt>
                <c:pt idx="775">
                  <c:v>-1.0150135598246863</c:v>
                </c:pt>
                <c:pt idx="776">
                  <c:v>-1.0565651356913257</c:v>
                </c:pt>
                <c:pt idx="777">
                  <c:v>-1.0444822433024892</c:v>
                </c:pt>
                <c:pt idx="778">
                  <c:v>-1.010835395775882</c:v>
                </c:pt>
                <c:pt idx="779">
                  <c:v>-1.0449115759850585</c:v>
                </c:pt>
                <c:pt idx="780">
                  <c:v>-0.99698628781617304</c:v>
                </c:pt>
                <c:pt idx="781">
                  <c:v>-1.0042029194275803</c:v>
                </c:pt>
                <c:pt idx="782">
                  <c:v>-1.0088159387709463</c:v>
                </c:pt>
                <c:pt idx="783">
                  <c:v>-1.0078873053754354</c:v>
                </c:pt>
                <c:pt idx="784">
                  <c:v>-0.99832906795529253</c:v>
                </c:pt>
                <c:pt idx="785">
                  <c:v>-1.0346700199720551</c:v>
                </c:pt>
                <c:pt idx="786">
                  <c:v>-1.0106655235607194</c:v>
                </c:pt>
                <c:pt idx="787">
                  <c:v>-0.9963348653681785</c:v>
                </c:pt>
                <c:pt idx="788">
                  <c:v>-0.93904442470990024</c:v>
                </c:pt>
                <c:pt idx="789">
                  <c:v>-0.99725404393721939</c:v>
                </c:pt>
                <c:pt idx="790">
                  <c:v>-1.019776038855396</c:v>
                </c:pt>
                <c:pt idx="791">
                  <c:v>-1.0206669018482963</c:v>
                </c:pt>
                <c:pt idx="792">
                  <c:v>-1.0542916652258996</c:v>
                </c:pt>
                <c:pt idx="793">
                  <c:v>-1.0442533520725787</c:v>
                </c:pt>
                <c:pt idx="794">
                  <c:v>-1.0237686617363466</c:v>
                </c:pt>
                <c:pt idx="795">
                  <c:v>-1.039840144503843</c:v>
                </c:pt>
                <c:pt idx="796">
                  <c:v>-1.0383142263733882</c:v>
                </c:pt>
                <c:pt idx="797">
                  <c:v>-1.0244040246592736</c:v>
                </c:pt>
                <c:pt idx="798">
                  <c:v>-1.0069893476447584</c:v>
                </c:pt>
                <c:pt idx="799">
                  <c:v>-0.95952668727987855</c:v>
                </c:pt>
                <c:pt idx="800">
                  <c:v>-0.90917120065309198</c:v>
                </c:pt>
                <c:pt idx="801">
                  <c:v>-0.93559749116133739</c:v>
                </c:pt>
                <c:pt idx="802">
                  <c:v>-0.9268521547849875</c:v>
                </c:pt>
                <c:pt idx="803">
                  <c:v>-0.9495271213676032</c:v>
                </c:pt>
                <c:pt idx="804">
                  <c:v>-1.0030845189655584</c:v>
                </c:pt>
                <c:pt idx="805">
                  <c:v>-0.99743848805215185</c:v>
                </c:pt>
                <c:pt idx="806">
                  <c:v>-1.0044428378890853</c:v>
                </c:pt>
                <c:pt idx="807">
                  <c:v>-0.9969494203975543</c:v>
                </c:pt>
                <c:pt idx="808">
                  <c:v>-1.0462041531034303</c:v>
                </c:pt>
                <c:pt idx="809">
                  <c:v>-0.99876567873379352</c:v>
                </c:pt>
                <c:pt idx="810">
                  <c:v>-1.0253499384099996</c:v>
                </c:pt>
                <c:pt idx="811">
                  <c:v>-0.99893631546562123</c:v>
                </c:pt>
                <c:pt idx="812">
                  <c:v>-0.927666889857377</c:v>
                </c:pt>
                <c:pt idx="813">
                  <c:v>-0.89039067271948547</c:v>
                </c:pt>
                <c:pt idx="814">
                  <c:v>-0.91398702162187162</c:v>
                </c:pt>
                <c:pt idx="815">
                  <c:v>-0.8872189419079004</c:v>
                </c:pt>
                <c:pt idx="816">
                  <c:v>-0.86963229310940615</c:v>
                </c:pt>
                <c:pt idx="817">
                  <c:v>-0.88805645221449092</c:v>
                </c:pt>
                <c:pt idx="818">
                  <c:v>-0.88105725739143137</c:v>
                </c:pt>
                <c:pt idx="819">
                  <c:v>-0.84344627113582327</c:v>
                </c:pt>
                <c:pt idx="820">
                  <c:v>-0.87937322173611565</c:v>
                </c:pt>
                <c:pt idx="821">
                  <c:v>-0.89992020017932184</c:v>
                </c:pt>
                <c:pt idx="822">
                  <c:v>-0.90571252370353728</c:v>
                </c:pt>
                <c:pt idx="823">
                  <c:v>-0.93440867202762923</c:v>
                </c:pt>
                <c:pt idx="824">
                  <c:v>-0.97175430526044249</c:v>
                </c:pt>
                <c:pt idx="825">
                  <c:v>-0.96873569683917682</c:v>
                </c:pt>
                <c:pt idx="826">
                  <c:v>-0.96618517609382204</c:v>
                </c:pt>
                <c:pt idx="827">
                  <c:v>-0.97253566660562218</c:v>
                </c:pt>
                <c:pt idx="828">
                  <c:v>-1.0090859368055425</c:v>
                </c:pt>
                <c:pt idx="829">
                  <c:v>-1.0331925899642385</c:v>
                </c:pt>
                <c:pt idx="830">
                  <c:v>-1.0770137162340978</c:v>
                </c:pt>
                <c:pt idx="831">
                  <c:v>-1.0300057699021496</c:v>
                </c:pt>
                <c:pt idx="832">
                  <c:v>-1.0817553547544461</c:v>
                </c:pt>
                <c:pt idx="833">
                  <c:v>-1.1285330708127481</c:v>
                </c:pt>
                <c:pt idx="834">
                  <c:v>-1.1040093412566434</c:v>
                </c:pt>
                <c:pt idx="835">
                  <c:v>-1.102436302516447</c:v>
                </c:pt>
                <c:pt idx="836">
                  <c:v>-1.0582317789390372</c:v>
                </c:pt>
                <c:pt idx="837">
                  <c:v>-1.0436746230690888</c:v>
                </c:pt>
                <c:pt idx="838">
                  <c:v>-1.0187421455774539</c:v>
                </c:pt>
                <c:pt idx="839">
                  <c:v>-1.0149329197811703</c:v>
                </c:pt>
                <c:pt idx="840">
                  <c:v>-1.0445359571553667</c:v>
                </c:pt>
                <c:pt idx="841">
                  <c:v>-1.0314435746465536</c:v>
                </c:pt>
                <c:pt idx="842">
                  <c:v>-1.0260001081851713</c:v>
                </c:pt>
                <c:pt idx="843">
                  <c:v>-1.0480177588336923</c:v>
                </c:pt>
                <c:pt idx="844">
                  <c:v>-0.97570772629018876</c:v>
                </c:pt>
                <c:pt idx="845">
                  <c:v>-0.99751755162551348</c:v>
                </c:pt>
                <c:pt idx="846">
                  <c:v>-0.9966786867675852</c:v>
                </c:pt>
                <c:pt idx="847">
                  <c:v>-1.0005588219231254</c:v>
                </c:pt>
                <c:pt idx="848">
                  <c:v>-1.0377773218674911</c:v>
                </c:pt>
                <c:pt idx="849">
                  <c:v>-1.0570907667984586</c:v>
                </c:pt>
                <c:pt idx="850">
                  <c:v>-1.0461848347981997</c:v>
                </c:pt>
                <c:pt idx="851">
                  <c:v>-1.0303605245427974</c:v>
                </c:pt>
                <c:pt idx="852">
                  <c:v>-1.0037781259896739</c:v>
                </c:pt>
                <c:pt idx="853">
                  <c:v>-0.96316152992384829</c:v>
                </c:pt>
                <c:pt idx="854">
                  <c:v>-0.93493435695346316</c:v>
                </c:pt>
                <c:pt idx="855">
                  <c:v>-0.92978357043181004</c:v>
                </c:pt>
                <c:pt idx="856">
                  <c:v>-0.92529817933701874</c:v>
                </c:pt>
                <c:pt idx="857">
                  <c:v>-0.91721478896046604</c:v>
                </c:pt>
                <c:pt idx="858">
                  <c:v>-0.87391801212657971</c:v>
                </c:pt>
                <c:pt idx="859">
                  <c:v>-0.88691399609191957</c:v>
                </c:pt>
                <c:pt idx="860">
                  <c:v>-0.86392470165599389</c:v>
                </c:pt>
                <c:pt idx="861">
                  <c:v>-0.90694335233086809</c:v>
                </c:pt>
                <c:pt idx="862">
                  <c:v>-0.85830028500241706</c:v>
                </c:pt>
                <c:pt idx="863">
                  <c:v>-0.82967968047790108</c:v>
                </c:pt>
                <c:pt idx="864">
                  <c:v>-0.77497320449124119</c:v>
                </c:pt>
                <c:pt idx="865">
                  <c:v>-0.78762615914098077</c:v>
                </c:pt>
                <c:pt idx="866">
                  <c:v>-0.77918272171096803</c:v>
                </c:pt>
                <c:pt idx="867">
                  <c:v>-0.84938595847497633</c:v>
                </c:pt>
                <c:pt idx="868">
                  <c:v>-0.85719325899367493</c:v>
                </c:pt>
                <c:pt idx="869">
                  <c:v>-0.82473519996535394</c:v>
                </c:pt>
                <c:pt idx="870">
                  <c:v>-0.80986400019706228</c:v>
                </c:pt>
                <c:pt idx="871">
                  <c:v>-0.84183862752781546</c:v>
                </c:pt>
                <c:pt idx="872">
                  <c:v>-0.84148702594931324</c:v>
                </c:pt>
                <c:pt idx="873">
                  <c:v>-0.88448257042147804</c:v>
                </c:pt>
                <c:pt idx="874">
                  <c:v>-0.91350062688245826</c:v>
                </c:pt>
                <c:pt idx="875">
                  <c:v>-0.92549340548983916</c:v>
                </c:pt>
                <c:pt idx="876">
                  <c:v>-0.9337673007734566</c:v>
                </c:pt>
                <c:pt idx="877">
                  <c:v>-0.98001211208671879</c:v>
                </c:pt>
                <c:pt idx="878">
                  <c:v>-0.91643280132836313</c:v>
                </c:pt>
                <c:pt idx="879">
                  <c:v>-0.93971600594485505</c:v>
                </c:pt>
                <c:pt idx="880">
                  <c:v>-0.9265326489078568</c:v>
                </c:pt>
                <c:pt idx="881">
                  <c:v>-0.92409944744503048</c:v>
                </c:pt>
                <c:pt idx="882">
                  <c:v>-0.91604885576968165</c:v>
                </c:pt>
                <c:pt idx="883">
                  <c:v>-0.92772936350282675</c:v>
                </c:pt>
                <c:pt idx="884">
                  <c:v>-0.90702824895699097</c:v>
                </c:pt>
                <c:pt idx="885">
                  <c:v>-0.93697805608324769</c:v>
                </c:pt>
                <c:pt idx="886">
                  <c:v>-0.94609402838558254</c:v>
                </c:pt>
                <c:pt idx="887">
                  <c:v>-0.95181512471833063</c:v>
                </c:pt>
                <c:pt idx="888">
                  <c:v>-0.95980105825001516</c:v>
                </c:pt>
                <c:pt idx="889">
                  <c:v>-0.93630509647660476</c:v>
                </c:pt>
                <c:pt idx="890">
                  <c:v>-0.96211403436149878</c:v>
                </c:pt>
                <c:pt idx="891">
                  <c:v>-0.90488681662791626</c:v>
                </c:pt>
                <c:pt idx="892">
                  <c:v>-0.8799242748334376</c:v>
                </c:pt>
                <c:pt idx="893">
                  <c:v>-0.86768111984970242</c:v>
                </c:pt>
                <c:pt idx="894">
                  <c:v>-0.91003868354784812</c:v>
                </c:pt>
                <c:pt idx="895">
                  <c:v>-0.88492183016758852</c:v>
                </c:pt>
                <c:pt idx="896">
                  <c:v>-0.89396550760452298</c:v>
                </c:pt>
                <c:pt idx="897">
                  <c:v>-0.88122340909556107</c:v>
                </c:pt>
                <c:pt idx="898">
                  <c:v>-0.88000437419495992</c:v>
                </c:pt>
                <c:pt idx="899">
                  <c:v>-0.89291609143415096</c:v>
                </c:pt>
                <c:pt idx="900">
                  <c:v>-0.89498751570170487</c:v>
                </c:pt>
                <c:pt idx="901">
                  <c:v>-0.88675706930306797</c:v>
                </c:pt>
                <c:pt idx="902">
                  <c:v>-0.89314393402807679</c:v>
                </c:pt>
                <c:pt idx="903">
                  <c:v>-0.81841892513672576</c:v>
                </c:pt>
                <c:pt idx="904">
                  <c:v>-0.85404837945992185</c:v>
                </c:pt>
                <c:pt idx="905">
                  <c:v>-0.83863509724695273</c:v>
                </c:pt>
                <c:pt idx="906">
                  <c:v>-0.87637089293689585</c:v>
                </c:pt>
                <c:pt idx="907">
                  <c:v>-0.81667319094619617</c:v>
                </c:pt>
                <c:pt idx="908">
                  <c:v>-0.83705337959380266</c:v>
                </c:pt>
                <c:pt idx="909">
                  <c:v>-0.81026627587666267</c:v>
                </c:pt>
                <c:pt idx="910">
                  <c:v>-0.82390493556332289</c:v>
                </c:pt>
                <c:pt idx="911">
                  <c:v>-0.83091831876228828</c:v>
                </c:pt>
                <c:pt idx="912">
                  <c:v>-0.81808931289115461</c:v>
                </c:pt>
                <c:pt idx="913">
                  <c:v>-0.76675190640706181</c:v>
                </c:pt>
                <c:pt idx="914">
                  <c:v>-0.83836000110140474</c:v>
                </c:pt>
                <c:pt idx="915">
                  <c:v>-0.83388126254802097</c:v>
                </c:pt>
                <c:pt idx="916">
                  <c:v>-0.8265608979780471</c:v>
                </c:pt>
                <c:pt idx="917">
                  <c:v>-0.83426885597703915</c:v>
                </c:pt>
                <c:pt idx="918">
                  <c:v>-0.8623906063821164</c:v>
                </c:pt>
                <c:pt idx="919">
                  <c:v>-0.84042108406094684</c:v>
                </c:pt>
                <c:pt idx="920">
                  <c:v>-0.82772535685861592</c:v>
                </c:pt>
                <c:pt idx="921">
                  <c:v>-0.85692719537351436</c:v>
                </c:pt>
                <c:pt idx="922">
                  <c:v>-0.91180693517056666</c:v>
                </c:pt>
                <c:pt idx="923">
                  <c:v>-0.97904175981438635</c:v>
                </c:pt>
                <c:pt idx="924">
                  <c:v>-0.94997707108386442</c:v>
                </c:pt>
                <c:pt idx="925">
                  <c:v>-0.98642481384946312</c:v>
                </c:pt>
                <c:pt idx="926">
                  <c:v>-0.95964841175940041</c:v>
                </c:pt>
                <c:pt idx="927">
                  <c:v>-0.99628244171858793</c:v>
                </c:pt>
                <c:pt idx="928">
                  <c:v>-1.0225675304462634</c:v>
                </c:pt>
                <c:pt idx="929">
                  <c:v>-1.0526891157573295</c:v>
                </c:pt>
                <c:pt idx="930">
                  <c:v>-1.0869479904476189</c:v>
                </c:pt>
                <c:pt idx="931">
                  <c:v>-1.0571584443307285</c:v>
                </c:pt>
                <c:pt idx="932">
                  <c:v>-1.0407867720832136</c:v>
                </c:pt>
                <c:pt idx="933">
                  <c:v>-1.0547667727834793</c:v>
                </c:pt>
                <c:pt idx="934">
                  <c:v>-1.0223627012203109</c:v>
                </c:pt>
                <c:pt idx="935">
                  <c:v>-1.0887991897378053</c:v>
                </c:pt>
                <c:pt idx="936">
                  <c:v>-1.0791132865565056</c:v>
                </c:pt>
                <c:pt idx="937">
                  <c:v>-1.0820493858173266</c:v>
                </c:pt>
                <c:pt idx="938">
                  <c:v>-1.070350477728583</c:v>
                </c:pt>
                <c:pt idx="939">
                  <c:v>-1.0577223333970918</c:v>
                </c:pt>
                <c:pt idx="940">
                  <c:v>-1.0601327893492805</c:v>
                </c:pt>
                <c:pt idx="941">
                  <c:v>-1.0633861195167582</c:v>
                </c:pt>
                <c:pt idx="942">
                  <c:v>-1.1033386461546766</c:v>
                </c:pt>
                <c:pt idx="943">
                  <c:v>-1.1360005751431095</c:v>
                </c:pt>
                <c:pt idx="944">
                  <c:v>-1.0988351535782195</c:v>
                </c:pt>
                <c:pt idx="945">
                  <c:v>-1.0779835352534828</c:v>
                </c:pt>
                <c:pt idx="946">
                  <c:v>-1.0778735848462557</c:v>
                </c:pt>
                <c:pt idx="947">
                  <c:v>-1.0739468982236648</c:v>
                </c:pt>
                <c:pt idx="948">
                  <c:v>-1.0680825081828562</c:v>
                </c:pt>
                <c:pt idx="949">
                  <c:v>-1.0757832140848862</c:v>
                </c:pt>
                <c:pt idx="950">
                  <c:v>-1.0910800718405367</c:v>
                </c:pt>
                <c:pt idx="951">
                  <c:v>-1.0894709449198507</c:v>
                </c:pt>
                <c:pt idx="952">
                  <c:v>-1.0449226692794418</c:v>
                </c:pt>
                <c:pt idx="953">
                  <c:v>-0.98717775025040011</c:v>
                </c:pt>
                <c:pt idx="954">
                  <c:v>-0.99403950576721156</c:v>
                </c:pt>
                <c:pt idx="955">
                  <c:v>-0.94983725085089443</c:v>
                </c:pt>
                <c:pt idx="956">
                  <c:v>-0.9577820228980225</c:v>
                </c:pt>
                <c:pt idx="957">
                  <c:v>-0.89082491424021093</c:v>
                </c:pt>
                <c:pt idx="958">
                  <c:v>-0.88126507627049522</c:v>
                </c:pt>
                <c:pt idx="959">
                  <c:v>-0.89980257080846759</c:v>
                </c:pt>
                <c:pt idx="960">
                  <c:v>-0.861487264931869</c:v>
                </c:pt>
                <c:pt idx="961">
                  <c:v>-0.85141655053753651</c:v>
                </c:pt>
                <c:pt idx="962">
                  <c:v>-0.88550257632410889</c:v>
                </c:pt>
                <c:pt idx="963">
                  <c:v>-0.90167490730654998</c:v>
                </c:pt>
                <c:pt idx="964">
                  <c:v>-0.9240769331486296</c:v>
                </c:pt>
                <c:pt idx="965">
                  <c:v>-0.84261707778733008</c:v>
                </c:pt>
                <c:pt idx="966">
                  <c:v>-0.79745513477643093</c:v>
                </c:pt>
                <c:pt idx="967">
                  <c:v>-0.79199617629219521</c:v>
                </c:pt>
                <c:pt idx="968">
                  <c:v>-0.7867864200356145</c:v>
                </c:pt>
                <c:pt idx="969">
                  <c:v>-0.79351224876079962</c:v>
                </c:pt>
                <c:pt idx="970">
                  <c:v>-0.83725189028079394</c:v>
                </c:pt>
                <c:pt idx="971">
                  <c:v>-0.84230132685156855</c:v>
                </c:pt>
                <c:pt idx="972">
                  <c:v>-0.84377247717750592</c:v>
                </c:pt>
                <c:pt idx="973">
                  <c:v>-0.85131356343442011</c:v>
                </c:pt>
                <c:pt idx="974">
                  <c:v>-0.84546271383004568</c:v>
                </c:pt>
                <c:pt idx="975">
                  <c:v>-0.82108285126135705</c:v>
                </c:pt>
                <c:pt idx="976">
                  <c:v>-0.89988212512287569</c:v>
                </c:pt>
                <c:pt idx="977">
                  <c:v>-0.86209222678494224</c:v>
                </c:pt>
                <c:pt idx="978">
                  <c:v>-0.83597771492607675</c:v>
                </c:pt>
                <c:pt idx="979">
                  <c:v>-0.8868572074229929</c:v>
                </c:pt>
                <c:pt idx="980">
                  <c:v>-0.865389474712701</c:v>
                </c:pt>
                <c:pt idx="981">
                  <c:v>-0.88856363239540004</c:v>
                </c:pt>
                <c:pt idx="982">
                  <c:v>-0.91536436507424002</c:v>
                </c:pt>
                <c:pt idx="983">
                  <c:v>-0.90012327157716965</c:v>
                </c:pt>
                <c:pt idx="984">
                  <c:v>-0.86965372198708857</c:v>
                </c:pt>
                <c:pt idx="985">
                  <c:v>-0.87598688514043288</c:v>
                </c:pt>
                <c:pt idx="986">
                  <c:v>-0.92115578877388837</c:v>
                </c:pt>
                <c:pt idx="987">
                  <c:v>-0.98996054588646754</c:v>
                </c:pt>
                <c:pt idx="988">
                  <c:v>-0.99166034779151757</c:v>
                </c:pt>
                <c:pt idx="989">
                  <c:v>-0.9788228058969497</c:v>
                </c:pt>
                <c:pt idx="990">
                  <c:v>-0.99655403682209709</c:v>
                </c:pt>
                <c:pt idx="991">
                  <c:v>-0.98490152897769412</c:v>
                </c:pt>
                <c:pt idx="992">
                  <c:v>-0.96910584695278379</c:v>
                </c:pt>
                <c:pt idx="993">
                  <c:v>-0.96928088215533736</c:v>
                </c:pt>
                <c:pt idx="994">
                  <c:v>-0.96737599126595208</c:v>
                </c:pt>
                <c:pt idx="995">
                  <c:v>-0.97750350448098255</c:v>
                </c:pt>
                <c:pt idx="996">
                  <c:v>-0.99853401000754849</c:v>
                </c:pt>
                <c:pt idx="997">
                  <c:v>-1.0046753363163377</c:v>
                </c:pt>
                <c:pt idx="998">
                  <c:v>-1.0323979512007591</c:v>
                </c:pt>
                <c:pt idx="999">
                  <c:v>-1.0018499952728486</c:v>
                </c:pt>
                <c:pt idx="1000">
                  <c:v>-1.0221464943965826</c:v>
                </c:pt>
                <c:pt idx="1001">
                  <c:v>-1.0565063516142192</c:v>
                </c:pt>
                <c:pt idx="1002">
                  <c:v>-1.0269799049699149</c:v>
                </c:pt>
                <c:pt idx="1003">
                  <c:v>-1.0154071835816263</c:v>
                </c:pt>
                <c:pt idx="1004">
                  <c:v>-1.0081981821516031</c:v>
                </c:pt>
                <c:pt idx="1005">
                  <c:v>-1.0484512625743259</c:v>
                </c:pt>
                <c:pt idx="1006">
                  <c:v>-0.98693534211931477</c:v>
                </c:pt>
                <c:pt idx="1007">
                  <c:v>-1.0096099934980693</c:v>
                </c:pt>
                <c:pt idx="1008">
                  <c:v>-1.0202239664971449</c:v>
                </c:pt>
                <c:pt idx="1009">
                  <c:v>-1.0201937774381613</c:v>
                </c:pt>
                <c:pt idx="1010">
                  <c:v>-1.0755506241662691</c:v>
                </c:pt>
                <c:pt idx="1011">
                  <c:v>-1.0820612194563399</c:v>
                </c:pt>
                <c:pt idx="1012">
                  <c:v>-1.0599730151721301</c:v>
                </c:pt>
                <c:pt idx="1013">
                  <c:v>-1.105117921918493</c:v>
                </c:pt>
                <c:pt idx="1014">
                  <c:v>-1.1894376553149495</c:v>
                </c:pt>
                <c:pt idx="1015">
                  <c:v>-1.2095628387809516</c:v>
                </c:pt>
                <c:pt idx="1016">
                  <c:v>-1.2042264053787675</c:v>
                </c:pt>
                <c:pt idx="1017">
                  <c:v>-1.1578034978498852</c:v>
                </c:pt>
                <c:pt idx="1018">
                  <c:v>-1.1399434937678361</c:v>
                </c:pt>
                <c:pt idx="1019">
                  <c:v>-1.1182828903822899</c:v>
                </c:pt>
                <c:pt idx="1020">
                  <c:v>-1.1408744999322358</c:v>
                </c:pt>
                <c:pt idx="1021">
                  <c:v>-1.1597350261817405</c:v>
                </c:pt>
                <c:pt idx="1022">
                  <c:v>-1.1930736529178083</c:v>
                </c:pt>
                <c:pt idx="1023">
                  <c:v>-1.2187962952582352</c:v>
                </c:pt>
                <c:pt idx="1024">
                  <c:v>-1.1727393257489152</c:v>
                </c:pt>
                <c:pt idx="1025">
                  <c:v>-1.170289929984744</c:v>
                </c:pt>
                <c:pt idx="1026">
                  <c:v>-1.1419325634455308</c:v>
                </c:pt>
                <c:pt idx="1027">
                  <c:v>-1.1726178122309274</c:v>
                </c:pt>
                <c:pt idx="1028">
                  <c:v>-1.1441404843631515</c:v>
                </c:pt>
                <c:pt idx="1029">
                  <c:v>-1.137230729752446</c:v>
                </c:pt>
                <c:pt idx="1030">
                  <c:v>-0.99849502169944626</c:v>
                </c:pt>
                <c:pt idx="1031">
                  <c:v>-1.0155912855091171</c:v>
                </c:pt>
                <c:pt idx="1032">
                  <c:v>-0.92823292436924165</c:v>
                </c:pt>
                <c:pt idx="1033">
                  <c:v>-0.85647400021247744</c:v>
                </c:pt>
                <c:pt idx="1034">
                  <c:v>-0.82822928263454043</c:v>
                </c:pt>
                <c:pt idx="1035">
                  <c:v>-0.73446982902466618</c:v>
                </c:pt>
                <c:pt idx="1036">
                  <c:v>-0.67320413963681913</c:v>
                </c:pt>
                <c:pt idx="1037">
                  <c:v>-0.66982231697491468</c:v>
                </c:pt>
                <c:pt idx="1038">
                  <c:v>-0.64964090864882207</c:v>
                </c:pt>
                <c:pt idx="1039">
                  <c:v>-0.65549542327016219</c:v>
                </c:pt>
                <c:pt idx="1040">
                  <c:v>-0.66356158882460448</c:v>
                </c:pt>
                <c:pt idx="1041">
                  <c:v>-0.68726920308894912</c:v>
                </c:pt>
                <c:pt idx="1042">
                  <c:v>-0.69733669645478302</c:v>
                </c:pt>
                <c:pt idx="1043">
                  <c:v>-0.69134994143851802</c:v>
                </c:pt>
                <c:pt idx="1044">
                  <c:v>-0.68733723702689664</c:v>
                </c:pt>
                <c:pt idx="1045">
                  <c:v>-0.68296467696308305</c:v>
                </c:pt>
                <c:pt idx="1046">
                  <c:v>-0.71096227479361662</c:v>
                </c:pt>
                <c:pt idx="1047">
                  <c:v>-0.70944677876722906</c:v>
                </c:pt>
                <c:pt idx="1048">
                  <c:v>-0.69567347742118835</c:v>
                </c:pt>
                <c:pt idx="1049">
                  <c:v>-0.6956635067060889</c:v>
                </c:pt>
                <c:pt idx="1050">
                  <c:v>-0.68613483610631532</c:v>
                </c:pt>
                <c:pt idx="1051">
                  <c:v>-0.68200507256417531</c:v>
                </c:pt>
                <c:pt idx="1052">
                  <c:v>-0.74149979926832377</c:v>
                </c:pt>
                <c:pt idx="1053">
                  <c:v>-0.8226410688451925</c:v>
                </c:pt>
                <c:pt idx="1054">
                  <c:v>-0.89873384701979753</c:v>
                </c:pt>
                <c:pt idx="1055">
                  <c:v>-0.94866992387671045</c:v>
                </c:pt>
                <c:pt idx="1056">
                  <c:v>-1.0466627266553754</c:v>
                </c:pt>
                <c:pt idx="1057">
                  <c:v>-1.1707975451867922</c:v>
                </c:pt>
                <c:pt idx="1058">
                  <c:v>-1.189742395195811</c:v>
                </c:pt>
                <c:pt idx="1059">
                  <c:v>-1.2380131431067545</c:v>
                </c:pt>
                <c:pt idx="1060">
                  <c:v>-1.3015180237260835</c:v>
                </c:pt>
                <c:pt idx="1061">
                  <c:v>-1.312419504495961</c:v>
                </c:pt>
                <c:pt idx="1062">
                  <c:v>-1.3780776623835425</c:v>
                </c:pt>
                <c:pt idx="1063">
                  <c:v>-1.4413047587029291</c:v>
                </c:pt>
                <c:pt idx="1064">
                  <c:v>-1.491048162060715</c:v>
                </c:pt>
                <c:pt idx="1065">
                  <c:v>-1.5412441540671884</c:v>
                </c:pt>
                <c:pt idx="1066">
                  <c:v>-1.5064791364522696</c:v>
                </c:pt>
                <c:pt idx="1067">
                  <c:v>-1.4801489148243345</c:v>
                </c:pt>
                <c:pt idx="1068">
                  <c:v>-1.4722927582495935</c:v>
                </c:pt>
                <c:pt idx="1069">
                  <c:v>-1.461460211908074</c:v>
                </c:pt>
                <c:pt idx="1070">
                  <c:v>-1.4524635226381337</c:v>
                </c:pt>
                <c:pt idx="1071">
                  <c:v>-1.3796924091612945</c:v>
                </c:pt>
                <c:pt idx="1072">
                  <c:v>-1.3922356403634808</c:v>
                </c:pt>
                <c:pt idx="1073">
                  <c:v>-1.3270016861674911</c:v>
                </c:pt>
                <c:pt idx="1074">
                  <c:v>-1.2792587364523917</c:v>
                </c:pt>
                <c:pt idx="1075">
                  <c:v>-1.2578331217373373</c:v>
                </c:pt>
                <c:pt idx="1076">
                  <c:v>-1.1274685818189893</c:v>
                </c:pt>
                <c:pt idx="1077">
                  <c:v>-1.0783579712454543</c:v>
                </c:pt>
                <c:pt idx="1078">
                  <c:v>-0.99354461052544096</c:v>
                </c:pt>
                <c:pt idx="1079">
                  <c:v>-0.93351303862779966</c:v>
                </c:pt>
                <c:pt idx="1080">
                  <c:v>-0.83341918087313249</c:v>
                </c:pt>
                <c:pt idx="1081">
                  <c:v>-0.80467590210016948</c:v>
                </c:pt>
                <c:pt idx="1082">
                  <c:v>-0.78792099244619518</c:v>
                </c:pt>
                <c:pt idx="1083">
                  <c:v>-0.8948955264327898</c:v>
                </c:pt>
                <c:pt idx="1084">
                  <c:v>-0.88486239821288759</c:v>
                </c:pt>
                <c:pt idx="1085">
                  <c:v>-0.94528540900999225</c:v>
                </c:pt>
                <c:pt idx="1086">
                  <c:v>-0.94139089606373028</c:v>
                </c:pt>
                <c:pt idx="1087">
                  <c:v>-0.91424186724121337</c:v>
                </c:pt>
                <c:pt idx="1088">
                  <c:v>-0.94697939104081341</c:v>
                </c:pt>
                <c:pt idx="1089">
                  <c:v>-1.0362110652049077</c:v>
                </c:pt>
                <c:pt idx="1090">
                  <c:v>-1.1079982829212334</c:v>
                </c:pt>
                <c:pt idx="1091">
                  <c:v>-1.1518999404606498</c:v>
                </c:pt>
                <c:pt idx="1092">
                  <c:v>-1.1290474140127504</c:v>
                </c:pt>
                <c:pt idx="1093">
                  <c:v>-1.0793232142641906</c:v>
                </c:pt>
                <c:pt idx="1094">
                  <c:v>-1.0454243070504492</c:v>
                </c:pt>
                <c:pt idx="1095">
                  <c:v>-1.0052461778677297</c:v>
                </c:pt>
                <c:pt idx="1096">
                  <c:v>-1.0232425662540559</c:v>
                </c:pt>
                <c:pt idx="1097">
                  <c:v>-1.0296925313097782</c:v>
                </c:pt>
                <c:pt idx="1098">
                  <c:v>-1.0180490581169428</c:v>
                </c:pt>
                <c:pt idx="1099">
                  <c:v>-1.0197612084606651</c:v>
                </c:pt>
                <c:pt idx="1100">
                  <c:v>-1.0134790226516062</c:v>
                </c:pt>
                <c:pt idx="1101">
                  <c:v>-1.050256659621853</c:v>
                </c:pt>
                <c:pt idx="1102">
                  <c:v>-1.0594841547784666</c:v>
                </c:pt>
                <c:pt idx="1103">
                  <c:v>-1.06881662848946</c:v>
                </c:pt>
                <c:pt idx="1104">
                  <c:v>-1.0802029281367451</c:v>
                </c:pt>
                <c:pt idx="1105">
                  <c:v>-1.0331047511496978</c:v>
                </c:pt>
                <c:pt idx="1106">
                  <c:v>-1.0569807998261347</c:v>
                </c:pt>
                <c:pt idx="1107">
                  <c:v>-1.0768773339694979</c:v>
                </c:pt>
                <c:pt idx="1108">
                  <c:v>-1.0941871758820416</c:v>
                </c:pt>
                <c:pt idx="1109">
                  <c:v>-1.0413978925079195</c:v>
                </c:pt>
                <c:pt idx="1110">
                  <c:v>-1.0121220395127701</c:v>
                </c:pt>
                <c:pt idx="1111">
                  <c:v>-0.99680430924062735</c:v>
                </c:pt>
                <c:pt idx="1112">
                  <c:v>-1.0494065194323301</c:v>
                </c:pt>
                <c:pt idx="1113">
                  <c:v>-0.98966784905237593</c:v>
                </c:pt>
                <c:pt idx="1114">
                  <c:v>-0.99055752942027142</c:v>
                </c:pt>
                <c:pt idx="1115">
                  <c:v>-1.0010034819117302</c:v>
                </c:pt>
                <c:pt idx="1116">
                  <c:v>-1.0035796212259813</c:v>
                </c:pt>
                <c:pt idx="1117">
                  <c:v>-1.0588982360478578</c:v>
                </c:pt>
                <c:pt idx="1118">
                  <c:v>-1.0620814761651869</c:v>
                </c:pt>
                <c:pt idx="1119">
                  <c:v>-1.0357125498162594</c:v>
                </c:pt>
                <c:pt idx="1120">
                  <c:v>-0.9620402771389881</c:v>
                </c:pt>
                <c:pt idx="1121">
                  <c:v>-0.95945919434912785</c:v>
                </c:pt>
                <c:pt idx="1122">
                  <c:v>-0.98143649926611731</c:v>
                </c:pt>
                <c:pt idx="1123">
                  <c:v>-1.0204669015916625</c:v>
                </c:pt>
                <c:pt idx="1124">
                  <c:v>-1.0394918975865957</c:v>
                </c:pt>
                <c:pt idx="1125">
                  <c:v>-1.0525419162215921</c:v>
                </c:pt>
                <c:pt idx="1126">
                  <c:v>-1.038308920567484</c:v>
                </c:pt>
                <c:pt idx="1127">
                  <c:v>-1.0247269122545841</c:v>
                </c:pt>
                <c:pt idx="1128">
                  <c:v>-1.0505178909371766</c:v>
                </c:pt>
                <c:pt idx="1129">
                  <c:v>-1.1124363605589882</c:v>
                </c:pt>
                <c:pt idx="1130">
                  <c:v>-1.1066865241172898</c:v>
                </c:pt>
                <c:pt idx="1131">
                  <c:v>-1.1143148960757678</c:v>
                </c:pt>
                <c:pt idx="1132">
                  <c:v>-1.1043969201927846</c:v>
                </c:pt>
                <c:pt idx="1133">
                  <c:v>-1.1150297618164979</c:v>
                </c:pt>
                <c:pt idx="1134">
                  <c:v>-1.1306191526430798</c:v>
                </c:pt>
                <c:pt idx="1135">
                  <c:v>-1.1269699990488475</c:v>
                </c:pt>
                <c:pt idx="1136">
                  <c:v>-1.163063933107249</c:v>
                </c:pt>
                <c:pt idx="1137">
                  <c:v>-1.1752005786301902</c:v>
                </c:pt>
                <c:pt idx="1138">
                  <c:v>-1.2211213532190766</c:v>
                </c:pt>
                <c:pt idx="1139">
                  <c:v>-1.2375797426897654</c:v>
                </c:pt>
                <c:pt idx="1140">
                  <c:v>-1.2384638682846052</c:v>
                </c:pt>
                <c:pt idx="1141">
                  <c:v>-1.2342109578332954</c:v>
                </c:pt>
                <c:pt idx="1142">
                  <c:v>-1.2199745348301769</c:v>
                </c:pt>
                <c:pt idx="1143">
                  <c:v>-1.2492139105740812</c:v>
                </c:pt>
                <c:pt idx="1144">
                  <c:v>-1.2378939265507354</c:v>
                </c:pt>
                <c:pt idx="1145">
                  <c:v>-1.2259697502863545</c:v>
                </c:pt>
                <c:pt idx="1146">
                  <c:v>-1.2227690196580523</c:v>
                </c:pt>
                <c:pt idx="1147">
                  <c:v>-1.219618751939413</c:v>
                </c:pt>
                <c:pt idx="1148">
                  <c:v>-1.1939107112924048</c:v>
                </c:pt>
                <c:pt idx="1149">
                  <c:v>-1.1725621661723209</c:v>
                </c:pt>
                <c:pt idx="1150">
                  <c:v>-1.170477809195706</c:v>
                </c:pt>
                <c:pt idx="1151">
                  <c:v>-1.1349941837338309</c:v>
                </c:pt>
                <c:pt idx="1152">
                  <c:v>-1.1246741757462191</c:v>
                </c:pt>
                <c:pt idx="1153">
                  <c:v>-1.1207079302796426</c:v>
                </c:pt>
                <c:pt idx="1154">
                  <c:v>-1.1381946376267287</c:v>
                </c:pt>
                <c:pt idx="1155">
                  <c:v>-1.1058902876994325</c:v>
                </c:pt>
                <c:pt idx="1156">
                  <c:v>-1.1254682000923135</c:v>
                </c:pt>
                <c:pt idx="1157">
                  <c:v>-1.1234374564269431</c:v>
                </c:pt>
                <c:pt idx="1158">
                  <c:v>-1.1176282455175046</c:v>
                </c:pt>
                <c:pt idx="1159">
                  <c:v>-1.0611812776875245</c:v>
                </c:pt>
                <c:pt idx="1160">
                  <c:v>-1.1000735210737362</c:v>
                </c:pt>
                <c:pt idx="1161">
                  <c:v>-1.0853696084243878</c:v>
                </c:pt>
                <c:pt idx="1162">
                  <c:v>-1.0810903056910481</c:v>
                </c:pt>
                <c:pt idx="1163">
                  <c:v>-1.0662804400692916</c:v>
                </c:pt>
                <c:pt idx="1164">
                  <c:v>-1.1011462191515662</c:v>
                </c:pt>
                <c:pt idx="1165">
                  <c:v>-1.1392115956790823</c:v>
                </c:pt>
                <c:pt idx="1166">
                  <c:v>-1.0836802289263097</c:v>
                </c:pt>
                <c:pt idx="1167">
                  <c:v>-1.0688185262951495</c:v>
                </c:pt>
                <c:pt idx="1168">
                  <c:v>-1.0164850181963401</c:v>
                </c:pt>
                <c:pt idx="1169">
                  <c:v>-1.0033452395008449</c:v>
                </c:pt>
                <c:pt idx="1170">
                  <c:v>-1.0079619400375415</c:v>
                </c:pt>
                <c:pt idx="1171">
                  <c:v>-0.95925413950633653</c:v>
                </c:pt>
                <c:pt idx="1172">
                  <c:v>-1.0037675865353721</c:v>
                </c:pt>
                <c:pt idx="1173">
                  <c:v>-1.0146809148644893</c:v>
                </c:pt>
                <c:pt idx="1174">
                  <c:v>-1.0402164280748778</c:v>
                </c:pt>
                <c:pt idx="1175">
                  <c:v>-1.0422643434829162</c:v>
                </c:pt>
                <c:pt idx="1176">
                  <c:v>-1.0296428783352165</c:v>
                </c:pt>
                <c:pt idx="1177">
                  <c:v>-1.0316731116687268</c:v>
                </c:pt>
                <c:pt idx="1178">
                  <c:v>-1.0079800923959579</c:v>
                </c:pt>
                <c:pt idx="1179">
                  <c:v>-0.99663767261572489</c:v>
                </c:pt>
                <c:pt idx="1180">
                  <c:v>-1.0170893690235974</c:v>
                </c:pt>
                <c:pt idx="1181">
                  <c:v>-0.98990591136192618</c:v>
                </c:pt>
                <c:pt idx="1182">
                  <c:v>-0.98471496392430224</c:v>
                </c:pt>
                <c:pt idx="1183">
                  <c:v>-0.97886767953997555</c:v>
                </c:pt>
                <c:pt idx="1184">
                  <c:v>-0.98950322600144713</c:v>
                </c:pt>
                <c:pt idx="1185">
                  <c:v>-0.97297747163808945</c:v>
                </c:pt>
                <c:pt idx="1186">
                  <c:v>-0.99386413359168524</c:v>
                </c:pt>
                <c:pt idx="1187">
                  <c:v>-1.0005371440531536</c:v>
                </c:pt>
                <c:pt idx="1188">
                  <c:v>-0.99355873972826436</c:v>
                </c:pt>
                <c:pt idx="1189">
                  <c:v>-1.0321359072098248</c:v>
                </c:pt>
                <c:pt idx="1190">
                  <c:v>-0.96938980463685498</c:v>
                </c:pt>
                <c:pt idx="1191">
                  <c:v>-0.95036740526517005</c:v>
                </c:pt>
                <c:pt idx="1192">
                  <c:v>-0.95106599943825509</c:v>
                </c:pt>
                <c:pt idx="1193">
                  <c:v>-0.97287624687441454</c:v>
                </c:pt>
                <c:pt idx="1194">
                  <c:v>-0.92613606803015247</c:v>
                </c:pt>
                <c:pt idx="1195">
                  <c:v>-0.96846096191952413</c:v>
                </c:pt>
                <c:pt idx="1196">
                  <c:v>-0.97459582797088906</c:v>
                </c:pt>
                <c:pt idx="1197">
                  <c:v>-0.94981960933057619</c:v>
                </c:pt>
                <c:pt idx="1198">
                  <c:v>-0.97861296871172065</c:v>
                </c:pt>
                <c:pt idx="1199">
                  <c:v>-0.99832379379361447</c:v>
                </c:pt>
                <c:pt idx="1200">
                  <c:v>-0.99880278024168245</c:v>
                </c:pt>
                <c:pt idx="1201">
                  <c:v>-1.040320262906449</c:v>
                </c:pt>
                <c:pt idx="1202">
                  <c:v>-1.054261374557677</c:v>
                </c:pt>
                <c:pt idx="1203">
                  <c:v>-1.1123916315689371</c:v>
                </c:pt>
                <c:pt idx="1204">
                  <c:v>-1.1335685753548428</c:v>
                </c:pt>
                <c:pt idx="1205">
                  <c:v>-1.1913754950710265</c:v>
                </c:pt>
                <c:pt idx="1206">
                  <c:v>-1.2512314366147828</c:v>
                </c:pt>
                <c:pt idx="1207">
                  <c:v>-1.2112483994764558</c:v>
                </c:pt>
                <c:pt idx="1208">
                  <c:v>-1.2336074454397346</c:v>
                </c:pt>
                <c:pt idx="1209">
                  <c:v>-1.2267407496518696</c:v>
                </c:pt>
                <c:pt idx="1210">
                  <c:v>-1.2106648912015259</c:v>
                </c:pt>
                <c:pt idx="1211">
                  <c:v>-1.2669972937481817</c:v>
                </c:pt>
                <c:pt idx="1212">
                  <c:v>-1.2544270067761856</c:v>
                </c:pt>
                <c:pt idx="1213">
                  <c:v>-1.2568951629407596</c:v>
                </c:pt>
                <c:pt idx="1214">
                  <c:v>-1.2316637265566637</c:v>
                </c:pt>
                <c:pt idx="1215">
                  <c:v>-1.2498289313313551</c:v>
                </c:pt>
                <c:pt idx="1216">
                  <c:v>-1.1647788837436426</c:v>
                </c:pt>
                <c:pt idx="1217">
                  <c:v>-1.1912096580900113</c:v>
                </c:pt>
                <c:pt idx="1218">
                  <c:v>-1.1744708316824275</c:v>
                </c:pt>
                <c:pt idx="1219">
                  <c:v>-1.1124425766370341</c:v>
                </c:pt>
                <c:pt idx="1220">
                  <c:v>-1.1870916902518469</c:v>
                </c:pt>
                <c:pt idx="1221">
                  <c:v>-1.1845303649282637</c:v>
                </c:pt>
                <c:pt idx="1222">
                  <c:v>-1.126714648966149</c:v>
                </c:pt>
                <c:pt idx="1223">
                  <c:v>-1.0586094675927884</c:v>
                </c:pt>
                <c:pt idx="1224">
                  <c:v>-1.0864330486234148</c:v>
                </c:pt>
                <c:pt idx="1225">
                  <c:v>-1.0455195016781007</c:v>
                </c:pt>
                <c:pt idx="1226">
                  <c:v>-1.0228595288979523</c:v>
                </c:pt>
                <c:pt idx="1227">
                  <c:v>-0.99416096777421759</c:v>
                </c:pt>
                <c:pt idx="1228">
                  <c:v>-0.80234853629730507</c:v>
                </c:pt>
                <c:pt idx="1229">
                  <c:v>-0.75230154400056515</c:v>
                </c:pt>
                <c:pt idx="1230">
                  <c:v>-0.72857941516362301</c:v>
                </c:pt>
                <c:pt idx="1231">
                  <c:v>-0.7250738473437417</c:v>
                </c:pt>
                <c:pt idx="1232">
                  <c:v>-0.73328843331654581</c:v>
                </c:pt>
                <c:pt idx="1233">
                  <c:v>-0.73318205951487248</c:v>
                </c:pt>
                <c:pt idx="1234">
                  <c:v>-0.75903861400479244</c:v>
                </c:pt>
                <c:pt idx="1235">
                  <c:v>-0.75778303743434194</c:v>
                </c:pt>
                <c:pt idx="1236">
                  <c:v>-0.74657101162149409</c:v>
                </c:pt>
                <c:pt idx="1237">
                  <c:v>-0.76890126610060117</c:v>
                </c:pt>
                <c:pt idx="1238">
                  <c:v>-0.74978748226959158</c:v>
                </c:pt>
                <c:pt idx="1239">
                  <c:v>-0.7268440537055777</c:v>
                </c:pt>
                <c:pt idx="1240">
                  <c:v>-0.71235465923299823</c:v>
                </c:pt>
                <c:pt idx="1241">
                  <c:v>-0.69461930328909138</c:v>
                </c:pt>
                <c:pt idx="1242">
                  <c:v>-0.70341229303464203</c:v>
                </c:pt>
                <c:pt idx="1243">
                  <c:v>-0.72323626022615883</c:v>
                </c:pt>
                <c:pt idx="1244">
                  <c:v>-0.89335336865246529</c:v>
                </c:pt>
                <c:pt idx="1245">
                  <c:v>-1.0240686456457637</c:v>
                </c:pt>
                <c:pt idx="1246">
                  <c:v>-1.0875545663464279</c:v>
                </c:pt>
                <c:pt idx="1247">
                  <c:v>-1.1705894035981572</c:v>
                </c:pt>
                <c:pt idx="1248">
                  <c:v>-1.180236702909141</c:v>
                </c:pt>
                <c:pt idx="1249">
                  <c:v>-1.3605418204864903</c:v>
                </c:pt>
                <c:pt idx="1250">
                  <c:v>-1.4282919373355818</c:v>
                </c:pt>
                <c:pt idx="1251">
                  <c:v>-1.4004019927644364</c:v>
                </c:pt>
                <c:pt idx="1252">
                  <c:v>-1.4124226960148458</c:v>
                </c:pt>
                <c:pt idx="1253">
                  <c:v>-1.4174698720812802</c:v>
                </c:pt>
                <c:pt idx="1254">
                  <c:v>-1.4207474337793986</c:v>
                </c:pt>
                <c:pt idx="1255">
                  <c:v>-1.4820616474734778</c:v>
                </c:pt>
                <c:pt idx="1256">
                  <c:v>-1.46344051810152</c:v>
                </c:pt>
                <c:pt idx="1257">
                  <c:v>-1.4459238300918975</c:v>
                </c:pt>
                <c:pt idx="1258">
                  <c:v>-1.422726878145723</c:v>
                </c:pt>
                <c:pt idx="1259">
                  <c:v>-1.405814323840505</c:v>
                </c:pt>
                <c:pt idx="1260">
                  <c:v>-1.3984163871794377</c:v>
                </c:pt>
                <c:pt idx="1261">
                  <c:v>-1.4154023218067082</c:v>
                </c:pt>
                <c:pt idx="1262">
                  <c:v>-1.3809179335582327</c:v>
                </c:pt>
                <c:pt idx="1263">
                  <c:v>-1.3590609089277783</c:v>
                </c:pt>
                <c:pt idx="1264">
                  <c:v>-1.3329089678212891</c:v>
                </c:pt>
                <c:pt idx="1265">
                  <c:v>-1.3256382916914184</c:v>
                </c:pt>
                <c:pt idx="1266">
                  <c:v>-1.3063785105600632</c:v>
                </c:pt>
                <c:pt idx="1267">
                  <c:v>-1.2711454215349316</c:v>
                </c:pt>
                <c:pt idx="1268">
                  <c:v>-1.2819079907809008</c:v>
                </c:pt>
                <c:pt idx="1269">
                  <c:v>-1.2673915219152125</c:v>
                </c:pt>
                <c:pt idx="1270">
                  <c:v>-1.2391670628691267</c:v>
                </c:pt>
                <c:pt idx="1271">
                  <c:v>-1.1840344159854961</c:v>
                </c:pt>
                <c:pt idx="1272">
                  <c:v>-1.0779934743251745</c:v>
                </c:pt>
                <c:pt idx="1273">
                  <c:v>-1.0465252516954324</c:v>
                </c:pt>
                <c:pt idx="1274">
                  <c:v>-1.0623470588764274</c:v>
                </c:pt>
                <c:pt idx="1275">
                  <c:v>-1.0591576456946674</c:v>
                </c:pt>
                <c:pt idx="1276">
                  <c:v>-1.1021463963339317</c:v>
                </c:pt>
                <c:pt idx="1277">
                  <c:v>-1.0657076473045715</c:v>
                </c:pt>
                <c:pt idx="1278">
                  <c:v>-1.0961011243442802</c:v>
                </c:pt>
                <c:pt idx="1279">
                  <c:v>-1.0362076719543185</c:v>
                </c:pt>
                <c:pt idx="1280">
                  <c:v>-1.0219906403653372</c:v>
                </c:pt>
                <c:pt idx="1281">
                  <c:v>-1.0227963335573738</c:v>
                </c:pt>
                <c:pt idx="1282">
                  <c:v>-1.0672318432582859</c:v>
                </c:pt>
                <c:pt idx="1283">
                  <c:v>-1.0552545802291013</c:v>
                </c:pt>
                <c:pt idx="1284">
                  <c:v>-1.0510779358069662</c:v>
                </c:pt>
                <c:pt idx="1285">
                  <c:v>-1.0431238646557892</c:v>
                </c:pt>
                <c:pt idx="1286">
                  <c:v>-1.0663424820257446</c:v>
                </c:pt>
                <c:pt idx="1287">
                  <c:v>-1.0487943620575237</c:v>
                </c:pt>
                <c:pt idx="1288">
                  <c:v>-1.0198809136918157</c:v>
                </c:pt>
                <c:pt idx="1289">
                  <c:v>-1.0217620037170239</c:v>
                </c:pt>
                <c:pt idx="1290">
                  <c:v>-1.0123482763959248</c:v>
                </c:pt>
                <c:pt idx="1291">
                  <c:v>-1.0526001365126698</c:v>
                </c:pt>
                <c:pt idx="1292">
                  <c:v>-1.0417893785679153</c:v>
                </c:pt>
                <c:pt idx="1293">
                  <c:v>-1.0281004384911603</c:v>
                </c:pt>
                <c:pt idx="1294">
                  <c:v>-1.0056238699966198</c:v>
                </c:pt>
                <c:pt idx="1295">
                  <c:v>-0.95561159627781711</c:v>
                </c:pt>
                <c:pt idx="1296">
                  <c:v>-0.98050102181421006</c:v>
                </c:pt>
                <c:pt idx="1297">
                  <c:v>-0.95183387933940389</c:v>
                </c:pt>
                <c:pt idx="1298">
                  <c:v>-0.96631413306180924</c:v>
                </c:pt>
                <c:pt idx="1299">
                  <c:v>-0.9572301397237617</c:v>
                </c:pt>
                <c:pt idx="1300">
                  <c:v>-0.93919277239704524</c:v>
                </c:pt>
                <c:pt idx="1301">
                  <c:v>-0.97234587374341042</c:v>
                </c:pt>
                <c:pt idx="1302">
                  <c:v>-0.93276639307302922</c:v>
                </c:pt>
                <c:pt idx="1303">
                  <c:v>-0.94877952995992421</c:v>
                </c:pt>
                <c:pt idx="1304">
                  <c:v>-0.94314568760527828</c:v>
                </c:pt>
                <c:pt idx="1305">
                  <c:v>-0.94001112561197542</c:v>
                </c:pt>
                <c:pt idx="1306">
                  <c:v>-0.89830172157760713</c:v>
                </c:pt>
                <c:pt idx="1307">
                  <c:v>-0.95560714685077441</c:v>
                </c:pt>
                <c:pt idx="1308">
                  <c:v>-0.94405506668080652</c:v>
                </c:pt>
                <c:pt idx="1309">
                  <c:v>-1.0035638554611876</c:v>
                </c:pt>
                <c:pt idx="1310">
                  <c:v>-1.0241106495384169</c:v>
                </c:pt>
                <c:pt idx="1311">
                  <c:v>-1.037469980634838</c:v>
                </c:pt>
                <c:pt idx="1312">
                  <c:v>-1.017256045270243</c:v>
                </c:pt>
                <c:pt idx="1313">
                  <c:v>-1.0084966307409189</c:v>
                </c:pt>
                <c:pt idx="1314">
                  <c:v>-1.0136728959149377</c:v>
                </c:pt>
                <c:pt idx="1315">
                  <c:v>-1.0129372953007516</c:v>
                </c:pt>
                <c:pt idx="1316">
                  <c:v>-1.0066849005630618</c:v>
                </c:pt>
                <c:pt idx="1317">
                  <c:v>-0.98981420516032093</c:v>
                </c:pt>
                <c:pt idx="1318">
                  <c:v>-1.0195540232757503</c:v>
                </c:pt>
                <c:pt idx="1319">
                  <c:v>-1.0270841610161372</c:v>
                </c:pt>
                <c:pt idx="1320">
                  <c:v>-1.0834007390964135</c:v>
                </c:pt>
                <c:pt idx="1321">
                  <c:v>-1.0576927007522487</c:v>
                </c:pt>
                <c:pt idx="1322">
                  <c:v>-1.0743061888150152</c:v>
                </c:pt>
                <c:pt idx="1323">
                  <c:v>-1.1418421797044915</c:v>
                </c:pt>
                <c:pt idx="1324">
                  <c:v>-1.1425007450758973</c:v>
                </c:pt>
                <c:pt idx="1325">
                  <c:v>-1.1464330055642087</c:v>
                </c:pt>
                <c:pt idx="1326">
                  <c:v>-1.1156253357780821</c:v>
                </c:pt>
                <c:pt idx="1327">
                  <c:v>-1.0953564513531457</c:v>
                </c:pt>
                <c:pt idx="1328">
                  <c:v>-1.0632901343772512</c:v>
                </c:pt>
                <c:pt idx="1329">
                  <c:v>-1.0550835215062708</c:v>
                </c:pt>
                <c:pt idx="1330">
                  <c:v>-1.0510801251612361</c:v>
                </c:pt>
                <c:pt idx="1331">
                  <c:v>-1.0221977419181898</c:v>
                </c:pt>
                <c:pt idx="1332">
                  <c:v>-1.0003180766257049</c:v>
                </c:pt>
                <c:pt idx="1333">
                  <c:v>-1.0142933037596285</c:v>
                </c:pt>
                <c:pt idx="1334">
                  <c:v>-1.0247348223225452</c:v>
                </c:pt>
                <c:pt idx="1335">
                  <c:v>-1.0374302947114973</c:v>
                </c:pt>
                <c:pt idx="1336">
                  <c:v>-1.0734176176436632</c:v>
                </c:pt>
                <c:pt idx="1337">
                  <c:v>-1.0064319969993007</c:v>
                </c:pt>
                <c:pt idx="1338">
                  <c:v>-1.0058126732795594</c:v>
                </c:pt>
                <c:pt idx="1339">
                  <c:v>-0.99494780141860373</c:v>
                </c:pt>
                <c:pt idx="1340">
                  <c:v>-0.98576065568949089</c:v>
                </c:pt>
                <c:pt idx="1341">
                  <c:v>-0.94180450231079038</c:v>
                </c:pt>
                <c:pt idx="1342">
                  <c:v>-0.92867994142443377</c:v>
                </c:pt>
                <c:pt idx="1343">
                  <c:v>-0.94035428979589974</c:v>
                </c:pt>
                <c:pt idx="1344">
                  <c:v>-0.9892037200317515</c:v>
                </c:pt>
                <c:pt idx="1345">
                  <c:v>-1.0506680029854942</c:v>
                </c:pt>
                <c:pt idx="1346">
                  <c:v>-1.0228493800053666</c:v>
                </c:pt>
                <c:pt idx="1347">
                  <c:v>-1.0681850633200174</c:v>
                </c:pt>
                <c:pt idx="1348">
                  <c:v>-1.0495087655064397</c:v>
                </c:pt>
                <c:pt idx="1349">
                  <c:v>-1.0657500844920547</c:v>
                </c:pt>
                <c:pt idx="1350">
                  <c:v>-1.0594363480667131</c:v>
                </c:pt>
                <c:pt idx="1351">
                  <c:v>-1.0146166807718981</c:v>
                </c:pt>
                <c:pt idx="1352">
                  <c:v>-1.0399108322314548</c:v>
                </c:pt>
                <c:pt idx="1353">
                  <c:v>-1.0251528878280374</c:v>
                </c:pt>
                <c:pt idx="1354">
                  <c:v>-1.063542385808405</c:v>
                </c:pt>
                <c:pt idx="1355">
                  <c:v>-1.1029298890894539</c:v>
                </c:pt>
                <c:pt idx="1356">
                  <c:v>-1.0875586606647099</c:v>
                </c:pt>
                <c:pt idx="1357">
                  <c:v>-1.0920759184451598</c:v>
                </c:pt>
                <c:pt idx="1358">
                  <c:v>-1.1005177679895135</c:v>
                </c:pt>
                <c:pt idx="1359">
                  <c:v>-1.1072949817696851</c:v>
                </c:pt>
                <c:pt idx="1360">
                  <c:v>-1.129245634943842</c:v>
                </c:pt>
                <c:pt idx="1361">
                  <c:v>-1.1073749188037767</c:v>
                </c:pt>
                <c:pt idx="1362">
                  <c:v>-1.1249732286695968</c:v>
                </c:pt>
                <c:pt idx="1363">
                  <c:v>-1.1338954630118141</c:v>
                </c:pt>
                <c:pt idx="1364">
                  <c:v>-1.110623455266361</c:v>
                </c:pt>
                <c:pt idx="1365">
                  <c:v>-1.0682947929918414</c:v>
                </c:pt>
                <c:pt idx="1366">
                  <c:v>-1.0600223265521649</c:v>
                </c:pt>
                <c:pt idx="1367">
                  <c:v>-1.0650392012043475</c:v>
                </c:pt>
                <c:pt idx="1368">
                  <c:v>-1.0676202434716269</c:v>
                </c:pt>
                <c:pt idx="1369">
                  <c:v>-1.02332604427208</c:v>
                </c:pt>
                <c:pt idx="1370">
                  <c:v>-1.0104035163168994</c:v>
                </c:pt>
                <c:pt idx="1371">
                  <c:v>-1.0229500834614305</c:v>
                </c:pt>
                <c:pt idx="1372">
                  <c:v>-1.0373091153574907</c:v>
                </c:pt>
                <c:pt idx="1373">
                  <c:v>-1.0335475199332878</c:v>
                </c:pt>
                <c:pt idx="1374">
                  <c:v>-1.022231866204752</c:v>
                </c:pt>
                <c:pt idx="1375">
                  <c:v>-0.97538312222037238</c:v>
                </c:pt>
                <c:pt idx="1376">
                  <c:v>-0.98577512261997646</c:v>
                </c:pt>
                <c:pt idx="1377">
                  <c:v>-0.9874664800999764</c:v>
                </c:pt>
                <c:pt idx="1378">
                  <c:v>-1.0469946773681413</c:v>
                </c:pt>
                <c:pt idx="1379">
                  <c:v>-1.0441313351758339</c:v>
                </c:pt>
                <c:pt idx="1380">
                  <c:v>-0.97690164764989929</c:v>
                </c:pt>
                <c:pt idx="1381">
                  <c:v>-0.99431009461186415</c:v>
                </c:pt>
                <c:pt idx="1382">
                  <c:v>-0.93875595232884057</c:v>
                </c:pt>
                <c:pt idx="1383">
                  <c:v>-0.94536142739766427</c:v>
                </c:pt>
                <c:pt idx="1384">
                  <c:v>-0.91422470975712844</c:v>
                </c:pt>
                <c:pt idx="1385">
                  <c:v>-0.91972170823519805</c:v>
                </c:pt>
                <c:pt idx="1386">
                  <c:v>-0.96133955979844332</c:v>
                </c:pt>
                <c:pt idx="1387">
                  <c:v>-0.93045280057820301</c:v>
                </c:pt>
                <c:pt idx="1388">
                  <c:v>-0.94025745721047349</c:v>
                </c:pt>
                <c:pt idx="1389">
                  <c:v>-0.94558937766156759</c:v>
                </c:pt>
                <c:pt idx="1390">
                  <c:v>-0.95787155162816928</c:v>
                </c:pt>
                <c:pt idx="1391">
                  <c:v>-0.95311193743488465</c:v>
                </c:pt>
                <c:pt idx="1392">
                  <c:v>-0.94251614873743572</c:v>
                </c:pt>
                <c:pt idx="1393">
                  <c:v>-0.91915487487992542</c:v>
                </c:pt>
                <c:pt idx="1394">
                  <c:v>-0.96489994273778001</c:v>
                </c:pt>
                <c:pt idx="1395">
                  <c:v>-0.94444716286524244</c:v>
                </c:pt>
                <c:pt idx="1396">
                  <c:v>-0.99030142857982173</c:v>
                </c:pt>
                <c:pt idx="1397">
                  <c:v>-0.97923612913077895</c:v>
                </c:pt>
                <c:pt idx="1398">
                  <c:v>-0.99370648918585036</c:v>
                </c:pt>
                <c:pt idx="1399">
                  <c:v>-1.0096201155677202</c:v>
                </c:pt>
                <c:pt idx="1400">
                  <c:v>-1.0285862197905775</c:v>
                </c:pt>
                <c:pt idx="1401">
                  <c:v>-1.0370945221929695</c:v>
                </c:pt>
                <c:pt idx="1402">
                  <c:v>-1.0332619671270515</c:v>
                </c:pt>
                <c:pt idx="1403">
                  <c:v>-1.0423721630210239</c:v>
                </c:pt>
                <c:pt idx="1404">
                  <c:v>-1.0229258244990327</c:v>
                </c:pt>
                <c:pt idx="1405">
                  <c:v>-1.0343619601280429</c:v>
                </c:pt>
                <c:pt idx="1406">
                  <c:v>-1.0313063955604749</c:v>
                </c:pt>
                <c:pt idx="1407">
                  <c:v>-0.9940759619718823</c:v>
                </c:pt>
                <c:pt idx="1408">
                  <c:v>-0.94552042805644676</c:v>
                </c:pt>
                <c:pt idx="1409">
                  <c:v>-0.95666744161882167</c:v>
                </c:pt>
                <c:pt idx="1410">
                  <c:v>-0.97142722317880859</c:v>
                </c:pt>
                <c:pt idx="1411">
                  <c:v>-0.99678823867479482</c:v>
                </c:pt>
                <c:pt idx="1412">
                  <c:v>-1.0361616895640124</c:v>
                </c:pt>
                <c:pt idx="1413">
                  <c:v>-1.0325871442935144</c:v>
                </c:pt>
                <c:pt idx="1414">
                  <c:v>-1.053382799254164</c:v>
                </c:pt>
                <c:pt idx="1415">
                  <c:v>-1.0084434374750464</c:v>
                </c:pt>
                <c:pt idx="1416">
                  <c:v>-0.99047498752400831</c:v>
                </c:pt>
                <c:pt idx="1417">
                  <c:v>-1.0116494272416949</c:v>
                </c:pt>
                <c:pt idx="1418">
                  <c:v>-1.0138350047530784</c:v>
                </c:pt>
                <c:pt idx="1419">
                  <c:v>-0.98259069943783306</c:v>
                </c:pt>
                <c:pt idx="1420">
                  <c:v>-0.96306724384660913</c:v>
                </c:pt>
                <c:pt idx="1421">
                  <c:v>-0.99235938768019649</c:v>
                </c:pt>
                <c:pt idx="1422">
                  <c:v>-1.0102855714453334</c:v>
                </c:pt>
                <c:pt idx="1423">
                  <c:v>-0.99043945874548955</c:v>
                </c:pt>
                <c:pt idx="1424">
                  <c:v>-0.93337623508033207</c:v>
                </c:pt>
                <c:pt idx="1425">
                  <c:v>-0.99124316329618478</c:v>
                </c:pt>
                <c:pt idx="1426">
                  <c:v>-0.93809040081700368</c:v>
                </c:pt>
                <c:pt idx="1427">
                  <c:v>-0.95714617330719853</c:v>
                </c:pt>
                <c:pt idx="1428">
                  <c:v>-0.90650785627328057</c:v>
                </c:pt>
                <c:pt idx="1429">
                  <c:v>-0.92829308565955926</c:v>
                </c:pt>
                <c:pt idx="1430">
                  <c:v>-0.87776945034036469</c:v>
                </c:pt>
                <c:pt idx="1431">
                  <c:v>-0.89294269802711868</c:v>
                </c:pt>
                <c:pt idx="1432">
                  <c:v>-0.91684478861193386</c:v>
                </c:pt>
                <c:pt idx="1433">
                  <c:v>-0.93298659946727502</c:v>
                </c:pt>
                <c:pt idx="1434">
                  <c:v>-0.90617133955958074</c:v>
                </c:pt>
                <c:pt idx="1435">
                  <c:v>-0.95289635322625921</c:v>
                </c:pt>
                <c:pt idx="1436">
                  <c:v>-0.97410868069978829</c:v>
                </c:pt>
                <c:pt idx="1437">
                  <c:v>-0.99424590493868015</c:v>
                </c:pt>
                <c:pt idx="1438">
                  <c:v>-0.97281314064638991</c:v>
                </c:pt>
                <c:pt idx="1439">
                  <c:v>-0.95551046019752151</c:v>
                </c:pt>
                <c:pt idx="1440">
                  <c:v>-0.92735816288941775</c:v>
                </c:pt>
                <c:pt idx="1441">
                  <c:v>-0.91678130634302979</c:v>
                </c:pt>
                <c:pt idx="1442">
                  <c:v>-0.89985453405336746</c:v>
                </c:pt>
                <c:pt idx="1443">
                  <c:v>-0.90990540917277729</c:v>
                </c:pt>
                <c:pt idx="1444">
                  <c:v>-0.87369031493074423</c:v>
                </c:pt>
                <c:pt idx="1445">
                  <c:v>-0.93491560045849276</c:v>
                </c:pt>
                <c:pt idx="1446">
                  <c:v>-0.90639837193557116</c:v>
                </c:pt>
                <c:pt idx="1447">
                  <c:v>-0.90936419900760701</c:v>
                </c:pt>
                <c:pt idx="1448">
                  <c:v>-0.85069326259455424</c:v>
                </c:pt>
                <c:pt idx="1449">
                  <c:v>-0.9027854180120074</c:v>
                </c:pt>
                <c:pt idx="1450">
                  <c:v>-0.918293724976324</c:v>
                </c:pt>
                <c:pt idx="1451">
                  <c:v>-0.90522140212465541</c:v>
                </c:pt>
                <c:pt idx="1452">
                  <c:v>-0.94258071174967961</c:v>
                </c:pt>
                <c:pt idx="1453">
                  <c:v>-0.98051083832019192</c:v>
                </c:pt>
                <c:pt idx="1454">
                  <c:v>-0.99185734710411144</c:v>
                </c:pt>
                <c:pt idx="1455">
                  <c:v>-0.97778886101346618</c:v>
                </c:pt>
                <c:pt idx="1456">
                  <c:v>-0.9879605801279967</c:v>
                </c:pt>
                <c:pt idx="1457">
                  <c:v>-0.9889530718240892</c:v>
                </c:pt>
                <c:pt idx="1458">
                  <c:v>-1.0074441671230703</c:v>
                </c:pt>
                <c:pt idx="1459">
                  <c:v>-1.0466779815567835</c:v>
                </c:pt>
                <c:pt idx="1460">
                  <c:v>-1.0677107947315043</c:v>
                </c:pt>
                <c:pt idx="1461">
                  <c:v>-1.0154732961925232</c:v>
                </c:pt>
                <c:pt idx="1462">
                  <c:v>-1.0065879362665</c:v>
                </c:pt>
                <c:pt idx="1463">
                  <c:v>-0.9754647616136628</c:v>
                </c:pt>
                <c:pt idx="1464">
                  <c:v>-1.0231903332867189</c:v>
                </c:pt>
                <c:pt idx="1465">
                  <c:v>-1.0288028660835404</c:v>
                </c:pt>
                <c:pt idx="1466">
                  <c:v>-1.0017711393078299</c:v>
                </c:pt>
                <c:pt idx="1467">
                  <c:v>-1.018712082437969</c:v>
                </c:pt>
                <c:pt idx="1468">
                  <c:v>-1.0210208070031284</c:v>
                </c:pt>
                <c:pt idx="1469">
                  <c:v>-1.001152558865668</c:v>
                </c:pt>
                <c:pt idx="1470">
                  <c:v>-1.0229411155824795</c:v>
                </c:pt>
                <c:pt idx="1471">
                  <c:v>-1.0152967576370908</c:v>
                </c:pt>
                <c:pt idx="1472">
                  <c:v>-1.0481172209962666</c:v>
                </c:pt>
                <c:pt idx="1473">
                  <c:v>-1.0480287986087489</c:v>
                </c:pt>
                <c:pt idx="1474">
                  <c:v>-1.0350666261246397</c:v>
                </c:pt>
                <c:pt idx="1475">
                  <c:v>-0.9726604293765424</c:v>
                </c:pt>
                <c:pt idx="1476">
                  <c:v>-0.95068449003564814</c:v>
                </c:pt>
                <c:pt idx="1477">
                  <c:v>-0.98021052442951295</c:v>
                </c:pt>
                <c:pt idx="1478">
                  <c:v>-1.0449819323778387</c:v>
                </c:pt>
                <c:pt idx="1479">
                  <c:v>-1.017634131429725</c:v>
                </c:pt>
                <c:pt idx="1480">
                  <c:v>-0.99280278846166581</c:v>
                </c:pt>
                <c:pt idx="1481">
                  <c:v>-1.0594613579515253</c:v>
                </c:pt>
                <c:pt idx="1482">
                  <c:v>-1.0068104653798338</c:v>
                </c:pt>
                <c:pt idx="1483">
                  <c:v>-0.93925763123069717</c:v>
                </c:pt>
                <c:pt idx="1484">
                  <c:v>-0.93233352479739151</c:v>
                </c:pt>
                <c:pt idx="1485">
                  <c:v>-0.88518692646255559</c:v>
                </c:pt>
                <c:pt idx="1486">
                  <c:v>-0.87307847461326749</c:v>
                </c:pt>
                <c:pt idx="1487">
                  <c:v>-0.84509757290319532</c:v>
                </c:pt>
                <c:pt idx="1488">
                  <c:v>-0.85177817340790429</c:v>
                </c:pt>
                <c:pt idx="1489">
                  <c:v>-0.78277904717624258</c:v>
                </c:pt>
                <c:pt idx="1490">
                  <c:v>-0.76232378320483285</c:v>
                </c:pt>
                <c:pt idx="1491">
                  <c:v>-0.75549296724710469</c:v>
                </c:pt>
                <c:pt idx="1492">
                  <c:v>-0.73588379710660456</c:v>
                </c:pt>
                <c:pt idx="1493">
                  <c:v>-0.75759339064526876</c:v>
                </c:pt>
                <c:pt idx="1494">
                  <c:v>-0.67211763888789555</c:v>
                </c:pt>
                <c:pt idx="1495">
                  <c:v>-0.69067642533318052</c:v>
                </c:pt>
                <c:pt idx="1496">
                  <c:v>-0.7189924957863425</c:v>
                </c:pt>
                <c:pt idx="1497">
                  <c:v>-0.67561211910709285</c:v>
                </c:pt>
                <c:pt idx="1498">
                  <c:v>-0.67007678549693306</c:v>
                </c:pt>
                <c:pt idx="1499">
                  <c:v>-0.76329695722805868</c:v>
                </c:pt>
                <c:pt idx="1500">
                  <c:v>-0.76568319198245349</c:v>
                </c:pt>
                <c:pt idx="1501">
                  <c:v>-0.75480510644047294</c:v>
                </c:pt>
                <c:pt idx="1502">
                  <c:v>-0.72680367387348355</c:v>
                </c:pt>
                <c:pt idx="1503">
                  <c:v>-0.74354831514119035</c:v>
                </c:pt>
                <c:pt idx="1504">
                  <c:v>-0.75313383340864637</c:v>
                </c:pt>
                <c:pt idx="1505">
                  <c:v>-0.76648718972509222</c:v>
                </c:pt>
                <c:pt idx="1506">
                  <c:v>-0.838265204888471</c:v>
                </c:pt>
                <c:pt idx="1507">
                  <c:v>-0.80341531258321131</c:v>
                </c:pt>
                <c:pt idx="1508">
                  <c:v>-0.74252495192075774</c:v>
                </c:pt>
                <c:pt idx="1509">
                  <c:v>-0.73934723217058684</c:v>
                </c:pt>
                <c:pt idx="1510">
                  <c:v>-0.75435923229861879</c:v>
                </c:pt>
                <c:pt idx="1511">
                  <c:v>-0.72541962512516989</c:v>
                </c:pt>
                <c:pt idx="1512">
                  <c:v>-0.76182079194940822</c:v>
                </c:pt>
                <c:pt idx="1513">
                  <c:v>-0.80448020681584276</c:v>
                </c:pt>
                <c:pt idx="1514">
                  <c:v>-0.82523691756929463</c:v>
                </c:pt>
                <c:pt idx="1515">
                  <c:v>-0.82981882758212788</c:v>
                </c:pt>
                <c:pt idx="1516">
                  <c:v>-0.86213995608820948</c:v>
                </c:pt>
                <c:pt idx="1517">
                  <c:v>-0.8928802133220991</c:v>
                </c:pt>
                <c:pt idx="1518">
                  <c:v>-0.87566185752345826</c:v>
                </c:pt>
                <c:pt idx="1519">
                  <c:v>-0.86643951366718097</c:v>
                </c:pt>
                <c:pt idx="1520">
                  <c:v>-0.87511104085989189</c:v>
                </c:pt>
                <c:pt idx="1521">
                  <c:v>-0.89702186431429332</c:v>
                </c:pt>
                <c:pt idx="1522">
                  <c:v>-0.91358201457343591</c:v>
                </c:pt>
                <c:pt idx="1523">
                  <c:v>-0.92703673130232056</c:v>
                </c:pt>
                <c:pt idx="1524">
                  <c:v>-0.90736300079952237</c:v>
                </c:pt>
                <c:pt idx="1525">
                  <c:v>-0.88911521222382528</c:v>
                </c:pt>
                <c:pt idx="1526">
                  <c:v>-0.87518803460674177</c:v>
                </c:pt>
                <c:pt idx="1527">
                  <c:v>-0.87076203994677837</c:v>
                </c:pt>
                <c:pt idx="1528">
                  <c:v>-0.87233455668491755</c:v>
                </c:pt>
                <c:pt idx="1529">
                  <c:v>-0.83947520404409004</c:v>
                </c:pt>
                <c:pt idx="1530">
                  <c:v>-0.86602442492513343</c:v>
                </c:pt>
                <c:pt idx="1531">
                  <c:v>-0.8762640378069948</c:v>
                </c:pt>
                <c:pt idx="1532">
                  <c:v>-0.91366207146924128</c:v>
                </c:pt>
                <c:pt idx="1533">
                  <c:v>-0.9078549902599623</c:v>
                </c:pt>
                <c:pt idx="1534">
                  <c:v>-0.86938541622309606</c:v>
                </c:pt>
                <c:pt idx="1535">
                  <c:v>-0.87396201605641177</c:v>
                </c:pt>
                <c:pt idx="1536">
                  <c:v>-0.85988146591104631</c:v>
                </c:pt>
                <c:pt idx="1537">
                  <c:v>-0.8995835431276944</c:v>
                </c:pt>
                <c:pt idx="1538">
                  <c:v>-0.92082587438207364</c:v>
                </c:pt>
                <c:pt idx="1539">
                  <c:v>-0.97100359016998694</c:v>
                </c:pt>
                <c:pt idx="1540">
                  <c:v>-1.0033299222386063</c:v>
                </c:pt>
                <c:pt idx="1541">
                  <c:v>-0.98618663676245877</c:v>
                </c:pt>
                <c:pt idx="1542">
                  <c:v>-0.96449331988410747</c:v>
                </c:pt>
                <c:pt idx="1543">
                  <c:v>-0.98829279885520327</c:v>
                </c:pt>
                <c:pt idx="1544">
                  <c:v>-0.98213315117346567</c:v>
                </c:pt>
                <c:pt idx="1545">
                  <c:v>-0.9879650188781175</c:v>
                </c:pt>
                <c:pt idx="1546">
                  <c:v>-1.0357289037080577</c:v>
                </c:pt>
                <c:pt idx="1547">
                  <c:v>-1.0467053867015583</c:v>
                </c:pt>
                <c:pt idx="1548">
                  <c:v>-1.1101285230081752</c:v>
                </c:pt>
                <c:pt idx="1549">
                  <c:v>-1.1631143791024696</c:v>
                </c:pt>
                <c:pt idx="1550">
                  <c:v>-1.1908737941102594</c:v>
                </c:pt>
                <c:pt idx="1551">
                  <c:v>-1.1641928886780699</c:v>
                </c:pt>
                <c:pt idx="1552">
                  <c:v>-1.1841516652600506</c:v>
                </c:pt>
                <c:pt idx="1553">
                  <c:v>-1.1936394004110737</c:v>
                </c:pt>
                <c:pt idx="1554">
                  <c:v>-1.1789911810600402</c:v>
                </c:pt>
                <c:pt idx="1555">
                  <c:v>-1.186068061793822</c:v>
                </c:pt>
                <c:pt idx="1556">
                  <c:v>-1.2515242943748361</c:v>
                </c:pt>
                <c:pt idx="1557">
                  <c:v>-1.2662663310172715</c:v>
                </c:pt>
                <c:pt idx="1558">
                  <c:v>-1.300847263101446</c:v>
                </c:pt>
                <c:pt idx="1559">
                  <c:v>-1.2905106917257707</c:v>
                </c:pt>
                <c:pt idx="1560">
                  <c:v>-1.2439374758230939</c:v>
                </c:pt>
                <c:pt idx="1561">
                  <c:v>-1.2338638678953944</c:v>
                </c:pt>
                <c:pt idx="1562">
                  <c:v>-1.2612193892099752</c:v>
                </c:pt>
                <c:pt idx="1563">
                  <c:v>-1.2794011881187164</c:v>
                </c:pt>
                <c:pt idx="1564">
                  <c:v>-1.2818317195465649</c:v>
                </c:pt>
                <c:pt idx="1565">
                  <c:v>-1.2872359824480879</c:v>
                </c:pt>
                <c:pt idx="1566">
                  <c:v>-1.2949147241675611</c:v>
                </c:pt>
                <c:pt idx="1567">
                  <c:v>-1.2933193175831978</c:v>
                </c:pt>
                <c:pt idx="1568">
                  <c:v>-1.2943194892067629</c:v>
                </c:pt>
                <c:pt idx="1569">
                  <c:v>-1.2502573119630336</c:v>
                </c:pt>
                <c:pt idx="1570">
                  <c:v>-1.2103678936124342</c:v>
                </c:pt>
                <c:pt idx="1571">
                  <c:v>-1.265755143258835</c:v>
                </c:pt>
                <c:pt idx="1572">
                  <c:v>-1.2914278326017419</c:v>
                </c:pt>
                <c:pt idx="1573">
                  <c:v>-1.2873519518372638</c:v>
                </c:pt>
                <c:pt idx="1574">
                  <c:v>-1.2806949561134453</c:v>
                </c:pt>
                <c:pt idx="1575">
                  <c:v>-1.3054591411549856</c:v>
                </c:pt>
                <c:pt idx="1576">
                  <c:v>-1.2692149784687676</c:v>
                </c:pt>
                <c:pt idx="1577">
                  <c:v>-1.2728427067323971</c:v>
                </c:pt>
                <c:pt idx="1578">
                  <c:v>-1.2773892689510709</c:v>
                </c:pt>
                <c:pt idx="1579">
                  <c:v>-1.2263373319572344</c:v>
                </c:pt>
                <c:pt idx="1580">
                  <c:v>-1.2290082502890174</c:v>
                </c:pt>
                <c:pt idx="1581">
                  <c:v>-1.2455484420065699</c:v>
                </c:pt>
                <c:pt idx="1582">
                  <c:v>-1.2425117129920864</c:v>
                </c:pt>
                <c:pt idx="1583">
                  <c:v>-1.2187675311333699</c:v>
                </c:pt>
                <c:pt idx="1584">
                  <c:v>-1.2181935056411399</c:v>
                </c:pt>
                <c:pt idx="1585">
                  <c:v>-1.206057272225564</c:v>
                </c:pt>
                <c:pt idx="1586">
                  <c:v>-1.1958315383012197</c:v>
                </c:pt>
                <c:pt idx="1587">
                  <c:v>-1.1977454316397331</c:v>
                </c:pt>
                <c:pt idx="1588">
                  <c:v>-1.1741732735317016</c:v>
                </c:pt>
                <c:pt idx="1589">
                  <c:v>-1.1738657483338053</c:v>
                </c:pt>
                <c:pt idx="1590">
                  <c:v>-1.1919361898728491</c:v>
                </c:pt>
                <c:pt idx="1591">
                  <c:v>-1.1900401877382576</c:v>
                </c:pt>
                <c:pt idx="1592">
                  <c:v>-1.1763840085767576</c:v>
                </c:pt>
                <c:pt idx="1593">
                  <c:v>-1.1202293255755567</c:v>
                </c:pt>
                <c:pt idx="1594">
                  <c:v>-1.1639883265691569</c:v>
                </c:pt>
                <c:pt idx="1595">
                  <c:v>-1.1525216490488592</c:v>
                </c:pt>
                <c:pt idx="1596">
                  <c:v>-1.1394354257399737</c:v>
                </c:pt>
                <c:pt idx="1597">
                  <c:v>-1.1227026561678057</c:v>
                </c:pt>
                <c:pt idx="1598">
                  <c:v>-1.073599956767076</c:v>
                </c:pt>
                <c:pt idx="1599">
                  <c:v>-1.0901967062515583</c:v>
                </c:pt>
                <c:pt idx="1600">
                  <c:v>-1.0783067402328959</c:v>
                </c:pt>
                <c:pt idx="1601">
                  <c:v>-1.0431357672678572</c:v>
                </c:pt>
                <c:pt idx="1602">
                  <c:v>-1.0189295036207557</c:v>
                </c:pt>
                <c:pt idx="1603">
                  <c:v>-1.0009108164413931</c:v>
                </c:pt>
                <c:pt idx="1604">
                  <c:v>-0.94746735047578645</c:v>
                </c:pt>
                <c:pt idx="1605">
                  <c:v>-0.91682633536308533</c:v>
                </c:pt>
                <c:pt idx="1606">
                  <c:v>-0.89315681170341765</c:v>
                </c:pt>
                <c:pt idx="1607">
                  <c:v>-0.84149288545133649</c:v>
                </c:pt>
                <c:pt idx="1608">
                  <c:v>-0.85038889679355634</c:v>
                </c:pt>
                <c:pt idx="1609">
                  <c:v>-0.87503689225397041</c:v>
                </c:pt>
                <c:pt idx="1610">
                  <c:v>-0.84843719756193348</c:v>
                </c:pt>
                <c:pt idx="1611">
                  <c:v>-0.89323776535774591</c:v>
                </c:pt>
                <c:pt idx="1612">
                  <c:v>-0.891790958200538</c:v>
                </c:pt>
                <c:pt idx="1613">
                  <c:v>-0.96118984536945273</c:v>
                </c:pt>
                <c:pt idx="1614">
                  <c:v>-0.97797517366327025</c:v>
                </c:pt>
                <c:pt idx="1615">
                  <c:v>-0.9482011880292246</c:v>
                </c:pt>
                <c:pt idx="1616">
                  <c:v>-0.92782469472747797</c:v>
                </c:pt>
                <c:pt idx="1617">
                  <c:v>-0.90885888144158533</c:v>
                </c:pt>
                <c:pt idx="1618">
                  <c:v>-0.89651713177372394</c:v>
                </c:pt>
                <c:pt idx="1619">
                  <c:v>-0.91672736827207557</c:v>
                </c:pt>
                <c:pt idx="1620">
                  <c:v>-0.90194540520912003</c:v>
                </c:pt>
                <c:pt idx="1621">
                  <c:v>-0.90855347061568548</c:v>
                </c:pt>
                <c:pt idx="1622">
                  <c:v>-0.88130333430952723</c:v>
                </c:pt>
                <c:pt idx="1623">
                  <c:v>-0.93699537914518305</c:v>
                </c:pt>
                <c:pt idx="1624">
                  <c:v>-0.90063459257664902</c:v>
                </c:pt>
                <c:pt idx="1625">
                  <c:v>-0.93458822234798844</c:v>
                </c:pt>
                <c:pt idx="1626">
                  <c:v>-0.96006791935857971</c:v>
                </c:pt>
                <c:pt idx="1627">
                  <c:v>-0.96123393870719454</c:v>
                </c:pt>
                <c:pt idx="1628">
                  <c:v>-0.96434968846357783</c:v>
                </c:pt>
                <c:pt idx="1629">
                  <c:v>-0.9682828836222106</c:v>
                </c:pt>
                <c:pt idx="1630">
                  <c:v>-0.96834874603841103</c:v>
                </c:pt>
                <c:pt idx="1631">
                  <c:v>-0.96378434165837801</c:v>
                </c:pt>
                <c:pt idx="1632">
                  <c:v>-0.93498394713003674</c:v>
                </c:pt>
                <c:pt idx="1633">
                  <c:v>-0.90140327542782595</c:v>
                </c:pt>
                <c:pt idx="1634">
                  <c:v>-0.90339585166065939</c:v>
                </c:pt>
                <c:pt idx="1635">
                  <c:v>-0.92937408220325435</c:v>
                </c:pt>
                <c:pt idx="1636">
                  <c:v>-0.95089139702535685</c:v>
                </c:pt>
                <c:pt idx="1637">
                  <c:v>-0.93123561914993425</c:v>
                </c:pt>
                <c:pt idx="1638">
                  <c:v>-0.93161115165323904</c:v>
                </c:pt>
                <c:pt idx="1639">
                  <c:v>-0.91987314401861986</c:v>
                </c:pt>
                <c:pt idx="1640">
                  <c:v>-0.90348295231814646</c:v>
                </c:pt>
                <c:pt idx="1641">
                  <c:v>-0.89897137402888416</c:v>
                </c:pt>
                <c:pt idx="1642">
                  <c:v>-0.8973398585839667</c:v>
                </c:pt>
                <c:pt idx="1643">
                  <c:v>-0.84965267865207617</c:v>
                </c:pt>
                <c:pt idx="1644">
                  <c:v>-0.83667168333987407</c:v>
                </c:pt>
                <c:pt idx="1645">
                  <c:v>-0.86632855680010179</c:v>
                </c:pt>
                <c:pt idx="1646">
                  <c:v>-0.88117566580494699</c:v>
                </c:pt>
                <c:pt idx="1647">
                  <c:v>-0.85159286908449117</c:v>
                </c:pt>
                <c:pt idx="1648">
                  <c:v>-0.90463372000527764</c:v>
                </c:pt>
                <c:pt idx="1649">
                  <c:v>-0.90458297100991558</c:v>
                </c:pt>
                <c:pt idx="1650">
                  <c:v>-0.89302861313718696</c:v>
                </c:pt>
                <c:pt idx="1651">
                  <c:v>-0.89005133613190579</c:v>
                </c:pt>
                <c:pt idx="1652">
                  <c:v>-0.93468677504487196</c:v>
                </c:pt>
                <c:pt idx="1653">
                  <c:v>-0.91688741788870942</c:v>
                </c:pt>
                <c:pt idx="1654">
                  <c:v>-0.91050772633664256</c:v>
                </c:pt>
                <c:pt idx="1655">
                  <c:v>-0.89682876942032164</c:v>
                </c:pt>
                <c:pt idx="1656">
                  <c:v>-0.93586388471136694</c:v>
                </c:pt>
                <c:pt idx="1657">
                  <c:v>-0.95033612879717155</c:v>
                </c:pt>
                <c:pt idx="1658">
                  <c:v>-0.94314078635726739</c:v>
                </c:pt>
                <c:pt idx="1659">
                  <c:v>-0.91654771880215247</c:v>
                </c:pt>
                <c:pt idx="1660">
                  <c:v>-0.95610844735807043</c:v>
                </c:pt>
                <c:pt idx="1661">
                  <c:v>-1.0111472030593416</c:v>
                </c:pt>
                <c:pt idx="1662">
                  <c:v>-1.051106202940622</c:v>
                </c:pt>
                <c:pt idx="1663">
                  <c:v>-1.0641340379387114</c:v>
                </c:pt>
                <c:pt idx="1664">
                  <c:v>-1.074914616383293</c:v>
                </c:pt>
                <c:pt idx="1665">
                  <c:v>-1.0586125877969108</c:v>
                </c:pt>
                <c:pt idx="1666">
                  <c:v>-1.0597452692368474</c:v>
                </c:pt>
                <c:pt idx="1667">
                  <c:v>-1.1495183527361095</c:v>
                </c:pt>
                <c:pt idx="1668">
                  <c:v>-1.1798335238533963</c:v>
                </c:pt>
                <c:pt idx="1669">
                  <c:v>-1.1745262474768385</c:v>
                </c:pt>
                <c:pt idx="1670">
                  <c:v>-1.2508752150256821</c:v>
                </c:pt>
                <c:pt idx="1671">
                  <c:v>-1.2346434272096425</c:v>
                </c:pt>
                <c:pt idx="1672">
                  <c:v>-1.2591600159428498</c:v>
                </c:pt>
                <c:pt idx="1673">
                  <c:v>-1.2767863857568706</c:v>
                </c:pt>
                <c:pt idx="1674">
                  <c:v>-1.2803533438827954</c:v>
                </c:pt>
                <c:pt idx="1675">
                  <c:v>-1.2941178836516209</c:v>
                </c:pt>
                <c:pt idx="1676">
                  <c:v>-1.309471450459099</c:v>
                </c:pt>
                <c:pt idx="1677">
                  <c:v>-1.3657795746673889</c:v>
                </c:pt>
                <c:pt idx="1678">
                  <c:v>-1.3462297886251429</c:v>
                </c:pt>
                <c:pt idx="1679">
                  <c:v>-1.361520992904659</c:v>
                </c:pt>
                <c:pt idx="1680">
                  <c:v>-1.3949118360442474</c:v>
                </c:pt>
                <c:pt idx="1681">
                  <c:v>-1.4093335651340642</c:v>
                </c:pt>
                <c:pt idx="1682">
                  <c:v>-1.4004804502881072</c:v>
                </c:pt>
                <c:pt idx="1683">
                  <c:v>-1.405824971461195</c:v>
                </c:pt>
                <c:pt idx="1684">
                  <c:v>-1.3714820000675185</c:v>
                </c:pt>
                <c:pt idx="1685">
                  <c:v>-1.4176068320173849</c:v>
                </c:pt>
                <c:pt idx="1686">
                  <c:v>-1.3013125406504797</c:v>
                </c:pt>
                <c:pt idx="1687">
                  <c:v>-1.3214017690914774</c:v>
                </c:pt>
                <c:pt idx="1688">
                  <c:v>-1.3421930130478505</c:v>
                </c:pt>
                <c:pt idx="1689">
                  <c:v>-1.3428940718094839</c:v>
                </c:pt>
                <c:pt idx="1690">
                  <c:v>-1.3621789552338961</c:v>
                </c:pt>
                <c:pt idx="1691">
                  <c:v>-1.2426568659828021</c:v>
                </c:pt>
                <c:pt idx="1692">
                  <c:v>-1.1487545261036192</c:v>
                </c:pt>
                <c:pt idx="1693">
                  <c:v>-0.98141888409479305</c:v>
                </c:pt>
                <c:pt idx="1694">
                  <c:v>-0.9757271208940852</c:v>
                </c:pt>
                <c:pt idx="1695">
                  <c:v>-0.83001900584665189</c:v>
                </c:pt>
                <c:pt idx="1696">
                  <c:v>-0.74061631919304038</c:v>
                </c:pt>
                <c:pt idx="1697">
                  <c:v>-0.73422854793350822</c:v>
                </c:pt>
                <c:pt idx="1698">
                  <c:v>-0.71329432836678275</c:v>
                </c:pt>
                <c:pt idx="1699">
                  <c:v>-0.71021075503828113</c:v>
                </c:pt>
                <c:pt idx="1700">
                  <c:v>-0.71013496001910437</c:v>
                </c:pt>
                <c:pt idx="1701">
                  <c:v>-0.74618578410483161</c:v>
                </c:pt>
                <c:pt idx="1702">
                  <c:v>-0.74765636368263699</c:v>
                </c:pt>
                <c:pt idx="1703">
                  <c:v>-0.74237602459356289</c:v>
                </c:pt>
                <c:pt idx="1704">
                  <c:v>-0.71299040887507792</c:v>
                </c:pt>
                <c:pt idx="1705">
                  <c:v>-0.69280733731793176</c:v>
                </c:pt>
                <c:pt idx="1706">
                  <c:v>-0.70299554960679111</c:v>
                </c:pt>
                <c:pt idx="1707">
                  <c:v>-0.7038960499944269</c:v>
                </c:pt>
                <c:pt idx="1708">
                  <c:v>-0.69526943950536924</c:v>
                </c:pt>
                <c:pt idx="1709">
                  <c:v>-0.68208118599687917</c:v>
                </c:pt>
                <c:pt idx="1710">
                  <c:v>-0.68921885727968801</c:v>
                </c:pt>
                <c:pt idx="1711">
                  <c:v>-0.89503662902441294</c:v>
                </c:pt>
                <c:pt idx="1712">
                  <c:v>-0.892215795120884</c:v>
                </c:pt>
                <c:pt idx="1713">
                  <c:v>-0.8723910383768938</c:v>
                </c:pt>
                <c:pt idx="1714">
                  <c:v>-0.83908078053125645</c:v>
                </c:pt>
                <c:pt idx="1715">
                  <c:v>-0.92634187679397706</c:v>
                </c:pt>
                <c:pt idx="1716">
                  <c:v>-0.95754013058363829</c:v>
                </c:pt>
                <c:pt idx="1717">
                  <c:v>-1.0423341721294836</c:v>
                </c:pt>
                <c:pt idx="1718">
                  <c:v>-1.0541256201981104</c:v>
                </c:pt>
                <c:pt idx="1719">
                  <c:v>-1.0596342033171291</c:v>
                </c:pt>
                <c:pt idx="1720">
                  <c:v>-1.1234738960350803</c:v>
                </c:pt>
                <c:pt idx="1721">
                  <c:v>-1.2724127226014026</c:v>
                </c:pt>
                <c:pt idx="1722">
                  <c:v>-1.2874572674500793</c:v>
                </c:pt>
                <c:pt idx="1723">
                  <c:v>-1.2887968587390157</c:v>
                </c:pt>
                <c:pt idx="1724">
                  <c:v>-1.2584665110383213</c:v>
                </c:pt>
                <c:pt idx="1725">
                  <c:v>-1.2117363547100548</c:v>
                </c:pt>
                <c:pt idx="1726">
                  <c:v>-1.1751984971893332</c:v>
                </c:pt>
                <c:pt idx="1727">
                  <c:v>-1.1932625040520073</c:v>
                </c:pt>
                <c:pt idx="1728">
                  <c:v>-1.2331755144604726</c:v>
                </c:pt>
                <c:pt idx="1729">
                  <c:v>-1.2916762301072979</c:v>
                </c:pt>
                <c:pt idx="1730">
                  <c:v>-1.2629764366068199</c:v>
                </c:pt>
                <c:pt idx="1731">
                  <c:v>-1.2631474955236734</c:v>
                </c:pt>
                <c:pt idx="1732">
                  <c:v>-1.2341374664458085</c:v>
                </c:pt>
                <c:pt idx="1733">
                  <c:v>-1.2239143354875477</c:v>
                </c:pt>
                <c:pt idx="1734">
                  <c:v>-1.1803100651580736</c:v>
                </c:pt>
                <c:pt idx="1735">
                  <c:v>-1.1600433527544893</c:v>
                </c:pt>
                <c:pt idx="1736">
                  <c:v>-1.1655957430937884</c:v>
                </c:pt>
                <c:pt idx="1737">
                  <c:v>-1.1962655595036995</c:v>
                </c:pt>
                <c:pt idx="1738">
                  <c:v>-1.2464165700452463</c:v>
                </c:pt>
                <c:pt idx="1739">
                  <c:v>-1.2034776789191657</c:v>
                </c:pt>
                <c:pt idx="1740">
                  <c:v>-1.1934687592218016</c:v>
                </c:pt>
                <c:pt idx="1741">
                  <c:v>-1.1776739857455139</c:v>
                </c:pt>
                <c:pt idx="1742">
                  <c:v>-1.1440758637752002</c:v>
                </c:pt>
                <c:pt idx="1743">
                  <c:v>-1.1119353662893539</c:v>
                </c:pt>
                <c:pt idx="1744">
                  <c:v>-1.1338301948032221</c:v>
                </c:pt>
                <c:pt idx="1745">
                  <c:v>-1.1234513408845483</c:v>
                </c:pt>
                <c:pt idx="1746">
                  <c:v>-1.085582597126437</c:v>
                </c:pt>
                <c:pt idx="1747">
                  <c:v>-1.0635664093270116</c:v>
                </c:pt>
                <c:pt idx="1748">
                  <c:v>-1.0699873939523041</c:v>
                </c:pt>
                <c:pt idx="1749">
                  <c:v>-1.0290235841042124</c:v>
                </c:pt>
                <c:pt idx="1750">
                  <c:v>-1.0715831694009081</c:v>
                </c:pt>
                <c:pt idx="1751">
                  <c:v>-1.0311639795891692</c:v>
                </c:pt>
                <c:pt idx="1752">
                  <c:v>-1.0536546559381759</c:v>
                </c:pt>
                <c:pt idx="1753">
                  <c:v>-1.0572226763928012</c:v>
                </c:pt>
                <c:pt idx="1754">
                  <c:v>-1.0181918998157831</c:v>
                </c:pt>
                <c:pt idx="1755">
                  <c:v>-1.0063813002810371</c:v>
                </c:pt>
                <c:pt idx="1756">
                  <c:v>-0.97127349261040297</c:v>
                </c:pt>
                <c:pt idx="1757">
                  <c:v>-0.90879087331517749</c:v>
                </c:pt>
                <c:pt idx="1758">
                  <c:v>-0.91064333162631472</c:v>
                </c:pt>
                <c:pt idx="1759">
                  <c:v>-0.92645610711338899</c:v>
                </c:pt>
                <c:pt idx="1760">
                  <c:v>-0.9191472788025038</c:v>
                </c:pt>
                <c:pt idx="1761">
                  <c:v>-0.93985684676202608</c:v>
                </c:pt>
                <c:pt idx="1762">
                  <c:v>-0.92613473150950154</c:v>
                </c:pt>
                <c:pt idx="1763">
                  <c:v>-0.95623235577912025</c:v>
                </c:pt>
                <c:pt idx="1764">
                  <c:v>-0.94641110549647789</c:v>
                </c:pt>
                <c:pt idx="1765">
                  <c:v>-0.88719548846800322</c:v>
                </c:pt>
                <c:pt idx="1766">
                  <c:v>-0.84314051835167492</c:v>
                </c:pt>
                <c:pt idx="1767">
                  <c:v>-0.83803303312535127</c:v>
                </c:pt>
                <c:pt idx="1768">
                  <c:v>-0.82465281931744683</c:v>
                </c:pt>
                <c:pt idx="1769">
                  <c:v>-0.78387342937401439</c:v>
                </c:pt>
                <c:pt idx="1770">
                  <c:v>-0.79050664009879124</c:v>
                </c:pt>
                <c:pt idx="1771">
                  <c:v>-0.86436959237256394</c:v>
                </c:pt>
                <c:pt idx="1772">
                  <c:v>-0.88717825472905032</c:v>
                </c:pt>
                <c:pt idx="1773">
                  <c:v>-0.91245008625977231</c:v>
                </c:pt>
                <c:pt idx="1774">
                  <c:v>-0.87970573649045802</c:v>
                </c:pt>
                <c:pt idx="1775">
                  <c:v>-0.95290874898401245</c:v>
                </c:pt>
                <c:pt idx="1776">
                  <c:v>-0.94334636200451083</c:v>
                </c:pt>
                <c:pt idx="1777">
                  <c:v>-0.96340353959038394</c:v>
                </c:pt>
                <c:pt idx="1778">
                  <c:v>-1.0094928362122559</c:v>
                </c:pt>
                <c:pt idx="1779">
                  <c:v>-1.0225998067801658</c:v>
                </c:pt>
                <c:pt idx="1780">
                  <c:v>-1.0142591569699106</c:v>
                </c:pt>
                <c:pt idx="1781">
                  <c:v>-1.0253838475692028</c:v>
                </c:pt>
                <c:pt idx="1782">
                  <c:v>-1.0502601816829285</c:v>
                </c:pt>
                <c:pt idx="1783">
                  <c:v>-1.0627239119136511</c:v>
                </c:pt>
                <c:pt idx="1784">
                  <c:v>-1.1070472513857359</c:v>
                </c:pt>
                <c:pt idx="1785">
                  <c:v>-1.1086359405007671</c:v>
                </c:pt>
                <c:pt idx="1786">
                  <c:v>-1.1685693946896354</c:v>
                </c:pt>
                <c:pt idx="1787">
                  <c:v>-1.1797111656962427</c:v>
                </c:pt>
                <c:pt idx="1788">
                  <c:v>-1.1472954482362994</c:v>
                </c:pt>
                <c:pt idx="1789">
                  <c:v>-1.1285059788566052</c:v>
                </c:pt>
                <c:pt idx="1790">
                  <c:v>-1.1691174396199457</c:v>
                </c:pt>
                <c:pt idx="1791">
                  <c:v>-1.1423763618793905</c:v>
                </c:pt>
                <c:pt idx="1792">
                  <c:v>-1.1788324665861485</c:v>
                </c:pt>
                <c:pt idx="1793">
                  <c:v>-1.1605988386122537</c:v>
                </c:pt>
                <c:pt idx="1794">
                  <c:v>-1.165695343231016</c:v>
                </c:pt>
                <c:pt idx="1795">
                  <c:v>-1.1630672952996808</c:v>
                </c:pt>
                <c:pt idx="1796">
                  <c:v>-1.2075405644364152</c:v>
                </c:pt>
                <c:pt idx="1797">
                  <c:v>-1.2227763675400332</c:v>
                </c:pt>
                <c:pt idx="1798">
                  <c:v>-1.2158123629589463</c:v>
                </c:pt>
                <c:pt idx="1799">
                  <c:v>-1.2264231193191157</c:v>
                </c:pt>
                <c:pt idx="1800">
                  <c:v>-1.2412189789746901</c:v>
                </c:pt>
                <c:pt idx="1801">
                  <c:v>-1.1752076585521753</c:v>
                </c:pt>
                <c:pt idx="1802">
                  <c:v>-1.1959995913733803</c:v>
                </c:pt>
                <c:pt idx="1803">
                  <c:v>-1.1989426750860583</c:v>
                </c:pt>
                <c:pt idx="1804">
                  <c:v>-1.2062056645774142</c:v>
                </c:pt>
                <c:pt idx="1805">
                  <c:v>-1.1431465451082237</c:v>
                </c:pt>
                <c:pt idx="1806">
                  <c:v>-1.1532973351846221</c:v>
                </c:pt>
                <c:pt idx="1807">
                  <c:v>-1.1739810249809517</c:v>
                </c:pt>
                <c:pt idx="1808">
                  <c:v>-1.1826346580823268</c:v>
                </c:pt>
                <c:pt idx="1809">
                  <c:v>-1.1694036860254591</c:v>
                </c:pt>
                <c:pt idx="1810">
                  <c:v>-1.1491383729419784</c:v>
                </c:pt>
                <c:pt idx="1811">
                  <c:v>-1.147716902447941</c:v>
                </c:pt>
                <c:pt idx="1812">
                  <c:v>-1.096205845116607</c:v>
                </c:pt>
                <c:pt idx="1813">
                  <c:v>-1.1024657282973416</c:v>
                </c:pt>
                <c:pt idx="1814">
                  <c:v>-1.1450019295482741</c:v>
                </c:pt>
                <c:pt idx="1815">
                  <c:v>-1.1766286119847933</c:v>
                </c:pt>
                <c:pt idx="1816">
                  <c:v>-1.1208719341486466</c:v>
                </c:pt>
                <c:pt idx="1817">
                  <c:v>-1.0575866935437481</c:v>
                </c:pt>
                <c:pt idx="1818">
                  <c:v>-1.1200110832768821</c:v>
                </c:pt>
                <c:pt idx="1819">
                  <c:v>-1.0958737208493965</c:v>
                </c:pt>
                <c:pt idx="1820">
                  <c:v>-1.0269976080690528</c:v>
                </c:pt>
                <c:pt idx="1821">
                  <c:v>-1.0371677609223897</c:v>
                </c:pt>
                <c:pt idx="1822">
                  <c:v>-1.0300906927663831</c:v>
                </c:pt>
                <c:pt idx="1823">
                  <c:v>-1.0130541743854542</c:v>
                </c:pt>
                <c:pt idx="1824">
                  <c:v>-1.0354959618441668</c:v>
                </c:pt>
                <c:pt idx="1825">
                  <c:v>-1.0820476967982924</c:v>
                </c:pt>
                <c:pt idx="1826">
                  <c:v>-1.0532361409718032</c:v>
                </c:pt>
                <c:pt idx="1827">
                  <c:v>-1.0071479185861059</c:v>
                </c:pt>
                <c:pt idx="1828">
                  <c:v>-0.99654433811387633</c:v>
                </c:pt>
                <c:pt idx="1829">
                  <c:v>-0.98937508922130879</c:v>
                </c:pt>
                <c:pt idx="1830">
                  <c:v>-0.99377256606494591</c:v>
                </c:pt>
                <c:pt idx="1831">
                  <c:v>-1.0364393505386795</c:v>
                </c:pt>
                <c:pt idx="1832">
                  <c:v>-1.0126819053833096</c:v>
                </c:pt>
                <c:pt idx="1833">
                  <c:v>-1.0000247061641943</c:v>
                </c:pt>
                <c:pt idx="1834">
                  <c:v>-0.96858173825977723</c:v>
                </c:pt>
                <c:pt idx="1835">
                  <c:v>-1.0036711167629753</c:v>
                </c:pt>
                <c:pt idx="1836">
                  <c:v>-1.0057622212584676</c:v>
                </c:pt>
                <c:pt idx="1837">
                  <c:v>-1.0025049510636035</c:v>
                </c:pt>
                <c:pt idx="1838">
                  <c:v>-0.9320086109719794</c:v>
                </c:pt>
                <c:pt idx="1839">
                  <c:v>-0.93240316744495622</c:v>
                </c:pt>
                <c:pt idx="1840">
                  <c:v>-0.9229160768090956</c:v>
                </c:pt>
                <c:pt idx="1841">
                  <c:v>-0.95532194457986364</c:v>
                </c:pt>
                <c:pt idx="1842">
                  <c:v>-0.94556810723357931</c:v>
                </c:pt>
                <c:pt idx="1843">
                  <c:v>-0.95888094489530618</c:v>
                </c:pt>
                <c:pt idx="1844">
                  <c:v>-0.93955691540372366</c:v>
                </c:pt>
                <c:pt idx="1845">
                  <c:v>-0.91444803702367228</c:v>
                </c:pt>
                <c:pt idx="1846">
                  <c:v>-0.85531994301739511</c:v>
                </c:pt>
                <c:pt idx="1847">
                  <c:v>-0.85595041331784461</c:v>
                </c:pt>
                <c:pt idx="1848">
                  <c:v>-0.84724040518391963</c:v>
                </c:pt>
                <c:pt idx="1849">
                  <c:v>-0.87289495209901147</c:v>
                </c:pt>
                <c:pt idx="1850">
                  <c:v>-0.87972218390488444</c:v>
                </c:pt>
                <c:pt idx="1851">
                  <c:v>-0.87361605848954871</c:v>
                </c:pt>
                <c:pt idx="1852">
                  <c:v>-0.89043046138233239</c:v>
                </c:pt>
                <c:pt idx="1853">
                  <c:v>-0.87308243264636887</c:v>
                </c:pt>
                <c:pt idx="1854">
                  <c:v>-0.86817743657393187</c:v>
                </c:pt>
                <c:pt idx="1855">
                  <c:v>-0.88346053099053157</c:v>
                </c:pt>
                <c:pt idx="1856">
                  <c:v>-0.93131018344354821</c:v>
                </c:pt>
                <c:pt idx="1857">
                  <c:v>-0.97047037187712837</c:v>
                </c:pt>
                <c:pt idx="1858">
                  <c:v>-0.96202858663805924</c:v>
                </c:pt>
                <c:pt idx="1859">
                  <c:v>-0.9679453553958437</c:v>
                </c:pt>
                <c:pt idx="1860">
                  <c:v>-0.99232145370392311</c:v>
                </c:pt>
                <c:pt idx="1861">
                  <c:v>-0.9754171749815066</c:v>
                </c:pt>
                <c:pt idx="1862">
                  <c:v>-0.97264841386104617</c:v>
                </c:pt>
                <c:pt idx="1863">
                  <c:v>-1.069643616423525</c:v>
                </c:pt>
                <c:pt idx="1864">
                  <c:v>-1.0788317192787416</c:v>
                </c:pt>
                <c:pt idx="1865">
                  <c:v>-1.004998246109909</c:v>
                </c:pt>
                <c:pt idx="1866">
                  <c:v>-1.0417901308804995</c:v>
                </c:pt>
                <c:pt idx="1867">
                  <c:v>-1.0886447478672276</c:v>
                </c:pt>
                <c:pt idx="1868">
                  <c:v>-1.1245039180163658</c:v>
                </c:pt>
                <c:pt idx="1869">
                  <c:v>-1.1492185667135657</c:v>
                </c:pt>
                <c:pt idx="1870">
                  <c:v>-1.1555855444988241</c:v>
                </c:pt>
                <c:pt idx="1871">
                  <c:v>-1.1650323159668052</c:v>
                </c:pt>
                <c:pt idx="1872">
                  <c:v>-1.1879283742716049</c:v>
                </c:pt>
                <c:pt idx="1873">
                  <c:v>-1.216237872059216</c:v>
                </c:pt>
                <c:pt idx="1874">
                  <c:v>-1.2000952770464464</c:v>
                </c:pt>
                <c:pt idx="1875">
                  <c:v>-1.1806199767792203</c:v>
                </c:pt>
                <c:pt idx="1876">
                  <c:v>-1.2003539274117747</c:v>
                </c:pt>
                <c:pt idx="1877">
                  <c:v>-1.1928196257414982</c:v>
                </c:pt>
                <c:pt idx="1878">
                  <c:v>-1.1207669204046451</c:v>
                </c:pt>
                <c:pt idx="1879">
                  <c:v>-1.0776183836998976</c:v>
                </c:pt>
                <c:pt idx="1880">
                  <c:v>-1.0407762317487836</c:v>
                </c:pt>
                <c:pt idx="1881">
                  <c:v>-0.98727677763473121</c:v>
                </c:pt>
                <c:pt idx="1882">
                  <c:v>-0.85235086442492236</c:v>
                </c:pt>
                <c:pt idx="1883">
                  <c:v>-0.85397308778588243</c:v>
                </c:pt>
                <c:pt idx="1884">
                  <c:v>-0.71123580379282092</c:v>
                </c:pt>
                <c:pt idx="1885">
                  <c:v>-0.71461516971859662</c:v>
                </c:pt>
                <c:pt idx="1886">
                  <c:v>-0.74343813424927507</c:v>
                </c:pt>
                <c:pt idx="1887">
                  <c:v>-0.74828503125676349</c:v>
                </c:pt>
                <c:pt idx="1888">
                  <c:v>-0.71999211602811952</c:v>
                </c:pt>
                <c:pt idx="1889">
                  <c:v>-0.72554344120711134</c:v>
                </c:pt>
                <c:pt idx="1890">
                  <c:v>-0.72691601925787641</c:v>
                </c:pt>
                <c:pt idx="1891">
                  <c:v>-0.72798383274049527</c:v>
                </c:pt>
                <c:pt idx="1892">
                  <c:v>-0.76873780234526123</c:v>
                </c:pt>
                <c:pt idx="1893">
                  <c:v>-0.75433802970781194</c:v>
                </c:pt>
                <c:pt idx="1894">
                  <c:v>-0.73851035840209311</c:v>
                </c:pt>
                <c:pt idx="1895">
                  <c:v>-0.72636156573604516</c:v>
                </c:pt>
                <c:pt idx="1896">
                  <c:v>-0.73410547010554139</c:v>
                </c:pt>
                <c:pt idx="1897">
                  <c:v>-0.7252751412674695</c:v>
                </c:pt>
                <c:pt idx="1898">
                  <c:v>-0.75467087054319448</c:v>
                </c:pt>
                <c:pt idx="1899">
                  <c:v>-0.78461543978206227</c:v>
                </c:pt>
                <c:pt idx="1900">
                  <c:v>-0.90607486992954733</c:v>
                </c:pt>
                <c:pt idx="1901">
                  <c:v>-0.89669241276900702</c:v>
                </c:pt>
                <c:pt idx="1902">
                  <c:v>-1.0889552326304321</c:v>
                </c:pt>
                <c:pt idx="1903">
                  <c:v>-1.0981492050282955</c:v>
                </c:pt>
                <c:pt idx="1904">
                  <c:v>-1.1303875139564896</c:v>
                </c:pt>
                <c:pt idx="1905">
                  <c:v>-1.2159891524696036</c:v>
                </c:pt>
                <c:pt idx="1906">
                  <c:v>-1.2882077689450779</c:v>
                </c:pt>
                <c:pt idx="1907">
                  <c:v>-1.3432130637832964</c:v>
                </c:pt>
                <c:pt idx="1908">
                  <c:v>-1.3339449050248142</c:v>
                </c:pt>
                <c:pt idx="1909">
                  <c:v>-1.3192015542371505</c:v>
                </c:pt>
                <c:pt idx="1910">
                  <c:v>-1.297186274592272</c:v>
                </c:pt>
                <c:pt idx="1911">
                  <c:v>-1.3922468479952335</c:v>
                </c:pt>
                <c:pt idx="1912">
                  <c:v>-1.3839224106703465</c:v>
                </c:pt>
                <c:pt idx="1913">
                  <c:v>-1.3824330482209788</c:v>
                </c:pt>
                <c:pt idx="1914">
                  <c:v>-1.3269283733193855</c:v>
                </c:pt>
                <c:pt idx="1915">
                  <c:v>-1.3653395103525126</c:v>
                </c:pt>
                <c:pt idx="1916">
                  <c:v>-1.3619048690007824</c:v>
                </c:pt>
                <c:pt idx="1917">
                  <c:v>-1.3939604408128441</c:v>
                </c:pt>
                <c:pt idx="1918">
                  <c:v>-1.3830937562307928</c:v>
                </c:pt>
                <c:pt idx="1919">
                  <c:v>-1.307746544917588</c:v>
                </c:pt>
                <c:pt idx="1920">
                  <c:v>-1.3020514136923882</c:v>
                </c:pt>
                <c:pt idx="1921">
                  <c:v>-1.2721485455574775</c:v>
                </c:pt>
                <c:pt idx="1922">
                  <c:v>-1.2650260496839465</c:v>
                </c:pt>
                <c:pt idx="1923">
                  <c:v>-1.2641839512480282</c:v>
                </c:pt>
                <c:pt idx="1924">
                  <c:v>-1.204924598310396</c:v>
                </c:pt>
                <c:pt idx="1925">
                  <c:v>-1.1879616542695182</c:v>
                </c:pt>
                <c:pt idx="1926">
                  <c:v>-1.1230241146579494</c:v>
                </c:pt>
                <c:pt idx="1927">
                  <c:v>-1.0854071485794803</c:v>
                </c:pt>
                <c:pt idx="1928">
                  <c:v>-1.0725443972316753</c:v>
                </c:pt>
                <c:pt idx="1929">
                  <c:v>-1.0671065648096485</c:v>
                </c:pt>
                <c:pt idx="1930">
                  <c:v>-1.1037376112102408</c:v>
                </c:pt>
                <c:pt idx="1931">
                  <c:v>-1.06096723908167</c:v>
                </c:pt>
                <c:pt idx="1932">
                  <c:v>-1.0310713062361985</c:v>
                </c:pt>
                <c:pt idx="1933">
                  <c:v>-1.0549294422496516</c:v>
                </c:pt>
                <c:pt idx="1934">
                  <c:v>-1.0729457723985956</c:v>
                </c:pt>
                <c:pt idx="1935">
                  <c:v>-1.1072103684683139</c:v>
                </c:pt>
                <c:pt idx="1936">
                  <c:v>-1.1257253030936329</c:v>
                </c:pt>
                <c:pt idx="1937">
                  <c:v>-1.1107662732651582</c:v>
                </c:pt>
                <c:pt idx="1938">
                  <c:v>-1.1252107853468374</c:v>
                </c:pt>
                <c:pt idx="1939">
                  <c:v>-1.1471997083395125</c:v>
                </c:pt>
                <c:pt idx="1940">
                  <c:v>-1.1218851111349322</c:v>
                </c:pt>
                <c:pt idx="1941">
                  <c:v>-1.1352839427091186</c:v>
                </c:pt>
                <c:pt idx="1942">
                  <c:v>-1.1515107539326244</c:v>
                </c:pt>
                <c:pt idx="1943">
                  <c:v>-1.161353761171894</c:v>
                </c:pt>
                <c:pt idx="1944">
                  <c:v>-1.1700603939602479</c:v>
                </c:pt>
                <c:pt idx="1945">
                  <c:v>-1.1517445014962175</c:v>
                </c:pt>
                <c:pt idx="1946">
                  <c:v>-1.1214884249927866</c:v>
                </c:pt>
                <c:pt idx="1947">
                  <c:v>-1.0928089639488821</c:v>
                </c:pt>
                <c:pt idx="1948">
                  <c:v>-1.0262664538610515</c:v>
                </c:pt>
                <c:pt idx="1949">
                  <c:v>-1.0190863565815422</c:v>
                </c:pt>
                <c:pt idx="1950">
                  <c:v>-1.0081169993027344</c:v>
                </c:pt>
                <c:pt idx="1951">
                  <c:v>-0.98999297115729468</c:v>
                </c:pt>
                <c:pt idx="1952">
                  <c:v>-1.0299946785216558</c:v>
                </c:pt>
                <c:pt idx="1953">
                  <c:v>-1.000555369042655</c:v>
                </c:pt>
                <c:pt idx="1954">
                  <c:v>-1.0133671918704026</c:v>
                </c:pt>
                <c:pt idx="1955">
                  <c:v>-0.94384261669666303</c:v>
                </c:pt>
                <c:pt idx="1956">
                  <c:v>-0.98489604763181249</c:v>
                </c:pt>
                <c:pt idx="1957">
                  <c:v>-1.0154966779698498</c:v>
                </c:pt>
                <c:pt idx="1958">
                  <c:v>-0.96870753963521183</c:v>
                </c:pt>
                <c:pt idx="1959">
                  <c:v>-0.97536796720961116</c:v>
                </c:pt>
                <c:pt idx="1960">
                  <c:v>-0.98193175730031856</c:v>
                </c:pt>
                <c:pt idx="1961">
                  <c:v>-1.0277550881451158</c:v>
                </c:pt>
                <c:pt idx="1962">
                  <c:v>-1.026829783681124</c:v>
                </c:pt>
                <c:pt idx="1963">
                  <c:v>-0.97196724625294073</c:v>
                </c:pt>
                <c:pt idx="1964">
                  <c:v>-0.99453622453269752</c:v>
                </c:pt>
                <c:pt idx="1965">
                  <c:v>-0.97486715265005575</c:v>
                </c:pt>
                <c:pt idx="1966">
                  <c:v>-0.92422331490705212</c:v>
                </c:pt>
                <c:pt idx="1967">
                  <c:v>-0.92728598855438704</c:v>
                </c:pt>
                <c:pt idx="1968">
                  <c:v>-0.92753665091602966</c:v>
                </c:pt>
                <c:pt idx="1969">
                  <c:v>-0.92159846321070871</c:v>
                </c:pt>
                <c:pt idx="1970">
                  <c:v>-0.92361890516309608</c:v>
                </c:pt>
                <c:pt idx="1971">
                  <c:v>-0.9590477400740417</c:v>
                </c:pt>
                <c:pt idx="1972">
                  <c:v>-0.9537476240366134</c:v>
                </c:pt>
                <c:pt idx="1973">
                  <c:v>-0.94254799584505733</c:v>
                </c:pt>
                <c:pt idx="1974">
                  <c:v>-0.92491239032687722</c:v>
                </c:pt>
                <c:pt idx="1975">
                  <c:v>-0.94809186341764717</c:v>
                </c:pt>
                <c:pt idx="1976">
                  <c:v>-0.95785823430866346</c:v>
                </c:pt>
                <c:pt idx="1977">
                  <c:v>-0.93979290137751903</c:v>
                </c:pt>
                <c:pt idx="1978">
                  <c:v>-0.9455349504957804</c:v>
                </c:pt>
                <c:pt idx="1979">
                  <c:v>-0.9741721010319756</c:v>
                </c:pt>
                <c:pt idx="1980">
                  <c:v>-0.95259519379719704</c:v>
                </c:pt>
                <c:pt idx="1981">
                  <c:v>-0.9564177336654015</c:v>
                </c:pt>
                <c:pt idx="1982">
                  <c:v>-0.90301903515282334</c:v>
                </c:pt>
                <c:pt idx="1983">
                  <c:v>-0.85999484311549235</c:v>
                </c:pt>
                <c:pt idx="1984">
                  <c:v>-0.89105319133540128</c:v>
                </c:pt>
                <c:pt idx="1985">
                  <c:v>-0.90349878145965468</c:v>
                </c:pt>
                <c:pt idx="1986">
                  <c:v>-0.82799808627676841</c:v>
                </c:pt>
                <c:pt idx="1987">
                  <c:v>-0.78476699680265238</c:v>
                </c:pt>
                <c:pt idx="1988">
                  <c:v>-0.79895975104647499</c:v>
                </c:pt>
                <c:pt idx="1989">
                  <c:v>-0.83427627919155478</c:v>
                </c:pt>
                <c:pt idx="1990">
                  <c:v>-0.84194690825164153</c:v>
                </c:pt>
                <c:pt idx="1991">
                  <c:v>-0.82790342964518215</c:v>
                </c:pt>
                <c:pt idx="1992">
                  <c:v>-0.85188526309323265</c:v>
                </c:pt>
                <c:pt idx="1993">
                  <c:v>-0.8626412461462627</c:v>
                </c:pt>
                <c:pt idx="1994">
                  <c:v>-0.83845777349792039</c:v>
                </c:pt>
                <c:pt idx="1995">
                  <c:v>-0.82853377280378271</c:v>
                </c:pt>
                <c:pt idx="1996">
                  <c:v>-0.84702345065106965</c:v>
                </c:pt>
                <c:pt idx="1997">
                  <c:v>-0.84933956263499022</c:v>
                </c:pt>
                <c:pt idx="1998">
                  <c:v>-0.90275526343012347</c:v>
                </c:pt>
                <c:pt idx="1999">
                  <c:v>-0.91790609333649376</c:v>
                </c:pt>
                <c:pt idx="2000">
                  <c:v>-0.89633285682819808</c:v>
                </c:pt>
                <c:pt idx="2001">
                  <c:v>-0.85551893938401102</c:v>
                </c:pt>
                <c:pt idx="2002">
                  <c:v>-0.84541294930473754</c:v>
                </c:pt>
                <c:pt idx="2003">
                  <c:v>-0.84824152674894027</c:v>
                </c:pt>
                <c:pt idx="2004">
                  <c:v>-0.90768922251516204</c:v>
                </c:pt>
                <c:pt idx="2005">
                  <c:v>-0.95896908446925155</c:v>
                </c:pt>
                <c:pt idx="2006">
                  <c:v>-0.9803605733520081</c:v>
                </c:pt>
                <c:pt idx="2007">
                  <c:v>-0.96767645509710398</c:v>
                </c:pt>
                <c:pt idx="2008">
                  <c:v>-0.96689753515776999</c:v>
                </c:pt>
                <c:pt idx="2009">
                  <c:v>-0.92365956237771685</c:v>
                </c:pt>
                <c:pt idx="2010">
                  <c:v>-0.93023491628216326</c:v>
                </c:pt>
                <c:pt idx="2011">
                  <c:v>-0.9347543834839418</c:v>
                </c:pt>
                <c:pt idx="2012">
                  <c:v>-0.9411492215902314</c:v>
                </c:pt>
                <c:pt idx="2013">
                  <c:v>-0.96566062594419089</c:v>
                </c:pt>
                <c:pt idx="2014">
                  <c:v>-0.9515014592552582</c:v>
                </c:pt>
                <c:pt idx="2015">
                  <c:v>-0.95901027689631491</c:v>
                </c:pt>
                <c:pt idx="2016">
                  <c:v>-0.99813194948488659</c:v>
                </c:pt>
                <c:pt idx="2017">
                  <c:v>-1.0036174087261474</c:v>
                </c:pt>
                <c:pt idx="2018">
                  <c:v>-1.0096163652349244</c:v>
                </c:pt>
                <c:pt idx="2019">
                  <c:v>-1.028975625446295</c:v>
                </c:pt>
                <c:pt idx="2020">
                  <c:v>-1.0361596680206633</c:v>
                </c:pt>
                <c:pt idx="2021">
                  <c:v>-1.0446361814755569</c:v>
                </c:pt>
                <c:pt idx="2022">
                  <c:v>-1.0717740360013681</c:v>
                </c:pt>
                <c:pt idx="2023">
                  <c:v>-1.0689439905605076</c:v>
                </c:pt>
                <c:pt idx="2024">
                  <c:v>-1.043870093837497</c:v>
                </c:pt>
                <c:pt idx="2025">
                  <c:v>-1.0750376508756183</c:v>
                </c:pt>
                <c:pt idx="2026">
                  <c:v>-1.0093087462794992</c:v>
                </c:pt>
                <c:pt idx="2027">
                  <c:v>-1.0307701402736713</c:v>
                </c:pt>
                <c:pt idx="2028">
                  <c:v>-1.0032356973224879</c:v>
                </c:pt>
                <c:pt idx="2029">
                  <c:v>-1.0226461333360759</c:v>
                </c:pt>
                <c:pt idx="2030">
                  <c:v>-1.0509926089106996</c:v>
                </c:pt>
                <c:pt idx="2031">
                  <c:v>-1.0428192972958032</c:v>
                </c:pt>
                <c:pt idx="2032">
                  <c:v>-1.078444691790426</c:v>
                </c:pt>
                <c:pt idx="2033">
                  <c:v>-1.0710548679680194</c:v>
                </c:pt>
                <c:pt idx="2034">
                  <c:v>-0.97966664737384868</c:v>
                </c:pt>
                <c:pt idx="2035">
                  <c:v>-0.94976643606753397</c:v>
                </c:pt>
                <c:pt idx="2036">
                  <c:v>-0.95589391592651352</c:v>
                </c:pt>
                <c:pt idx="2037">
                  <c:v>-1.0047692983016572</c:v>
                </c:pt>
                <c:pt idx="2038">
                  <c:v>-0.99529155268596514</c:v>
                </c:pt>
                <c:pt idx="2039">
                  <c:v>-1.0929451377745316</c:v>
                </c:pt>
                <c:pt idx="2040">
                  <c:v>-1.0932300194208</c:v>
                </c:pt>
                <c:pt idx="2041">
                  <c:v>-1.0838522416048462</c:v>
                </c:pt>
                <c:pt idx="2042">
                  <c:v>-1.0472715642870511</c:v>
                </c:pt>
                <c:pt idx="2043">
                  <c:v>-0.98809031995821783</c:v>
                </c:pt>
                <c:pt idx="2044">
                  <c:v>-0.98366934338403944</c:v>
                </c:pt>
                <c:pt idx="2045">
                  <c:v>-0.9562545826522042</c:v>
                </c:pt>
                <c:pt idx="2046">
                  <c:v>-0.95351075490659887</c:v>
                </c:pt>
                <c:pt idx="2047">
                  <c:v>-0.97850008974261982</c:v>
                </c:pt>
                <c:pt idx="2048">
                  <c:v>-0.99089322347654751</c:v>
                </c:pt>
                <c:pt idx="2049">
                  <c:v>-0.97821168699662087</c:v>
                </c:pt>
                <c:pt idx="2050">
                  <c:v>-1.0183696425383726</c:v>
                </c:pt>
                <c:pt idx="2051">
                  <c:v>-1.073890870045549</c:v>
                </c:pt>
                <c:pt idx="2052">
                  <c:v>-1.0372599113203451</c:v>
                </c:pt>
                <c:pt idx="2053">
                  <c:v>-1.0861512728517695</c:v>
                </c:pt>
                <c:pt idx="2054">
                  <c:v>-1.0983920113932581</c:v>
                </c:pt>
                <c:pt idx="2055">
                  <c:v>-1.0829685817604444</c:v>
                </c:pt>
                <c:pt idx="2056">
                  <c:v>-1.0864847410478677</c:v>
                </c:pt>
                <c:pt idx="2057">
                  <c:v>-1.0763889901789536</c:v>
                </c:pt>
                <c:pt idx="2058">
                  <c:v>-1.1230060416634653</c:v>
                </c:pt>
                <c:pt idx="2059">
                  <c:v>-1.0805147383532694</c:v>
                </c:pt>
                <c:pt idx="2060">
                  <c:v>-1.0571209094750844</c:v>
                </c:pt>
                <c:pt idx="2061">
                  <c:v>-1.0617945823710251</c:v>
                </c:pt>
                <c:pt idx="2062">
                  <c:v>-1.0316330947479631</c:v>
                </c:pt>
                <c:pt idx="2063">
                  <c:v>-1.0305866885854786</c:v>
                </c:pt>
                <c:pt idx="2064">
                  <c:v>-1.0575022177440132</c:v>
                </c:pt>
                <c:pt idx="2065">
                  <c:v>-1.0634198629105547</c:v>
                </c:pt>
                <c:pt idx="2066">
                  <c:v>-1.1350736266448243</c:v>
                </c:pt>
                <c:pt idx="2067">
                  <c:v>-1.1013556135440941</c:v>
                </c:pt>
                <c:pt idx="2068">
                  <c:v>-1.0859266540802077</c:v>
                </c:pt>
                <c:pt idx="2069">
                  <c:v>-1.0003976306457987</c:v>
                </c:pt>
                <c:pt idx="2070">
                  <c:v>-1.0242074270012724</c:v>
                </c:pt>
                <c:pt idx="2071">
                  <c:v>-1.0085342253558853</c:v>
                </c:pt>
                <c:pt idx="2072">
                  <c:v>-0.97873227496640847</c:v>
                </c:pt>
                <c:pt idx="2073">
                  <c:v>-0.99418287844105557</c:v>
                </c:pt>
                <c:pt idx="2074">
                  <c:v>-0.99480660375907481</c:v>
                </c:pt>
                <c:pt idx="2075">
                  <c:v>-0.99189901084933851</c:v>
                </c:pt>
                <c:pt idx="2076">
                  <c:v>-0.9424347576372174</c:v>
                </c:pt>
                <c:pt idx="2077">
                  <c:v>-0.92122659331903101</c:v>
                </c:pt>
                <c:pt idx="2078">
                  <c:v>-0.86323350226056572</c:v>
                </c:pt>
                <c:pt idx="2079">
                  <c:v>-0.86980839538177346</c:v>
                </c:pt>
                <c:pt idx="2080">
                  <c:v>-0.84187728670889062</c:v>
                </c:pt>
                <c:pt idx="2081">
                  <c:v>-0.85170655589230493</c:v>
                </c:pt>
                <c:pt idx="2082">
                  <c:v>-0.89437904476142149</c:v>
                </c:pt>
                <c:pt idx="2083">
                  <c:v>-0.93109582172313721</c:v>
                </c:pt>
                <c:pt idx="2084">
                  <c:v>-0.93284176648320427</c:v>
                </c:pt>
                <c:pt idx="2085">
                  <c:v>-0.95392968167260406</c:v>
                </c:pt>
                <c:pt idx="2086">
                  <c:v>-0.94807790745136977</c:v>
                </c:pt>
                <c:pt idx="2087">
                  <c:v>-0.92573400322718014</c:v>
                </c:pt>
                <c:pt idx="2088">
                  <c:v>-0.8709672141878797</c:v>
                </c:pt>
                <c:pt idx="2089">
                  <c:v>-0.85795330542867987</c:v>
                </c:pt>
                <c:pt idx="2090">
                  <c:v>-0.8592156198999199</c:v>
                </c:pt>
                <c:pt idx="2091">
                  <c:v>-0.90466936841572076</c:v>
                </c:pt>
                <c:pt idx="2092">
                  <c:v>-0.91742031135585633</c:v>
                </c:pt>
                <c:pt idx="2093">
                  <c:v>-0.91662199388610377</c:v>
                </c:pt>
                <c:pt idx="2094">
                  <c:v>-0.93471901195255991</c:v>
                </c:pt>
                <c:pt idx="2095">
                  <c:v>-0.90886977380248923</c:v>
                </c:pt>
                <c:pt idx="2096">
                  <c:v>-0.84778486987844603</c:v>
                </c:pt>
                <c:pt idx="2097">
                  <c:v>-0.86278236949637477</c:v>
                </c:pt>
                <c:pt idx="2098">
                  <c:v>-0.86087816061949418</c:v>
                </c:pt>
                <c:pt idx="2099">
                  <c:v>-0.88001533447939295</c:v>
                </c:pt>
                <c:pt idx="2100">
                  <c:v>-0.88286086969916433</c:v>
                </c:pt>
                <c:pt idx="2101">
                  <c:v>-0.8998530695423349</c:v>
                </c:pt>
                <c:pt idx="2102">
                  <c:v>-0.88304279636274086</c:v>
                </c:pt>
                <c:pt idx="2103">
                  <c:v>-0.86325554553760897</c:v>
                </c:pt>
                <c:pt idx="2104">
                  <c:v>-0.92778108469448672</c:v>
                </c:pt>
                <c:pt idx="2105">
                  <c:v>-0.90647158684281814</c:v>
                </c:pt>
                <c:pt idx="2106">
                  <c:v>-0.92322968543682615</c:v>
                </c:pt>
                <c:pt idx="2107">
                  <c:v>-0.95324918506830247</c:v>
                </c:pt>
                <c:pt idx="2108">
                  <c:v>-0.97067686230382666</c:v>
                </c:pt>
                <c:pt idx="2109">
                  <c:v>-0.96444672967354261</c:v>
                </c:pt>
                <c:pt idx="2110">
                  <c:v>-1.01829645207549</c:v>
                </c:pt>
                <c:pt idx="2111">
                  <c:v>-1.0219114684469108</c:v>
                </c:pt>
                <c:pt idx="2112">
                  <c:v>-1.0158237184499908</c:v>
                </c:pt>
                <c:pt idx="2113">
                  <c:v>-0.94738135359264852</c:v>
                </c:pt>
                <c:pt idx="2114">
                  <c:v>-0.97758469750796606</c:v>
                </c:pt>
                <c:pt idx="2115">
                  <c:v>-0.99296825119490972</c:v>
                </c:pt>
                <c:pt idx="2116">
                  <c:v>-0.99719654468050967</c:v>
                </c:pt>
                <c:pt idx="2117">
                  <c:v>-1.0571291763113413</c:v>
                </c:pt>
                <c:pt idx="2118">
                  <c:v>-1.0466417495563021</c:v>
                </c:pt>
                <c:pt idx="2119">
                  <c:v>-1.0532228140995399</c:v>
                </c:pt>
                <c:pt idx="2120">
                  <c:v>-1.0604184382850121</c:v>
                </c:pt>
                <c:pt idx="2121">
                  <c:v>-1.0437670307779414</c:v>
                </c:pt>
                <c:pt idx="2122">
                  <c:v>-1.0364648958598646</c:v>
                </c:pt>
                <c:pt idx="2123">
                  <c:v>-1.0754236431808117</c:v>
                </c:pt>
                <c:pt idx="2124">
                  <c:v>-1.0383655068429538</c:v>
                </c:pt>
                <c:pt idx="2125">
                  <c:v>-1.0497869152150503</c:v>
                </c:pt>
                <c:pt idx="2126">
                  <c:v>-1.0241901718723223</c:v>
                </c:pt>
                <c:pt idx="2127">
                  <c:v>-1.0230892778067264</c:v>
                </c:pt>
                <c:pt idx="2128">
                  <c:v>-1.0128619734617956</c:v>
                </c:pt>
                <c:pt idx="2129">
                  <c:v>-1.0255302365006069</c:v>
                </c:pt>
                <c:pt idx="2130">
                  <c:v>-1.0424717426714203</c:v>
                </c:pt>
                <c:pt idx="2131">
                  <c:v>-1.0709858599253208</c:v>
                </c:pt>
                <c:pt idx="2132">
                  <c:v>-1.0836030604114462</c:v>
                </c:pt>
                <c:pt idx="2133">
                  <c:v>-1.0928617713405264</c:v>
                </c:pt>
                <c:pt idx="2134">
                  <c:v>-1.0662045079362121</c:v>
                </c:pt>
                <c:pt idx="2135">
                  <c:v>-1.0957121675424559</c:v>
                </c:pt>
                <c:pt idx="2136">
                  <c:v>-1.0788837986079574</c:v>
                </c:pt>
                <c:pt idx="2137">
                  <c:v>-1.0507437413632683</c:v>
                </c:pt>
                <c:pt idx="2138">
                  <c:v>-1.0510866921351565</c:v>
                </c:pt>
                <c:pt idx="2139">
                  <c:v>-1.0123868103342621</c:v>
                </c:pt>
                <c:pt idx="2140">
                  <c:v>-0.98245632441680386</c:v>
                </c:pt>
                <c:pt idx="2141">
                  <c:v>-0.95586567191483396</c:v>
                </c:pt>
                <c:pt idx="2142">
                  <c:v>-0.95594050056797619</c:v>
                </c:pt>
                <c:pt idx="2143">
                  <c:v>-0.98989545712280969</c:v>
                </c:pt>
                <c:pt idx="2144">
                  <c:v>-0.99396408052698193</c:v>
                </c:pt>
                <c:pt idx="2145">
                  <c:v>-0.98250385027724874</c:v>
                </c:pt>
                <c:pt idx="2146">
                  <c:v>-0.96457208765590974</c:v>
                </c:pt>
                <c:pt idx="2147">
                  <c:v>-0.93133028769058734</c:v>
                </c:pt>
                <c:pt idx="2148">
                  <c:v>-0.94583364392227254</c:v>
                </c:pt>
                <c:pt idx="2149">
                  <c:v>-0.97787309785556631</c:v>
                </c:pt>
                <c:pt idx="2150">
                  <c:v>-1.034428211030104</c:v>
                </c:pt>
                <c:pt idx="2151">
                  <c:v>-1.0212731783868241</c:v>
                </c:pt>
                <c:pt idx="2152">
                  <c:v>-1.0294548014210014</c:v>
                </c:pt>
                <c:pt idx="2153">
                  <c:v>-1.0242210122237116</c:v>
                </c:pt>
                <c:pt idx="2154">
                  <c:v>-1.0246176034465335</c:v>
                </c:pt>
                <c:pt idx="2155">
                  <c:v>-1.0120085414920998</c:v>
                </c:pt>
                <c:pt idx="2156">
                  <c:v>-1.0359229956569198</c:v>
                </c:pt>
                <c:pt idx="2157">
                  <c:v>-1.0701110534928462</c:v>
                </c:pt>
                <c:pt idx="2158">
                  <c:v>-1.1045833690868836</c:v>
                </c:pt>
                <c:pt idx="2159">
                  <c:v>-1.0830322333589426</c:v>
                </c:pt>
                <c:pt idx="2160">
                  <c:v>-1.0560627070510902</c:v>
                </c:pt>
                <c:pt idx="2161">
                  <c:v>-1.0550168578211854</c:v>
                </c:pt>
                <c:pt idx="2162">
                  <c:v>-1.0982918593597728</c:v>
                </c:pt>
                <c:pt idx="2163">
                  <c:v>-1.0998702600996069</c:v>
                </c:pt>
                <c:pt idx="2164">
                  <c:v>-1.0823954772765072</c:v>
                </c:pt>
                <c:pt idx="2165">
                  <c:v>-1.0565741764842531</c:v>
                </c:pt>
                <c:pt idx="2166">
                  <c:v>-1.0591780880068999</c:v>
                </c:pt>
                <c:pt idx="2167">
                  <c:v>-1.0781492505362951</c:v>
                </c:pt>
                <c:pt idx="2168">
                  <c:v>-1.0720162098610972</c:v>
                </c:pt>
                <c:pt idx="2169">
                  <c:v>-1.0961332687059622</c:v>
                </c:pt>
                <c:pt idx="2170">
                  <c:v>-1.1266676700289386</c:v>
                </c:pt>
                <c:pt idx="2171">
                  <c:v>-1.1475230010132618</c:v>
                </c:pt>
                <c:pt idx="2172">
                  <c:v>-1.2134036853618033</c:v>
                </c:pt>
                <c:pt idx="2173">
                  <c:v>-1.1869157334805924</c:v>
                </c:pt>
                <c:pt idx="2174">
                  <c:v>-1.1915527165158344</c:v>
                </c:pt>
                <c:pt idx="2175">
                  <c:v>-1.1586706467356169</c:v>
                </c:pt>
                <c:pt idx="2176">
                  <c:v>-1.1464056389180388</c:v>
                </c:pt>
                <c:pt idx="2177">
                  <c:v>-1.1455607330687245</c:v>
                </c:pt>
                <c:pt idx="2178">
                  <c:v>-1.1806471945381021</c:v>
                </c:pt>
                <c:pt idx="2179">
                  <c:v>-1.1846683765558623</c:v>
                </c:pt>
                <c:pt idx="2180">
                  <c:v>-1.1161819747643051</c:v>
                </c:pt>
                <c:pt idx="2181">
                  <c:v>-1.1140995956997854</c:v>
                </c:pt>
                <c:pt idx="2182">
                  <c:v>-1.1009388730399834</c:v>
                </c:pt>
                <c:pt idx="2183">
                  <c:v>-1.0942146747668391</c:v>
                </c:pt>
                <c:pt idx="2184">
                  <c:v>-1.0897544026780255</c:v>
                </c:pt>
                <c:pt idx="2185">
                  <c:v>-1.1646678339406242</c:v>
                </c:pt>
                <c:pt idx="2186">
                  <c:v>-1.1469756722863438</c:v>
                </c:pt>
                <c:pt idx="2187">
                  <c:v>-1.0851966801542769</c:v>
                </c:pt>
                <c:pt idx="2188">
                  <c:v>-1.0902433248877372</c:v>
                </c:pt>
                <c:pt idx="2189">
                  <c:v>-1.0820305777848238</c:v>
                </c:pt>
                <c:pt idx="2190">
                  <c:v>-1.0742357866270005</c:v>
                </c:pt>
                <c:pt idx="2191">
                  <c:v>-1.3456472317720873</c:v>
                </c:pt>
                <c:pt idx="2192">
                  <c:v>-1.3147809462189932</c:v>
                </c:pt>
                <c:pt idx="2193">
                  <c:v>-1.4043038235603755</c:v>
                </c:pt>
                <c:pt idx="2194">
                  <c:v>-1.5159031092063631</c:v>
                </c:pt>
                <c:pt idx="2195">
                  <c:v>-1.5340071567254072</c:v>
                </c:pt>
                <c:pt idx="2196">
                  <c:v>-1.5258487662940587</c:v>
                </c:pt>
                <c:pt idx="2197">
                  <c:v>-1.590999070756556</c:v>
                </c:pt>
                <c:pt idx="2198">
                  <c:v>-1.6569116017173098</c:v>
                </c:pt>
                <c:pt idx="2199">
                  <c:v>-1.6265511697917732</c:v>
                </c:pt>
                <c:pt idx="2200">
                  <c:v>-1.6879400806364622</c:v>
                </c:pt>
                <c:pt idx="2201">
                  <c:v>-1.8557632898137213</c:v>
                </c:pt>
                <c:pt idx="2202">
                  <c:v>-1.9580473402206677</c:v>
                </c:pt>
                <c:pt idx="2203">
                  <c:v>-2.0141254792793815</c:v>
                </c:pt>
                <c:pt idx="2204">
                  <c:v>-2.0057134460023627</c:v>
                </c:pt>
                <c:pt idx="2205">
                  <c:v>-2.0469814146403413</c:v>
                </c:pt>
                <c:pt idx="2206">
                  <c:v>-2.0502704506024858</c:v>
                </c:pt>
                <c:pt idx="2207">
                  <c:v>-2.1185598416870981</c:v>
                </c:pt>
                <c:pt idx="2208">
                  <c:v>-2.2262866522341298</c:v>
                </c:pt>
                <c:pt idx="2209">
                  <c:v>-2.196606464097373</c:v>
                </c:pt>
                <c:pt idx="2210">
                  <c:v>-2.2655695769192365</c:v>
                </c:pt>
                <c:pt idx="2211">
                  <c:v>-2.350204065810185</c:v>
                </c:pt>
                <c:pt idx="2212">
                  <c:v>-2.3760023772021537</c:v>
                </c:pt>
                <c:pt idx="2213">
                  <c:v>-2.4200250775927095</c:v>
                </c:pt>
                <c:pt idx="2214">
                  <c:v>-2.5523689194147261</c:v>
                </c:pt>
                <c:pt idx="2215">
                  <c:v>-2.6781442355686735</c:v>
                </c:pt>
                <c:pt idx="2216">
                  <c:v>-2.6641600562865646</c:v>
                </c:pt>
                <c:pt idx="2217">
                  <c:v>-2.7305583051355575</c:v>
                </c:pt>
                <c:pt idx="2218">
                  <c:v>-2.7060329502792473</c:v>
                </c:pt>
                <c:pt idx="2219">
                  <c:v>-2.7212091730461219</c:v>
                </c:pt>
                <c:pt idx="2220">
                  <c:v>-2.7880563413114468</c:v>
                </c:pt>
                <c:pt idx="2221">
                  <c:v>-2.7464018975721571</c:v>
                </c:pt>
                <c:pt idx="2222">
                  <c:v>-2.6826176929675443</c:v>
                </c:pt>
                <c:pt idx="2223">
                  <c:v>-2.7952305880509902</c:v>
                </c:pt>
                <c:pt idx="2224">
                  <c:v>-2.8117790989632687</c:v>
                </c:pt>
                <c:pt idx="2225">
                  <c:v>-2.8884925918136264</c:v>
                </c:pt>
                <c:pt idx="2226">
                  <c:v>-2.8878378175913504</c:v>
                </c:pt>
                <c:pt idx="2227">
                  <c:v>-2.8405135042419465</c:v>
                </c:pt>
                <c:pt idx="2228">
                  <c:v>-2.7782108867314612</c:v>
                </c:pt>
                <c:pt idx="2229">
                  <c:v>-2.7942021641195103</c:v>
                </c:pt>
                <c:pt idx="2230">
                  <c:v>-2.8135328139850118</c:v>
                </c:pt>
                <c:pt idx="2231">
                  <c:v>-2.7846962275649307</c:v>
                </c:pt>
                <c:pt idx="2232">
                  <c:v>-2.8331859704698541</c:v>
                </c:pt>
                <c:pt idx="2233">
                  <c:v>-2.7472872862394335</c:v>
                </c:pt>
                <c:pt idx="2234">
                  <c:v>-2.7770191213604525</c:v>
                </c:pt>
                <c:pt idx="2235">
                  <c:v>-2.7398166695452657</c:v>
                </c:pt>
                <c:pt idx="2236">
                  <c:v>-2.7516716613229972</c:v>
                </c:pt>
                <c:pt idx="2237">
                  <c:v>-2.7604549670956766</c:v>
                </c:pt>
                <c:pt idx="2238">
                  <c:v>-2.7548767017461913</c:v>
                </c:pt>
                <c:pt idx="2239">
                  <c:v>-2.7693406233886479</c:v>
                </c:pt>
                <c:pt idx="2240">
                  <c:v>-2.767248049214154</c:v>
                </c:pt>
                <c:pt idx="2241">
                  <c:v>-2.588314692812784</c:v>
                </c:pt>
                <c:pt idx="2242">
                  <c:v>-2.6103624692235563</c:v>
                </c:pt>
                <c:pt idx="2243">
                  <c:v>-6.1407013794555585</c:v>
                </c:pt>
                <c:pt idx="2244">
                  <c:v>-8.2088272481313957</c:v>
                </c:pt>
                <c:pt idx="2245">
                  <c:v>-9.7540989026129328</c:v>
                </c:pt>
                <c:pt idx="2246">
                  <c:v>-10.993203160478281</c:v>
                </c:pt>
                <c:pt idx="2247">
                  <c:v>-12.033345418281534</c:v>
                </c:pt>
                <c:pt idx="2248">
                  <c:v>-12.851396180202485</c:v>
                </c:pt>
                <c:pt idx="2249">
                  <c:v>-13.593729678306062</c:v>
                </c:pt>
                <c:pt idx="2250">
                  <c:v>-14.249136703930041</c:v>
                </c:pt>
                <c:pt idx="2251">
                  <c:v>-14.714732591873375</c:v>
                </c:pt>
                <c:pt idx="2252">
                  <c:v>-15.069920242887344</c:v>
                </c:pt>
                <c:pt idx="2253">
                  <c:v>-15.215924643718463</c:v>
                </c:pt>
                <c:pt idx="2254">
                  <c:v>-15.261089977936644</c:v>
                </c:pt>
                <c:pt idx="2255">
                  <c:v>-15.210173757403147</c:v>
                </c:pt>
                <c:pt idx="2256">
                  <c:v>-15.185036575632363</c:v>
                </c:pt>
                <c:pt idx="2257">
                  <c:v>-15.201523951682704</c:v>
                </c:pt>
                <c:pt idx="2258">
                  <c:v>-15.169215646081224</c:v>
                </c:pt>
                <c:pt idx="2259">
                  <c:v>-15.366129015283924</c:v>
                </c:pt>
                <c:pt idx="2260">
                  <c:v>-15.522481776399687</c:v>
                </c:pt>
                <c:pt idx="2261">
                  <c:v>-15.616211801203008</c:v>
                </c:pt>
                <c:pt idx="2262">
                  <c:v>-15.772663465080718</c:v>
                </c:pt>
                <c:pt idx="2263">
                  <c:v>-15.979103493518107</c:v>
                </c:pt>
                <c:pt idx="2264">
                  <c:v>-16.018087299888201</c:v>
                </c:pt>
                <c:pt idx="2265">
                  <c:v>-16.265665780305397</c:v>
                </c:pt>
                <c:pt idx="2266">
                  <c:v>-16.346225480977932</c:v>
                </c:pt>
                <c:pt idx="2267">
                  <c:v>-16.390020617332368</c:v>
                </c:pt>
                <c:pt idx="2268">
                  <c:v>-16.49134866080103</c:v>
                </c:pt>
                <c:pt idx="2269">
                  <c:v>-16.612260385741102</c:v>
                </c:pt>
                <c:pt idx="2270">
                  <c:v>-16.748140710621321</c:v>
                </c:pt>
                <c:pt idx="2271">
                  <c:v>-16.945176346514714</c:v>
                </c:pt>
                <c:pt idx="2272">
                  <c:v>-17.04572863775482</c:v>
                </c:pt>
                <c:pt idx="2273">
                  <c:v>-17.028766203099124</c:v>
                </c:pt>
                <c:pt idx="2274">
                  <c:v>-16.949563271181887</c:v>
                </c:pt>
                <c:pt idx="2275">
                  <c:v>-16.838478476311835</c:v>
                </c:pt>
                <c:pt idx="2276">
                  <c:v>-16.648957855434311</c:v>
                </c:pt>
                <c:pt idx="2277">
                  <c:v>-16.363617666573802</c:v>
                </c:pt>
                <c:pt idx="2278">
                  <c:v>-16.015382400047915</c:v>
                </c:pt>
                <c:pt idx="2279">
                  <c:v>-15.535229566692855</c:v>
                </c:pt>
                <c:pt idx="2280">
                  <c:v>-14.988803942685827</c:v>
                </c:pt>
                <c:pt idx="2281">
                  <c:v>-14.338613732349737</c:v>
                </c:pt>
                <c:pt idx="2282">
                  <c:v>-13.580899949746287</c:v>
                </c:pt>
                <c:pt idx="2283">
                  <c:v>-12.63496423708674</c:v>
                </c:pt>
                <c:pt idx="2284">
                  <c:v>-11.507140379817763</c:v>
                </c:pt>
                <c:pt idx="2285">
                  <c:v>-10.150439868021621</c:v>
                </c:pt>
                <c:pt idx="2286">
                  <c:v>-8.4590335477943395</c:v>
                </c:pt>
                <c:pt idx="2287">
                  <c:v>-6.1391826535999652</c:v>
                </c:pt>
                <c:pt idx="2288">
                  <c:v>-0.97036327091718189</c:v>
                </c:pt>
                <c:pt idx="2289">
                  <c:v>-0.96556201468592184</c:v>
                </c:pt>
                <c:pt idx="2290">
                  <c:v>-0.95813408715596204</c:v>
                </c:pt>
                <c:pt idx="2291">
                  <c:v>-0.97999989457047576</c:v>
                </c:pt>
                <c:pt idx="2292">
                  <c:v>-0.99743427832248122</c:v>
                </c:pt>
                <c:pt idx="2293">
                  <c:v>-0.97007977071659557</c:v>
                </c:pt>
                <c:pt idx="2294">
                  <c:v>-0.98523852211134044</c:v>
                </c:pt>
                <c:pt idx="2295">
                  <c:v>-0.95780758808184352</c:v>
                </c:pt>
                <c:pt idx="2296">
                  <c:v>-0.95024839582218568</c:v>
                </c:pt>
                <c:pt idx="2297">
                  <c:v>-0.97336424859755399</c:v>
                </c:pt>
                <c:pt idx="2298">
                  <c:v>-1.0073853042341891</c:v>
                </c:pt>
                <c:pt idx="2299">
                  <c:v>-1.0149359463861081</c:v>
                </c:pt>
                <c:pt idx="2300">
                  <c:v>-1.0107467853339378</c:v>
                </c:pt>
                <c:pt idx="2301">
                  <c:v>-0.9805987479774082</c:v>
                </c:pt>
                <c:pt idx="2302">
                  <c:v>-0.9387912420481529</c:v>
                </c:pt>
                <c:pt idx="2303">
                  <c:v>-0.92536090649055924</c:v>
                </c:pt>
                <c:pt idx="2304">
                  <c:v>-0.97370193607368627</c:v>
                </c:pt>
                <c:pt idx="2305">
                  <c:v>-0.98528051512342318</c:v>
                </c:pt>
                <c:pt idx="2306">
                  <c:v>-1.0079840740353756</c:v>
                </c:pt>
                <c:pt idx="2307">
                  <c:v>-1.0475227128811153</c:v>
                </c:pt>
                <c:pt idx="2308">
                  <c:v>-1.1014151444981797</c:v>
                </c:pt>
                <c:pt idx="2309">
                  <c:v>-1.0885599035949898</c:v>
                </c:pt>
                <c:pt idx="2310">
                  <c:v>-1.1309615193274059</c:v>
                </c:pt>
                <c:pt idx="2311">
                  <c:v>-1.1133769774313933</c:v>
                </c:pt>
                <c:pt idx="2312">
                  <c:v>-1.1384752558184141</c:v>
                </c:pt>
                <c:pt idx="2313">
                  <c:v>-1.1238545930870467</c:v>
                </c:pt>
                <c:pt idx="2314">
                  <c:v>-1.1278335052878445</c:v>
                </c:pt>
                <c:pt idx="2315">
                  <c:v>-1.0551262251025604</c:v>
                </c:pt>
                <c:pt idx="2316">
                  <c:v>-1.1100952711780989</c:v>
                </c:pt>
                <c:pt idx="2317">
                  <c:v>-1.0927277031974327</c:v>
                </c:pt>
                <c:pt idx="2318">
                  <c:v>-1.0838520495147494</c:v>
                </c:pt>
                <c:pt idx="2319">
                  <c:v>-1.0886854571105813</c:v>
                </c:pt>
                <c:pt idx="2320">
                  <c:v>-1.0906329050437842</c:v>
                </c:pt>
                <c:pt idx="2321">
                  <c:v>-1.0810245099250373</c:v>
                </c:pt>
                <c:pt idx="2322">
                  <c:v>-1.073879856688944</c:v>
                </c:pt>
                <c:pt idx="2323">
                  <c:v>-1.0748683319782621</c:v>
                </c:pt>
                <c:pt idx="2324">
                  <c:v>-1.0472011420358145</c:v>
                </c:pt>
                <c:pt idx="2325">
                  <c:v>-1.0376614736384933</c:v>
                </c:pt>
                <c:pt idx="2326">
                  <c:v>-1.0850537019531576</c:v>
                </c:pt>
                <c:pt idx="2327">
                  <c:v>-1.0575350946343571</c:v>
                </c:pt>
                <c:pt idx="2328">
                  <c:v>-1.0396432049310484</c:v>
                </c:pt>
                <c:pt idx="2329">
                  <c:v>-1.0384456746615092</c:v>
                </c:pt>
                <c:pt idx="2330">
                  <c:v>-1.0505719418054533</c:v>
                </c:pt>
                <c:pt idx="2331">
                  <c:v>-1.0531344425805313</c:v>
                </c:pt>
                <c:pt idx="2332">
                  <c:v>-1.0478684996102707</c:v>
                </c:pt>
                <c:pt idx="2333">
                  <c:v>-1.0843642351831932</c:v>
                </c:pt>
                <c:pt idx="2334">
                  <c:v>-1.0494883450127814</c:v>
                </c:pt>
                <c:pt idx="2335">
                  <c:v>-1.0511761019782266</c:v>
                </c:pt>
                <c:pt idx="2336">
                  <c:v>-1.0030013638791591</c:v>
                </c:pt>
                <c:pt idx="2337">
                  <c:v>-1.0336817356410779</c:v>
                </c:pt>
                <c:pt idx="2338">
                  <c:v>-1.0235254846797688</c:v>
                </c:pt>
                <c:pt idx="2339">
                  <c:v>-1.0413631689822465</c:v>
                </c:pt>
                <c:pt idx="2340">
                  <c:v>-1.0122114121759089</c:v>
                </c:pt>
                <c:pt idx="2341">
                  <c:v>-1.0291895241466305</c:v>
                </c:pt>
                <c:pt idx="2342">
                  <c:v>-0.99234041087222069</c:v>
                </c:pt>
                <c:pt idx="2343">
                  <c:v>-1.006921867936279</c:v>
                </c:pt>
                <c:pt idx="2344">
                  <c:v>-1.0157924282044841</c:v>
                </c:pt>
                <c:pt idx="2345">
                  <c:v>-1.03227398804472</c:v>
                </c:pt>
                <c:pt idx="2346">
                  <c:v>-1.0214624669035008</c:v>
                </c:pt>
                <c:pt idx="2347">
                  <c:v>-1.080836815353202</c:v>
                </c:pt>
                <c:pt idx="2348">
                  <c:v>-1.1041111556259611</c:v>
                </c:pt>
                <c:pt idx="2349">
                  <c:v>-1.1028343585253242</c:v>
                </c:pt>
                <c:pt idx="2350">
                  <c:v>-1.104618946171084</c:v>
                </c:pt>
                <c:pt idx="2351">
                  <c:v>-1.0959476352834197</c:v>
                </c:pt>
                <c:pt idx="2352">
                  <c:v>-1.0902386831231674</c:v>
                </c:pt>
                <c:pt idx="2353">
                  <c:v>-1.085539456750229</c:v>
                </c:pt>
                <c:pt idx="2354">
                  <c:v>-1.1256050751096307</c:v>
                </c:pt>
                <c:pt idx="2355">
                  <c:v>-1.1004518991304382</c:v>
                </c:pt>
                <c:pt idx="2356">
                  <c:v>-1.0119236707833401</c:v>
                </c:pt>
                <c:pt idx="2357">
                  <c:v>-1.0248583326585434</c:v>
                </c:pt>
                <c:pt idx="2358">
                  <c:v>-1.0157195770327885</c:v>
                </c:pt>
                <c:pt idx="2359">
                  <c:v>-1.0414936247088153</c:v>
                </c:pt>
                <c:pt idx="2360">
                  <c:v>-1.0342210152882643</c:v>
                </c:pt>
                <c:pt idx="2361">
                  <c:v>-1.0177335906453608</c:v>
                </c:pt>
                <c:pt idx="2362">
                  <c:v>-1.0200770965756039</c:v>
                </c:pt>
                <c:pt idx="2363">
                  <c:v>-0.9893269944797759</c:v>
                </c:pt>
                <c:pt idx="2364">
                  <c:v>-1.0607191782710199</c:v>
                </c:pt>
                <c:pt idx="2365">
                  <c:v>-1.0275235563262768</c:v>
                </c:pt>
                <c:pt idx="2366">
                  <c:v>-1.0160461989081166</c:v>
                </c:pt>
                <c:pt idx="2367">
                  <c:v>-0.97971795168943598</c:v>
                </c:pt>
                <c:pt idx="2368">
                  <c:v>-1.0088362231117824</c:v>
                </c:pt>
                <c:pt idx="2369">
                  <c:v>-0.97761498731997909</c:v>
                </c:pt>
                <c:pt idx="2370">
                  <c:v>-1.0048236746001167</c:v>
                </c:pt>
                <c:pt idx="2371">
                  <c:v>-0.97503316840538212</c:v>
                </c:pt>
                <c:pt idx="2372">
                  <c:v>-0.96420530532477056</c:v>
                </c:pt>
                <c:pt idx="2373">
                  <c:v>-0.94048017766558489</c:v>
                </c:pt>
                <c:pt idx="2374">
                  <c:v>-0.92276389352072474</c:v>
                </c:pt>
                <c:pt idx="2375">
                  <c:v>-0.94499163387787521</c:v>
                </c:pt>
                <c:pt idx="2376">
                  <c:v>-0.89451570234157995</c:v>
                </c:pt>
                <c:pt idx="2377">
                  <c:v>-0.84527977838163793</c:v>
                </c:pt>
                <c:pt idx="2378">
                  <c:v>-0.8079734913214196</c:v>
                </c:pt>
                <c:pt idx="2379">
                  <c:v>-0.81968687659782491</c:v>
                </c:pt>
                <c:pt idx="2380">
                  <c:v>-0.84681776537559439</c:v>
                </c:pt>
                <c:pt idx="2381">
                  <c:v>-0.81207444472748902</c:v>
                </c:pt>
                <c:pt idx="2382">
                  <c:v>-0.8194236300238773</c:v>
                </c:pt>
                <c:pt idx="2383">
                  <c:v>-0.80999732771956989</c:v>
                </c:pt>
                <c:pt idx="2384">
                  <c:v>-0.766138060336231</c:v>
                </c:pt>
                <c:pt idx="2385">
                  <c:v>-0.79272525707676045</c:v>
                </c:pt>
                <c:pt idx="2386">
                  <c:v>-0.76075269093849751</c:v>
                </c:pt>
                <c:pt idx="2387">
                  <c:v>-0.76144299469770549</c:v>
                </c:pt>
                <c:pt idx="2388">
                  <c:v>-0.76407755496570662</c:v>
                </c:pt>
                <c:pt idx="2389">
                  <c:v>-0.74235599123701734</c:v>
                </c:pt>
                <c:pt idx="2390">
                  <c:v>-0.73882568580802666</c:v>
                </c:pt>
                <c:pt idx="2391">
                  <c:v>-0.75499447552593224</c:v>
                </c:pt>
                <c:pt idx="2392">
                  <c:v>-0.7548787013793169</c:v>
                </c:pt>
                <c:pt idx="2393">
                  <c:v>-0.7726375223474361</c:v>
                </c:pt>
                <c:pt idx="2394">
                  <c:v>-0.7191481749441262</c:v>
                </c:pt>
                <c:pt idx="2395">
                  <c:v>-0.75032581103686913</c:v>
                </c:pt>
                <c:pt idx="2396">
                  <c:v>-0.7706505685926911</c:v>
                </c:pt>
                <c:pt idx="2397">
                  <c:v>-0.76344654708988002</c:v>
                </c:pt>
                <c:pt idx="2398">
                  <c:v>-0.69122036083741434</c:v>
                </c:pt>
                <c:pt idx="2399">
                  <c:v>-0.7155239036402532</c:v>
                </c:pt>
                <c:pt idx="2400">
                  <c:v>-0.6431433908155535</c:v>
                </c:pt>
                <c:pt idx="2401">
                  <c:v>-0.64866721582984099</c:v>
                </c:pt>
                <c:pt idx="2402">
                  <c:v>-0.68491043942176399</c:v>
                </c:pt>
                <c:pt idx="2403">
                  <c:v>-0.72431474855438716</c:v>
                </c:pt>
                <c:pt idx="2404">
                  <c:v>-0.70540528345752551</c:v>
                </c:pt>
                <c:pt idx="2405">
                  <c:v>-0.64741061035327152</c:v>
                </c:pt>
                <c:pt idx="2406">
                  <c:v>-0.66989457697165489</c:v>
                </c:pt>
                <c:pt idx="2407">
                  <c:v>-0.6277273551911271</c:v>
                </c:pt>
                <c:pt idx="2408">
                  <c:v>-0.66124301306334987</c:v>
                </c:pt>
                <c:pt idx="2409">
                  <c:v>-0.64239820294352135</c:v>
                </c:pt>
                <c:pt idx="2410">
                  <c:v>-0.53324726036686187</c:v>
                </c:pt>
                <c:pt idx="2411">
                  <c:v>-0.58937483820196546</c:v>
                </c:pt>
                <c:pt idx="2412">
                  <c:v>-0.61581247297582475</c:v>
                </c:pt>
                <c:pt idx="2413">
                  <c:v>-0.64391442597029613</c:v>
                </c:pt>
                <c:pt idx="2414">
                  <c:v>-0.72214761618930234</c:v>
                </c:pt>
                <c:pt idx="2415">
                  <c:v>-0.56642066245647182</c:v>
                </c:pt>
                <c:pt idx="2416">
                  <c:v>-0.68841662576540052</c:v>
                </c:pt>
                <c:pt idx="2417">
                  <c:v>-0.70239792557972425</c:v>
                </c:pt>
                <c:pt idx="2418">
                  <c:v>-0.73726025269345052</c:v>
                </c:pt>
              </c:numCache>
            </c:numRef>
          </c:val>
          <c:smooth val="0"/>
          <c:extLst>
            <c:ext xmlns:c16="http://schemas.microsoft.com/office/drawing/2014/chart" uri="{C3380CC4-5D6E-409C-BE32-E72D297353CC}">
              <c16:uniqueId val="{00000000-E215-044C-B3CE-16D2B7E29BDB}"/>
            </c:ext>
          </c:extLst>
        </c:ser>
        <c:dLbls>
          <c:showLegendKey val="0"/>
          <c:showVal val="0"/>
          <c:showCatName val="0"/>
          <c:showSerName val="0"/>
          <c:showPercent val="0"/>
          <c:showBubbleSize val="0"/>
        </c:dLbls>
        <c:marker val="1"/>
        <c:smooth val="0"/>
        <c:axId val="566764688"/>
        <c:axId val="513678256"/>
      </c:lineChart>
      <c:lineChart>
        <c:grouping val="standard"/>
        <c:varyColors val="0"/>
        <c:ser>
          <c:idx val="0"/>
          <c:order val="0"/>
          <c:tx>
            <c:strRef>
              <c:f>'Data Preparation'!$H$1</c:f>
              <c:strCache>
                <c:ptCount val="1"/>
                <c:pt idx="0">
                  <c:v>Horse Power</c:v>
                </c:pt>
              </c:strCache>
            </c:strRef>
          </c:tx>
          <c:spPr>
            <a:ln w="28575" cap="rnd">
              <a:solidFill>
                <a:schemeClr val="accent1"/>
              </a:solidFill>
              <a:round/>
            </a:ln>
            <a:effectLst/>
          </c:spPr>
          <c:marker>
            <c:symbol val="none"/>
          </c:marker>
          <c:val>
            <c:numRef>
              <c:f>'Data Preparation'!$H$2:$H$2420</c:f>
              <c:numCache>
                <c:formatCode>#,##0.00</c:formatCode>
                <c:ptCount val="2419"/>
                <c:pt idx="0" formatCode="0.0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7509473036871757</c:v>
                </c:pt>
                <c:pt idx="43">
                  <c:v>0.27675503878263741</c:v>
                </c:pt>
                <c:pt idx="44">
                  <c:v>0.27532038225971711</c:v>
                </c:pt>
                <c:pt idx="45">
                  <c:v>0.25820064760235445</c:v>
                </c:pt>
                <c:pt idx="46">
                  <c:v>0.25900239109463319</c:v>
                </c:pt>
                <c:pt idx="47">
                  <c:v>0.25706085807573581</c:v>
                </c:pt>
                <c:pt idx="48">
                  <c:v>0.25561455435022223</c:v>
                </c:pt>
                <c:pt idx="49">
                  <c:v>0.2493030113846583</c:v>
                </c:pt>
                <c:pt idx="50">
                  <c:v>0.2411938416872044</c:v>
                </c:pt>
                <c:pt idx="51">
                  <c:v>0.24056253555006718</c:v>
                </c:pt>
                <c:pt idx="52">
                  <c:v>0.22928294437755514</c:v>
                </c:pt>
                <c:pt idx="53">
                  <c:v>0.22420765530435435</c:v>
                </c:pt>
                <c:pt idx="54">
                  <c:v>0.22414178504563417</c:v>
                </c:pt>
                <c:pt idx="55">
                  <c:v>0.22420593685621976</c:v>
                </c:pt>
                <c:pt idx="56">
                  <c:v>0.23840359272956532</c:v>
                </c:pt>
                <c:pt idx="57">
                  <c:v>0.23909621584424029</c:v>
                </c:pt>
                <c:pt idx="58">
                  <c:v>0.23694684066975222</c:v>
                </c:pt>
                <c:pt idx="59">
                  <c:v>0.23780480879865606</c:v>
                </c:pt>
                <c:pt idx="60">
                  <c:v>0.25500624298527386</c:v>
                </c:pt>
                <c:pt idx="61">
                  <c:v>0.2508095885015032</c:v>
                </c:pt>
                <c:pt idx="62">
                  <c:v>0.26026677444567853</c:v>
                </c:pt>
                <c:pt idx="63">
                  <c:v>0.26638582475809991</c:v>
                </c:pt>
                <c:pt idx="64">
                  <c:v>0.26023828489946843</c:v>
                </c:pt>
                <c:pt idx="65">
                  <c:v>0.25790947513574564</c:v>
                </c:pt>
                <c:pt idx="66">
                  <c:v>0.254579452942514</c:v>
                </c:pt>
                <c:pt idx="67">
                  <c:v>0.25071990502802138</c:v>
                </c:pt>
                <c:pt idx="68">
                  <c:v>0.23913653097151702</c:v>
                </c:pt>
                <c:pt idx="69">
                  <c:v>0.2497307241115492</c:v>
                </c:pt>
                <c:pt idx="70">
                  <c:v>0.2587811108349794</c:v>
                </c:pt>
                <c:pt idx="71">
                  <c:v>0.26793166840767707</c:v>
                </c:pt>
                <c:pt idx="72">
                  <c:v>0.26862958628350986</c:v>
                </c:pt>
                <c:pt idx="73">
                  <c:v>0.2677163690572727</c:v>
                </c:pt>
                <c:pt idx="74">
                  <c:v>0.26756873980056695</c:v>
                </c:pt>
                <c:pt idx="75">
                  <c:v>0.26762239107898028</c:v>
                </c:pt>
                <c:pt idx="76">
                  <c:v>0.26164813088208566</c:v>
                </c:pt>
                <c:pt idx="77">
                  <c:v>0.26320528959576589</c:v>
                </c:pt>
                <c:pt idx="78">
                  <c:v>0.25410499569692152</c:v>
                </c:pt>
                <c:pt idx="79">
                  <c:v>0.25428613121354254</c:v>
                </c:pt>
                <c:pt idx="80">
                  <c:v>0.25347506166251516</c:v>
                </c:pt>
                <c:pt idx="81">
                  <c:v>0.25172529252553227</c:v>
                </c:pt>
                <c:pt idx="82">
                  <c:v>0.26022253969662362</c:v>
                </c:pt>
                <c:pt idx="83">
                  <c:v>0.26384126347653764</c:v>
                </c:pt>
                <c:pt idx="84">
                  <c:v>0.27907385712930333</c:v>
                </c:pt>
                <c:pt idx="85">
                  <c:v>0.27887470575964074</c:v>
                </c:pt>
                <c:pt idx="86">
                  <c:v>0.25912683074139181</c:v>
                </c:pt>
                <c:pt idx="87">
                  <c:v>0.25262092786882612</c:v>
                </c:pt>
                <c:pt idx="88">
                  <c:v>0.24586630843409099</c:v>
                </c:pt>
                <c:pt idx="89">
                  <c:v>0.24401836595592677</c:v>
                </c:pt>
                <c:pt idx="90">
                  <c:v>0.23618666016144416</c:v>
                </c:pt>
                <c:pt idx="91">
                  <c:v>0.24258924087073935</c:v>
                </c:pt>
                <c:pt idx="92">
                  <c:v>0.23781028776755969</c:v>
                </c:pt>
                <c:pt idx="93">
                  <c:v>0.2395449636312115</c:v>
                </c:pt>
                <c:pt idx="94">
                  <c:v>0.24168858097838034</c:v>
                </c:pt>
                <c:pt idx="95">
                  <c:v>0.27259155407025099</c:v>
                </c:pt>
                <c:pt idx="96">
                  <c:v>0.27594504450314628</c:v>
                </c:pt>
                <c:pt idx="97">
                  <c:v>0.27462680945897117</c:v>
                </c:pt>
                <c:pt idx="98">
                  <c:v>0.28894668574301968</c:v>
                </c:pt>
                <c:pt idx="99">
                  <c:v>0.27704883101464151</c:v>
                </c:pt>
                <c:pt idx="100">
                  <c:v>0.26928801371278471</c:v>
                </c:pt>
                <c:pt idx="101">
                  <c:v>0.25975564904848597</c:v>
                </c:pt>
                <c:pt idx="102">
                  <c:v>0.25872878988177217</c:v>
                </c:pt>
                <c:pt idx="103">
                  <c:v>0.2585244469887234</c:v>
                </c:pt>
                <c:pt idx="104">
                  <c:v>0.25936665249571689</c:v>
                </c:pt>
                <c:pt idx="105">
                  <c:v>0.27641423266548593</c:v>
                </c:pt>
                <c:pt idx="106">
                  <c:v>0.28659200755351766</c:v>
                </c:pt>
                <c:pt idx="107">
                  <c:v>0.28494582223357573</c:v>
                </c:pt>
                <c:pt idx="108">
                  <c:v>0.2925931800608968</c:v>
                </c:pt>
                <c:pt idx="109">
                  <c:v>0.30730689687034052</c:v>
                </c:pt>
                <c:pt idx="110">
                  <c:v>0.31691373256362371</c:v>
                </c:pt>
                <c:pt idx="111">
                  <c:v>0.32040314362991568</c:v>
                </c:pt>
                <c:pt idx="112">
                  <c:v>0.32073434640209209</c:v>
                </c:pt>
                <c:pt idx="113">
                  <c:v>0.3180668027335164</c:v>
                </c:pt>
                <c:pt idx="114">
                  <c:v>0.30665718031367228</c:v>
                </c:pt>
                <c:pt idx="115">
                  <c:v>0.3070253921415414</c:v>
                </c:pt>
                <c:pt idx="116">
                  <c:v>0.30757414378159409</c:v>
                </c:pt>
                <c:pt idx="117">
                  <c:v>0.30933092330123052</c:v>
                </c:pt>
                <c:pt idx="118">
                  <c:v>0.31182288826832544</c:v>
                </c:pt>
                <c:pt idx="119">
                  <c:v>0.31183043025634605</c:v>
                </c:pt>
                <c:pt idx="120">
                  <c:v>0.32794576903545009</c:v>
                </c:pt>
                <c:pt idx="121">
                  <c:v>0.32281170148481986</c:v>
                </c:pt>
                <c:pt idx="122">
                  <c:v>0.32151868055140831</c:v>
                </c:pt>
                <c:pt idx="123">
                  <c:v>0.31987863284561874</c:v>
                </c:pt>
                <c:pt idx="124">
                  <c:v>0.32421033776810976</c:v>
                </c:pt>
                <c:pt idx="125">
                  <c:v>0.30233851957870506</c:v>
                </c:pt>
                <c:pt idx="126">
                  <c:v>0.29781616895755036</c:v>
                </c:pt>
                <c:pt idx="127">
                  <c:v>0.29887034333153861</c:v>
                </c:pt>
                <c:pt idx="128">
                  <c:v>0.28696210770531766</c:v>
                </c:pt>
                <c:pt idx="129">
                  <c:v>0.28823200166720653</c:v>
                </c:pt>
                <c:pt idx="130">
                  <c:v>0.28812320392695995</c:v>
                </c:pt>
                <c:pt idx="131">
                  <c:v>0.28723972363822881</c:v>
                </c:pt>
                <c:pt idx="132">
                  <c:v>0.2879055545785113</c:v>
                </c:pt>
                <c:pt idx="133">
                  <c:v>0.28989530898179577</c:v>
                </c:pt>
                <c:pt idx="134">
                  <c:v>0.29202296089337676</c:v>
                </c:pt>
                <c:pt idx="135">
                  <c:v>0.28876204982204379</c:v>
                </c:pt>
                <c:pt idx="136">
                  <c:v>0.28324366360458114</c:v>
                </c:pt>
                <c:pt idx="137">
                  <c:v>0.28766129583955108</c:v>
                </c:pt>
                <c:pt idx="138">
                  <c:v>0.28004079739209492</c:v>
                </c:pt>
                <c:pt idx="139">
                  <c:v>0.28084895724193476</c:v>
                </c:pt>
                <c:pt idx="140">
                  <c:v>0.28334385719354604</c:v>
                </c:pt>
                <c:pt idx="141">
                  <c:v>0.26359960726341636</c:v>
                </c:pt>
                <c:pt idx="142">
                  <c:v>0.26581407753978165</c:v>
                </c:pt>
                <c:pt idx="143">
                  <c:v>0.26277095651492655</c:v>
                </c:pt>
                <c:pt idx="144">
                  <c:v>0.27198565958762133</c:v>
                </c:pt>
                <c:pt idx="145">
                  <c:v>0.27120474545933204</c:v>
                </c:pt>
                <c:pt idx="146">
                  <c:v>0.2738028710572053</c:v>
                </c:pt>
                <c:pt idx="147">
                  <c:v>0.27368719895011684</c:v>
                </c:pt>
                <c:pt idx="148">
                  <c:v>0.27322276988229577</c:v>
                </c:pt>
                <c:pt idx="149">
                  <c:v>0.27311575545662892</c:v>
                </c:pt>
                <c:pt idx="150">
                  <c:v>0.27168578182736514</c:v>
                </c:pt>
                <c:pt idx="151">
                  <c:v>0.2696706905266581</c:v>
                </c:pt>
                <c:pt idx="152">
                  <c:v>0.28857958710880749</c:v>
                </c:pt>
                <c:pt idx="153">
                  <c:v>0.28855805785570215</c:v>
                </c:pt>
                <c:pt idx="154">
                  <c:v>0.27974901532494706</c:v>
                </c:pt>
                <c:pt idx="155">
                  <c:v>0.27979364483260122</c:v>
                </c:pt>
                <c:pt idx="156">
                  <c:v>0.27819267655057839</c:v>
                </c:pt>
                <c:pt idx="157">
                  <c:v>0.27381458780441897</c:v>
                </c:pt>
                <c:pt idx="158">
                  <c:v>0.2910388294691163</c:v>
                </c:pt>
                <c:pt idx="159">
                  <c:v>0.29194551783313466</c:v>
                </c:pt>
                <c:pt idx="160">
                  <c:v>0.29443392527096623</c:v>
                </c:pt>
                <c:pt idx="161">
                  <c:v>0.30788858463961666</c:v>
                </c:pt>
                <c:pt idx="162">
                  <c:v>0.30909750910294914</c:v>
                </c:pt>
                <c:pt idx="163">
                  <c:v>0.30909750910294914</c:v>
                </c:pt>
                <c:pt idx="164">
                  <c:v>0.30822200908986386</c:v>
                </c:pt>
                <c:pt idx="165">
                  <c:v>0.30790128664518945</c:v>
                </c:pt>
                <c:pt idx="166">
                  <c:v>0.32899466476304584</c:v>
                </c:pt>
                <c:pt idx="167">
                  <c:v>0.33406553362304786</c:v>
                </c:pt>
                <c:pt idx="168">
                  <c:v>0.33751365549537887</c:v>
                </c:pt>
                <c:pt idx="169">
                  <c:v>0.32923937912523127</c:v>
                </c:pt>
                <c:pt idx="170">
                  <c:v>0.33437324291054898</c:v>
                </c:pt>
                <c:pt idx="171">
                  <c:v>0.33546683264692873</c:v>
                </c:pt>
                <c:pt idx="172">
                  <c:v>0.32547253737788612</c:v>
                </c:pt>
                <c:pt idx="173">
                  <c:v>0.32576149945207727</c:v>
                </c:pt>
                <c:pt idx="174">
                  <c:v>0.32285938419906945</c:v>
                </c:pt>
                <c:pt idx="175">
                  <c:v>0.32369368465324355</c:v>
                </c:pt>
                <c:pt idx="176">
                  <c:v>0.31750216765334749</c:v>
                </c:pt>
                <c:pt idx="177">
                  <c:v>0.31547146526736369</c:v>
                </c:pt>
                <c:pt idx="178">
                  <c:v>0.32488065000271366</c:v>
                </c:pt>
                <c:pt idx="179">
                  <c:v>0.32456075403096096</c:v>
                </c:pt>
                <c:pt idx="180">
                  <c:v>0.33075151380403794</c:v>
                </c:pt>
                <c:pt idx="181">
                  <c:v>0.35696410765023368</c:v>
                </c:pt>
                <c:pt idx="182">
                  <c:v>0.38280619672985267</c:v>
                </c:pt>
                <c:pt idx="183">
                  <c:v>0.41898564130668781</c:v>
                </c:pt>
                <c:pt idx="184">
                  <c:v>0.46256499481192892</c:v>
                </c:pt>
                <c:pt idx="185">
                  <c:v>0.49416989632121444</c:v>
                </c:pt>
                <c:pt idx="186">
                  <c:v>0.53368925957524482</c:v>
                </c:pt>
                <c:pt idx="187">
                  <c:v>0.55259840605169697</c:v>
                </c:pt>
                <c:pt idx="188">
                  <c:v>0.5644040060882024</c:v>
                </c:pt>
                <c:pt idx="189">
                  <c:v>0.57158440347546435</c:v>
                </c:pt>
                <c:pt idx="190">
                  <c:v>0.56869991030820688</c:v>
                </c:pt>
                <c:pt idx="191">
                  <c:v>0.55977323666098144</c:v>
                </c:pt>
                <c:pt idx="192">
                  <c:v>0.56214568554318278</c:v>
                </c:pt>
                <c:pt idx="193">
                  <c:v>0.56011715624423486</c:v>
                </c:pt>
                <c:pt idx="194">
                  <c:v>0.56278815264258686</c:v>
                </c:pt>
                <c:pt idx="195">
                  <c:v>0.52091905979677355</c:v>
                </c:pt>
                <c:pt idx="196">
                  <c:v>0.53182154800668557</c:v>
                </c:pt>
                <c:pt idx="197">
                  <c:v>0.50034809715514106</c:v>
                </c:pt>
                <c:pt idx="198">
                  <c:v>0.50156300473210225</c:v>
                </c:pt>
                <c:pt idx="199">
                  <c:v>0.5089413624456105</c:v>
                </c:pt>
                <c:pt idx="200">
                  <c:v>0.50792921006694991</c:v>
                </c:pt>
                <c:pt idx="201">
                  <c:v>0.50120493171602298</c:v>
                </c:pt>
                <c:pt idx="202">
                  <c:v>0.47714935773595812</c:v>
                </c:pt>
                <c:pt idx="203">
                  <c:v>0.44480511092701513</c:v>
                </c:pt>
                <c:pt idx="204">
                  <c:v>0.42665834914395928</c:v>
                </c:pt>
                <c:pt idx="205">
                  <c:v>0.41371253594771246</c:v>
                </c:pt>
                <c:pt idx="206">
                  <c:v>0.39800521688054702</c:v>
                </c:pt>
                <c:pt idx="207">
                  <c:v>0.3616161952785456</c:v>
                </c:pt>
                <c:pt idx="208">
                  <c:v>0.25844081421988441</c:v>
                </c:pt>
                <c:pt idx="209">
                  <c:v>0.17423376897719312</c:v>
                </c:pt>
                <c:pt idx="210">
                  <c:v>0.16901346303176423</c:v>
                </c:pt>
                <c:pt idx="211">
                  <c:v>0.16791291350359014</c:v>
                </c:pt>
                <c:pt idx="212">
                  <c:v>0.16958216362471412</c:v>
                </c:pt>
                <c:pt idx="213">
                  <c:v>0.17649536954446465</c:v>
                </c:pt>
                <c:pt idx="214">
                  <c:v>0.18189311425098639</c:v>
                </c:pt>
                <c:pt idx="215">
                  <c:v>0.18115058542387705</c:v>
                </c:pt>
                <c:pt idx="216">
                  <c:v>0.17034013707204551</c:v>
                </c:pt>
                <c:pt idx="217">
                  <c:v>0.17151210322410901</c:v>
                </c:pt>
                <c:pt idx="218">
                  <c:v>0.17236252745950509</c:v>
                </c:pt>
                <c:pt idx="219">
                  <c:v>0.17307895162490464</c:v>
                </c:pt>
                <c:pt idx="220">
                  <c:v>0.17646936298190563</c:v>
                </c:pt>
                <c:pt idx="221">
                  <c:v>0.17279638572533368</c:v>
                </c:pt>
                <c:pt idx="222">
                  <c:v>0.1718083832659294</c:v>
                </c:pt>
                <c:pt idx="223">
                  <c:v>0.17114982926089112</c:v>
                </c:pt>
                <c:pt idx="224">
                  <c:v>0.17049540861274451</c:v>
                </c:pt>
                <c:pt idx="225">
                  <c:v>0.24172240747916204</c:v>
                </c:pt>
                <c:pt idx="226">
                  <c:v>0.29033588753718581</c:v>
                </c:pt>
                <c:pt idx="227">
                  <c:v>0.34126073025862774</c:v>
                </c:pt>
                <c:pt idx="228">
                  <c:v>0.35297053776043064</c:v>
                </c:pt>
                <c:pt idx="229">
                  <c:v>0.38404633783040953</c:v>
                </c:pt>
                <c:pt idx="230">
                  <c:v>0.4058253591323277</c:v>
                </c:pt>
                <c:pt idx="231">
                  <c:v>0.42403233074124608</c:v>
                </c:pt>
                <c:pt idx="232">
                  <c:v>0.44464190622961286</c:v>
                </c:pt>
                <c:pt idx="233">
                  <c:v>0.44277735943630742</c:v>
                </c:pt>
                <c:pt idx="234">
                  <c:v>0.4459244712551278</c:v>
                </c:pt>
                <c:pt idx="235">
                  <c:v>0.44835529779061789</c:v>
                </c:pt>
                <c:pt idx="236">
                  <c:v>0.46099586758914257</c:v>
                </c:pt>
                <c:pt idx="237">
                  <c:v>0.46733703474884986</c:v>
                </c:pt>
                <c:pt idx="238">
                  <c:v>0.47999740139668939</c:v>
                </c:pt>
                <c:pt idx="239">
                  <c:v>0.47401024874445136</c:v>
                </c:pt>
                <c:pt idx="240">
                  <c:v>0.46838703905665907</c:v>
                </c:pt>
                <c:pt idx="241">
                  <c:v>0.45138721146478855</c:v>
                </c:pt>
                <c:pt idx="242">
                  <c:v>0.43466234408906246</c:v>
                </c:pt>
                <c:pt idx="243">
                  <c:v>0.43127599676879469</c:v>
                </c:pt>
                <c:pt idx="244">
                  <c:v>0.4295303758584339</c:v>
                </c:pt>
                <c:pt idx="245">
                  <c:v>0.41950377394622418</c:v>
                </c:pt>
                <c:pt idx="246">
                  <c:v>0.39552192681169984</c:v>
                </c:pt>
                <c:pt idx="247">
                  <c:v>0.38339606044182706</c:v>
                </c:pt>
                <c:pt idx="248">
                  <c:v>0.36760824474949028</c:v>
                </c:pt>
                <c:pt idx="249">
                  <c:v>0.36386684607195996</c:v>
                </c:pt>
                <c:pt idx="250">
                  <c:v>0.35613598707533467</c:v>
                </c:pt>
                <c:pt idx="251">
                  <c:v>0.3226613700662766</c:v>
                </c:pt>
                <c:pt idx="252">
                  <c:v>0.28905033145322839</c:v>
                </c:pt>
                <c:pt idx="253">
                  <c:v>0.26968027026222169</c:v>
                </c:pt>
                <c:pt idx="254">
                  <c:v>0.2473305387121304</c:v>
                </c:pt>
                <c:pt idx="255">
                  <c:v>0.26528506019902481</c:v>
                </c:pt>
                <c:pt idx="256">
                  <c:v>0.26435468883493096</c:v>
                </c:pt>
                <c:pt idx="257">
                  <c:v>0.26095076774391662</c:v>
                </c:pt>
                <c:pt idx="258">
                  <c:v>0.25886042904022188</c:v>
                </c:pt>
                <c:pt idx="259">
                  <c:v>0.26418931246307037</c:v>
                </c:pt>
                <c:pt idx="260">
                  <c:v>0.26431978050733373</c:v>
                </c:pt>
                <c:pt idx="261">
                  <c:v>0.26425345964190061</c:v>
                </c:pt>
                <c:pt idx="262">
                  <c:v>0.26968972666464675</c:v>
                </c:pt>
                <c:pt idx="263">
                  <c:v>0.26972008225711819</c:v>
                </c:pt>
                <c:pt idx="264">
                  <c:v>0.27240377167563173</c:v>
                </c:pt>
                <c:pt idx="265">
                  <c:v>0.2746467240754481</c:v>
                </c:pt>
                <c:pt idx="266">
                  <c:v>0.27418701987251781</c:v>
                </c:pt>
                <c:pt idx="267">
                  <c:v>0.28983174698301079</c:v>
                </c:pt>
                <c:pt idx="268">
                  <c:v>0.29773386099230487</c:v>
                </c:pt>
                <c:pt idx="269">
                  <c:v>0.30900863351125624</c:v>
                </c:pt>
                <c:pt idx="270">
                  <c:v>0.31328066658906917</c:v>
                </c:pt>
                <c:pt idx="271">
                  <c:v>0.318002994521213</c:v>
                </c:pt>
                <c:pt idx="272">
                  <c:v>0.31803834946080761</c:v>
                </c:pt>
                <c:pt idx="273">
                  <c:v>0.32647265175983037</c:v>
                </c:pt>
                <c:pt idx="274">
                  <c:v>0.33328036476871581</c:v>
                </c:pt>
                <c:pt idx="275">
                  <c:v>0.33173608649718778</c:v>
                </c:pt>
                <c:pt idx="276">
                  <c:v>0.34220857155897061</c:v>
                </c:pt>
                <c:pt idx="277">
                  <c:v>0.34176515947773212</c:v>
                </c:pt>
                <c:pt idx="278">
                  <c:v>0.33563367795407562</c:v>
                </c:pt>
                <c:pt idx="279">
                  <c:v>0.32822785826206596</c:v>
                </c:pt>
                <c:pt idx="280">
                  <c:v>0.32995268929214772</c:v>
                </c:pt>
                <c:pt idx="281">
                  <c:v>0.33871809879142611</c:v>
                </c:pt>
                <c:pt idx="282">
                  <c:v>0.33765975820499783</c:v>
                </c:pt>
                <c:pt idx="283">
                  <c:v>0.34560972864735179</c:v>
                </c:pt>
                <c:pt idx="284">
                  <c:v>0.3345105348200294</c:v>
                </c:pt>
                <c:pt idx="285">
                  <c:v>0.31905170130918936</c:v>
                </c:pt>
                <c:pt idx="286">
                  <c:v>0.31833892566627181</c:v>
                </c:pt>
                <c:pt idx="287">
                  <c:v>0.31793341313694717</c:v>
                </c:pt>
                <c:pt idx="288">
                  <c:v>0.31851674926978696</c:v>
                </c:pt>
                <c:pt idx="289">
                  <c:v>0.32810586263286945</c:v>
                </c:pt>
                <c:pt idx="290">
                  <c:v>0.32639973699108848</c:v>
                </c:pt>
                <c:pt idx="291">
                  <c:v>0.33996731138475644</c:v>
                </c:pt>
                <c:pt idx="292">
                  <c:v>0.33231622389491144</c:v>
                </c:pt>
                <c:pt idx="293">
                  <c:v>0.33343857667829502</c:v>
                </c:pt>
                <c:pt idx="294">
                  <c:v>0.33114619301202347</c:v>
                </c:pt>
                <c:pt idx="295">
                  <c:v>0.33054609447660266</c:v>
                </c:pt>
                <c:pt idx="296">
                  <c:v>0.33092097979768031</c:v>
                </c:pt>
                <c:pt idx="297">
                  <c:v>0.33079584093799758</c:v>
                </c:pt>
                <c:pt idx="298">
                  <c:v>0.31849862280031871</c:v>
                </c:pt>
                <c:pt idx="299">
                  <c:v>0.30791393913643644</c:v>
                </c:pt>
                <c:pt idx="300">
                  <c:v>0.30126689254491906</c:v>
                </c:pt>
                <c:pt idx="301">
                  <c:v>0.31128271120345186</c:v>
                </c:pt>
                <c:pt idx="302">
                  <c:v>0.31199329189636027</c:v>
                </c:pt>
                <c:pt idx="303">
                  <c:v>0.30573508479866141</c:v>
                </c:pt>
                <c:pt idx="304">
                  <c:v>0.30923681525128932</c:v>
                </c:pt>
                <c:pt idx="305">
                  <c:v>0.30829604438688596</c:v>
                </c:pt>
                <c:pt idx="306">
                  <c:v>0.29833822267912691</c:v>
                </c:pt>
                <c:pt idx="307">
                  <c:v>0.31184161832175539</c:v>
                </c:pt>
                <c:pt idx="308">
                  <c:v>0.31605788759202935</c:v>
                </c:pt>
                <c:pt idx="309">
                  <c:v>0.32073840874192378</c:v>
                </c:pt>
                <c:pt idx="310">
                  <c:v>0.32211957485503584</c:v>
                </c:pt>
                <c:pt idx="311">
                  <c:v>0.31078118041631858</c:v>
                </c:pt>
                <c:pt idx="312">
                  <c:v>0.30747394972589986</c:v>
                </c:pt>
                <c:pt idx="313">
                  <c:v>0.29171538628824933</c:v>
                </c:pt>
                <c:pt idx="314">
                  <c:v>0.291589121035008</c:v>
                </c:pt>
                <c:pt idx="315">
                  <c:v>0.31719934289416785</c:v>
                </c:pt>
                <c:pt idx="316">
                  <c:v>0.32780131962419506</c:v>
                </c:pt>
                <c:pt idx="317">
                  <c:v>0.3330347712802082</c:v>
                </c:pt>
                <c:pt idx="318">
                  <c:v>0.35176849895782109</c:v>
                </c:pt>
                <c:pt idx="319">
                  <c:v>0.34112318178848222</c:v>
                </c:pt>
                <c:pt idx="320">
                  <c:v>0.3410298089307886</c:v>
                </c:pt>
                <c:pt idx="321">
                  <c:v>0.33071841501520527</c:v>
                </c:pt>
                <c:pt idx="322">
                  <c:v>0.34066619280097754</c:v>
                </c:pt>
                <c:pt idx="323">
                  <c:v>0.33346374699801129</c:v>
                </c:pt>
                <c:pt idx="324">
                  <c:v>0.33622150209718249</c:v>
                </c:pt>
                <c:pt idx="325">
                  <c:v>0.34503077130876897</c:v>
                </c:pt>
                <c:pt idx="326">
                  <c:v>0.35767654474500826</c:v>
                </c:pt>
                <c:pt idx="327">
                  <c:v>0.34698138295341308</c:v>
                </c:pt>
                <c:pt idx="328">
                  <c:v>0.34441922082196458</c:v>
                </c:pt>
                <c:pt idx="329">
                  <c:v>0.34404115185372169</c:v>
                </c:pt>
                <c:pt idx="330">
                  <c:v>0.35941672304171157</c:v>
                </c:pt>
                <c:pt idx="331">
                  <c:v>0.35075476505026143</c:v>
                </c:pt>
                <c:pt idx="332">
                  <c:v>0.3631925087664486</c:v>
                </c:pt>
                <c:pt idx="333">
                  <c:v>0.36212244419092904</c:v>
                </c:pt>
                <c:pt idx="334">
                  <c:v>0.35070751536434375</c:v>
                </c:pt>
                <c:pt idx="335">
                  <c:v>0.36378526286651003</c:v>
                </c:pt>
                <c:pt idx="336">
                  <c:v>0.36893815052960233</c:v>
                </c:pt>
                <c:pt idx="337">
                  <c:v>0.38530116032610645</c:v>
                </c:pt>
                <c:pt idx="338">
                  <c:v>0.38019903144500605</c:v>
                </c:pt>
                <c:pt idx="339">
                  <c:v>0.3741304065556818</c:v>
                </c:pt>
                <c:pt idx="340">
                  <c:v>0.36886721633720837</c:v>
                </c:pt>
                <c:pt idx="341">
                  <c:v>0.36773561697661955</c:v>
                </c:pt>
                <c:pt idx="342">
                  <c:v>0.39370479199436831</c:v>
                </c:pt>
                <c:pt idx="343">
                  <c:v>0.39170049761797848</c:v>
                </c:pt>
                <c:pt idx="344">
                  <c:v>0.3982885176717566</c:v>
                </c:pt>
                <c:pt idx="345">
                  <c:v>0.38054466281800747</c:v>
                </c:pt>
                <c:pt idx="346">
                  <c:v>0.37403802904392147</c:v>
                </c:pt>
                <c:pt idx="347">
                  <c:v>0.36967371714602248</c:v>
                </c:pt>
                <c:pt idx="348">
                  <c:v>0.35222358648261926</c:v>
                </c:pt>
                <c:pt idx="349">
                  <c:v>0.3535501361540182</c:v>
                </c:pt>
                <c:pt idx="350">
                  <c:v>0.35348646324418914</c:v>
                </c:pt>
                <c:pt idx="351">
                  <c:v>0.35595019243406822</c:v>
                </c:pt>
                <c:pt idx="352">
                  <c:v>0.37327348851996173</c:v>
                </c:pt>
                <c:pt idx="353">
                  <c:v>0.37400431246381655</c:v>
                </c:pt>
                <c:pt idx="354">
                  <c:v>0.37225213106644156</c:v>
                </c:pt>
                <c:pt idx="355">
                  <c:v>0.36586271861594105</c:v>
                </c:pt>
                <c:pt idx="356">
                  <c:v>0.35271735334997018</c:v>
                </c:pt>
                <c:pt idx="357">
                  <c:v>0.353759932989748</c:v>
                </c:pt>
                <c:pt idx="358">
                  <c:v>0.36447719867233691</c:v>
                </c:pt>
                <c:pt idx="359">
                  <c:v>0.36425766711513974</c:v>
                </c:pt>
                <c:pt idx="360">
                  <c:v>0.34555374243518977</c:v>
                </c:pt>
                <c:pt idx="361">
                  <c:v>0.34291361270241882</c:v>
                </c:pt>
                <c:pt idx="362">
                  <c:v>0.32674889184029132</c:v>
                </c:pt>
                <c:pt idx="363">
                  <c:v>0.32685549078117804</c:v>
                </c:pt>
                <c:pt idx="364">
                  <c:v>0.33354162131777276</c:v>
                </c:pt>
                <c:pt idx="365">
                  <c:v>0.32618930064060903</c:v>
                </c:pt>
                <c:pt idx="366">
                  <c:v>0.32849375591271496</c:v>
                </c:pt>
                <c:pt idx="367">
                  <c:v>0.32160096879321781</c:v>
                </c:pt>
                <c:pt idx="368">
                  <c:v>0.32136704212912526</c:v>
                </c:pt>
                <c:pt idx="369">
                  <c:v>0.32471835475757282</c:v>
                </c:pt>
                <c:pt idx="370">
                  <c:v>0.32357456310426569</c:v>
                </c:pt>
                <c:pt idx="371">
                  <c:v>0.31883869224125666</c:v>
                </c:pt>
                <c:pt idx="372">
                  <c:v>0.29416924203735617</c:v>
                </c:pt>
                <c:pt idx="373">
                  <c:v>0.29755193509485023</c:v>
                </c:pt>
                <c:pt idx="374">
                  <c:v>0.29419093439127247</c:v>
                </c:pt>
                <c:pt idx="375">
                  <c:v>0.29331821673016245</c:v>
                </c:pt>
                <c:pt idx="376">
                  <c:v>0.29845181402546245</c:v>
                </c:pt>
                <c:pt idx="377">
                  <c:v>0.29961344545631696</c:v>
                </c:pt>
                <c:pt idx="378">
                  <c:v>0.30024805411020933</c:v>
                </c:pt>
                <c:pt idx="379">
                  <c:v>0.30133488709950101</c:v>
                </c:pt>
                <c:pt idx="380">
                  <c:v>0.30686114693600586</c:v>
                </c:pt>
                <c:pt idx="381">
                  <c:v>0.30088314790781945</c:v>
                </c:pt>
                <c:pt idx="382">
                  <c:v>0.29490326032684672</c:v>
                </c:pt>
                <c:pt idx="383">
                  <c:v>0.29766032301896433</c:v>
                </c:pt>
                <c:pt idx="384">
                  <c:v>0.29645559437694291</c:v>
                </c:pt>
                <c:pt idx="385">
                  <c:v>0.31131564764726083</c:v>
                </c:pt>
                <c:pt idx="386">
                  <c:v>0.31219841004240434</c:v>
                </c:pt>
                <c:pt idx="387">
                  <c:v>0.31073088731246318</c:v>
                </c:pt>
                <c:pt idx="388">
                  <c:v>0.30538191029932116</c:v>
                </c:pt>
                <c:pt idx="389">
                  <c:v>0.31036687969495469</c:v>
                </c:pt>
                <c:pt idx="390">
                  <c:v>0.32316978417659581</c:v>
                </c:pt>
                <c:pt idx="391">
                  <c:v>0.33518737736221543</c:v>
                </c:pt>
                <c:pt idx="392">
                  <c:v>0.3353788045182961</c:v>
                </c:pt>
                <c:pt idx="393">
                  <c:v>0.34516766250709618</c:v>
                </c:pt>
                <c:pt idx="394">
                  <c:v>0.33450396599541549</c:v>
                </c:pt>
                <c:pt idx="395">
                  <c:v>0.33528809113830615</c:v>
                </c:pt>
                <c:pt idx="396">
                  <c:v>0.32720666842078178</c:v>
                </c:pt>
                <c:pt idx="397">
                  <c:v>0.32171092215571973</c:v>
                </c:pt>
                <c:pt idx="398">
                  <c:v>0.32182868402248038</c:v>
                </c:pt>
                <c:pt idx="399">
                  <c:v>0.33790082682309791</c:v>
                </c:pt>
                <c:pt idx="400">
                  <c:v>0.33857987176967708</c:v>
                </c:pt>
                <c:pt idx="401">
                  <c:v>0.3478817639777872</c:v>
                </c:pt>
                <c:pt idx="402">
                  <c:v>0.35868228112615796</c:v>
                </c:pt>
                <c:pt idx="403">
                  <c:v>0.3541794949241216</c:v>
                </c:pt>
                <c:pt idx="404">
                  <c:v>0.3550200862770953</c:v>
                </c:pt>
                <c:pt idx="405">
                  <c:v>0.35439248586389954</c:v>
                </c:pt>
                <c:pt idx="406">
                  <c:v>0.34130946994813371</c:v>
                </c:pt>
                <c:pt idx="407">
                  <c:v>0.3413071404475338</c:v>
                </c:pt>
                <c:pt idx="408">
                  <c:v>0.34304975727824416</c:v>
                </c:pt>
                <c:pt idx="409">
                  <c:v>0.34093612492346681</c:v>
                </c:pt>
                <c:pt idx="410">
                  <c:v>0.33236770660162196</c:v>
                </c:pt>
                <c:pt idx="411">
                  <c:v>0.33186539564323581</c:v>
                </c:pt>
                <c:pt idx="412">
                  <c:v>0.30678984046337315</c:v>
                </c:pt>
                <c:pt idx="413">
                  <c:v>0.31658769563130906</c:v>
                </c:pt>
                <c:pt idx="414">
                  <c:v>0.32229658916871534</c:v>
                </c:pt>
                <c:pt idx="415">
                  <c:v>0.31298204625257642</c:v>
                </c:pt>
                <c:pt idx="416">
                  <c:v>0.31983988466490682</c:v>
                </c:pt>
                <c:pt idx="417">
                  <c:v>0.31949981399772809</c:v>
                </c:pt>
                <c:pt idx="418">
                  <c:v>0.34484504245254138</c:v>
                </c:pt>
                <c:pt idx="419">
                  <c:v>0.33641232353097267</c:v>
                </c:pt>
                <c:pt idx="420">
                  <c:v>0.33012351736781959</c:v>
                </c:pt>
                <c:pt idx="421">
                  <c:v>0.33572472375585533</c:v>
                </c:pt>
                <c:pt idx="422">
                  <c:v>0.36216467674783925</c:v>
                </c:pt>
                <c:pt idx="423">
                  <c:v>0.35125568398983054</c:v>
                </c:pt>
                <c:pt idx="424">
                  <c:v>0.36071785197453743</c:v>
                </c:pt>
                <c:pt idx="425">
                  <c:v>0.36193575875802064</c:v>
                </c:pt>
                <c:pt idx="426">
                  <c:v>0.36823666251997761</c:v>
                </c:pt>
                <c:pt idx="427">
                  <c:v>0.36189933396749441</c:v>
                </c:pt>
                <c:pt idx="428">
                  <c:v>0.36216579098936141</c:v>
                </c:pt>
                <c:pt idx="429">
                  <c:v>0.34697966078599701</c:v>
                </c:pt>
                <c:pt idx="430">
                  <c:v>0.36595846404344423</c:v>
                </c:pt>
                <c:pt idx="431">
                  <c:v>0.35788177966543661</c:v>
                </c:pt>
                <c:pt idx="432">
                  <c:v>0.34310406019079953</c:v>
                </c:pt>
                <c:pt idx="433">
                  <c:v>0.34537229007579251</c:v>
                </c:pt>
                <c:pt idx="434">
                  <c:v>0.33622085346502523</c:v>
                </c:pt>
                <c:pt idx="435">
                  <c:v>0.33585994333746633</c:v>
                </c:pt>
                <c:pt idx="436">
                  <c:v>0.34979234914534701</c:v>
                </c:pt>
                <c:pt idx="437">
                  <c:v>0.35767381300694445</c:v>
                </c:pt>
                <c:pt idx="438">
                  <c:v>0.35984807122918044</c:v>
                </c:pt>
                <c:pt idx="439">
                  <c:v>0.36437135087002448</c:v>
                </c:pt>
                <c:pt idx="440">
                  <c:v>0.38170486380073132</c:v>
                </c:pt>
                <c:pt idx="441">
                  <c:v>0.39695526291759614</c:v>
                </c:pt>
                <c:pt idx="442">
                  <c:v>0.39325460739272156</c:v>
                </c:pt>
                <c:pt idx="443">
                  <c:v>0.38259772100771777</c:v>
                </c:pt>
                <c:pt idx="444">
                  <c:v>0.37941773349022989</c:v>
                </c:pt>
                <c:pt idx="445">
                  <c:v>0.38391874248771507</c:v>
                </c:pt>
                <c:pt idx="446">
                  <c:v>0.3781853333761967</c:v>
                </c:pt>
                <c:pt idx="447">
                  <c:v>0.38547504451930703</c:v>
                </c:pt>
                <c:pt idx="448">
                  <c:v>0.36294888265989106</c:v>
                </c:pt>
                <c:pt idx="449">
                  <c:v>0.36175637301178154</c:v>
                </c:pt>
                <c:pt idx="450">
                  <c:v>0.36500867090938283</c:v>
                </c:pt>
                <c:pt idx="451">
                  <c:v>0.35234774931326912</c:v>
                </c:pt>
                <c:pt idx="452">
                  <c:v>0.32682372610377741</c:v>
                </c:pt>
                <c:pt idx="453">
                  <c:v>0.3362578220139833</c:v>
                </c:pt>
                <c:pt idx="454">
                  <c:v>0.33194457816852635</c:v>
                </c:pt>
                <c:pt idx="455">
                  <c:v>0.32869766245520221</c:v>
                </c:pt>
                <c:pt idx="456">
                  <c:v>0.31964672350046314</c:v>
                </c:pt>
                <c:pt idx="457">
                  <c:v>0.32679018447822855</c:v>
                </c:pt>
                <c:pt idx="458">
                  <c:v>0.33168500941810852</c:v>
                </c:pt>
                <c:pt idx="459">
                  <c:v>0.32627188835707166</c:v>
                </c:pt>
                <c:pt idx="460">
                  <c:v>0.30106943477708015</c:v>
                </c:pt>
                <c:pt idx="461">
                  <c:v>0.3044720792850264</c:v>
                </c:pt>
                <c:pt idx="462">
                  <c:v>0.31090486294279135</c:v>
                </c:pt>
                <c:pt idx="463">
                  <c:v>0.31857068246100007</c:v>
                </c:pt>
                <c:pt idx="464">
                  <c:v>0.3171871007332322</c:v>
                </c:pt>
                <c:pt idx="465">
                  <c:v>0.3163440374651722</c:v>
                </c:pt>
                <c:pt idx="466">
                  <c:v>0.29616061650389369</c:v>
                </c:pt>
                <c:pt idx="467">
                  <c:v>0.29087168057752499</c:v>
                </c:pt>
                <c:pt idx="468">
                  <c:v>0.30204509294151638</c:v>
                </c:pt>
                <c:pt idx="469">
                  <c:v>0.30241224746143575</c:v>
                </c:pt>
                <c:pt idx="470">
                  <c:v>0.28943392132468709</c:v>
                </c:pt>
                <c:pt idx="471">
                  <c:v>0.2761912880122574</c:v>
                </c:pt>
                <c:pt idx="472">
                  <c:v>0.29124795740059056</c:v>
                </c:pt>
                <c:pt idx="473">
                  <c:v>0.29495584138188241</c:v>
                </c:pt>
                <c:pt idx="474">
                  <c:v>0.29047671690629395</c:v>
                </c:pt>
                <c:pt idx="475">
                  <c:v>0.2904767169062939</c:v>
                </c:pt>
                <c:pt idx="476">
                  <c:v>0.28752533526651547</c:v>
                </c:pt>
                <c:pt idx="477">
                  <c:v>0.29667444465976173</c:v>
                </c:pt>
                <c:pt idx="478">
                  <c:v>0.29248247298790386</c:v>
                </c:pt>
                <c:pt idx="479">
                  <c:v>0.29818841949740188</c:v>
                </c:pt>
                <c:pt idx="480">
                  <c:v>0.29627248819581148</c:v>
                </c:pt>
                <c:pt idx="481">
                  <c:v>0.30377548680446215</c:v>
                </c:pt>
                <c:pt idx="482">
                  <c:v>0.3064652626460635</c:v>
                </c:pt>
                <c:pt idx="483">
                  <c:v>0.30113964810071442</c:v>
                </c:pt>
                <c:pt idx="484">
                  <c:v>0.30850832191123323</c:v>
                </c:pt>
                <c:pt idx="485">
                  <c:v>0.32753545932947176</c:v>
                </c:pt>
                <c:pt idx="486">
                  <c:v>0.33604157802696549</c:v>
                </c:pt>
                <c:pt idx="487">
                  <c:v>0.33891239670570705</c:v>
                </c:pt>
                <c:pt idx="488">
                  <c:v>0.33358512306174087</c:v>
                </c:pt>
                <c:pt idx="489">
                  <c:v>0.34804155298434802</c:v>
                </c:pt>
                <c:pt idx="490">
                  <c:v>0.35318297461584269</c:v>
                </c:pt>
                <c:pt idx="491">
                  <c:v>0.36411204427304261</c:v>
                </c:pt>
                <c:pt idx="492">
                  <c:v>0.35756091237343746</c:v>
                </c:pt>
                <c:pt idx="493">
                  <c:v>0.35194195465124084</c:v>
                </c:pt>
                <c:pt idx="494">
                  <c:v>0.35062382560540012</c:v>
                </c:pt>
                <c:pt idx="495">
                  <c:v>0.351361674000988</c:v>
                </c:pt>
                <c:pt idx="496">
                  <c:v>0.35297206896032352</c:v>
                </c:pt>
                <c:pt idx="497">
                  <c:v>0.34666876120338297</c:v>
                </c:pt>
                <c:pt idx="498">
                  <c:v>0.33812927561007428</c:v>
                </c:pt>
                <c:pt idx="499">
                  <c:v>0.3261282231710404</c:v>
                </c:pt>
                <c:pt idx="500">
                  <c:v>0.32880942182111611</c:v>
                </c:pt>
                <c:pt idx="501">
                  <c:v>0.33794733886767375</c:v>
                </c:pt>
                <c:pt idx="502">
                  <c:v>0.32433770286656494</c:v>
                </c:pt>
                <c:pt idx="503">
                  <c:v>0.31736981205909742</c:v>
                </c:pt>
                <c:pt idx="504">
                  <c:v>0.32320332414321146</c:v>
                </c:pt>
                <c:pt idx="505">
                  <c:v>0.32268643006943049</c:v>
                </c:pt>
                <c:pt idx="506">
                  <c:v>0.32229664832033789</c:v>
                </c:pt>
                <c:pt idx="507">
                  <c:v>0.32545389314736833</c:v>
                </c:pt>
                <c:pt idx="508">
                  <c:v>0.33134773007877999</c:v>
                </c:pt>
                <c:pt idx="509">
                  <c:v>0.3266910484165253</c:v>
                </c:pt>
                <c:pt idx="510">
                  <c:v>0.32692055307291173</c:v>
                </c:pt>
                <c:pt idx="511">
                  <c:v>0.31571272593660843</c:v>
                </c:pt>
                <c:pt idx="512">
                  <c:v>0.30636173450252413</c:v>
                </c:pt>
                <c:pt idx="513">
                  <c:v>0.30649798892630081</c:v>
                </c:pt>
                <c:pt idx="514">
                  <c:v>0.30399299396091706</c:v>
                </c:pt>
                <c:pt idx="515">
                  <c:v>0.30556957826937992</c:v>
                </c:pt>
                <c:pt idx="516">
                  <c:v>0.30428793175832813</c:v>
                </c:pt>
                <c:pt idx="517">
                  <c:v>0.2970174805212959</c:v>
                </c:pt>
                <c:pt idx="518">
                  <c:v>0.30507238451108021</c:v>
                </c:pt>
                <c:pt idx="519">
                  <c:v>0.294823745196862</c:v>
                </c:pt>
                <c:pt idx="520">
                  <c:v>0.28657364391596835</c:v>
                </c:pt>
                <c:pt idx="521">
                  <c:v>0.27771743145511019</c:v>
                </c:pt>
                <c:pt idx="522">
                  <c:v>0.27792259404086822</c:v>
                </c:pt>
                <c:pt idx="523">
                  <c:v>0.27836784687183436</c:v>
                </c:pt>
                <c:pt idx="524">
                  <c:v>0.2922605303166998</c:v>
                </c:pt>
                <c:pt idx="525">
                  <c:v>0.29331031721832673</c:v>
                </c:pt>
                <c:pt idx="526">
                  <c:v>0.29457397871008945</c:v>
                </c:pt>
                <c:pt idx="527">
                  <c:v>0.30248479728665056</c:v>
                </c:pt>
                <c:pt idx="528">
                  <c:v>0.30427832689175954</c:v>
                </c:pt>
                <c:pt idx="529">
                  <c:v>0.30549362976152722</c:v>
                </c:pt>
                <c:pt idx="530">
                  <c:v>0.29711334317170085</c:v>
                </c:pt>
                <c:pt idx="531">
                  <c:v>0.29204596985007331</c:v>
                </c:pt>
                <c:pt idx="532">
                  <c:v>0.2938999910488605</c:v>
                </c:pt>
                <c:pt idx="533">
                  <c:v>0.29653382996935457</c:v>
                </c:pt>
                <c:pt idx="534">
                  <c:v>0.28211481849789083</c:v>
                </c:pt>
                <c:pt idx="535">
                  <c:v>0.27456798827146561</c:v>
                </c:pt>
                <c:pt idx="536">
                  <c:v>0.27404234148837692</c:v>
                </c:pt>
                <c:pt idx="537">
                  <c:v>0.26192387292151875</c:v>
                </c:pt>
                <c:pt idx="538">
                  <c:v>0.25834550687101604</c:v>
                </c:pt>
                <c:pt idx="539">
                  <c:v>0.26501880773926706</c:v>
                </c:pt>
                <c:pt idx="540">
                  <c:v>0.26640275370659239</c:v>
                </c:pt>
                <c:pt idx="541">
                  <c:v>0.26747319711787398</c:v>
                </c:pt>
                <c:pt idx="542">
                  <c:v>0.27832448564029544</c:v>
                </c:pt>
                <c:pt idx="543">
                  <c:v>0.28626590805585145</c:v>
                </c:pt>
                <c:pt idx="544">
                  <c:v>0.28489454897785876</c:v>
                </c:pt>
                <c:pt idx="545">
                  <c:v>0.27018133919289633</c:v>
                </c:pt>
                <c:pt idx="546">
                  <c:v>0.26351280417914053</c:v>
                </c:pt>
                <c:pt idx="547">
                  <c:v>0.26525549272254395</c:v>
                </c:pt>
                <c:pt idx="548">
                  <c:v>0.25899610732045208</c:v>
                </c:pt>
                <c:pt idx="549">
                  <c:v>0.25457180908180538</c:v>
                </c:pt>
                <c:pt idx="550">
                  <c:v>0.24995118261773291</c:v>
                </c:pt>
                <c:pt idx="551">
                  <c:v>0.24693532501478352</c:v>
                </c:pt>
                <c:pt idx="552">
                  <c:v>0.24833771579330019</c:v>
                </c:pt>
                <c:pt idx="553">
                  <c:v>0.25009859572008153</c:v>
                </c:pt>
                <c:pt idx="554">
                  <c:v>0.23743376229396887</c:v>
                </c:pt>
                <c:pt idx="555">
                  <c:v>0.23522867106157858</c:v>
                </c:pt>
                <c:pt idx="556">
                  <c:v>0.23140023261017234</c:v>
                </c:pt>
                <c:pt idx="557">
                  <c:v>0.22468723298222237</c:v>
                </c:pt>
                <c:pt idx="558">
                  <c:v>0.23662963492845246</c:v>
                </c:pt>
                <c:pt idx="559">
                  <c:v>0.2371416796534937</c:v>
                </c:pt>
                <c:pt idx="560">
                  <c:v>0.25392675512017249</c:v>
                </c:pt>
                <c:pt idx="561">
                  <c:v>0.25428735534538377</c:v>
                </c:pt>
                <c:pt idx="562">
                  <c:v>0.27042097619491567</c:v>
                </c:pt>
                <c:pt idx="563">
                  <c:v>0.2669846877071485</c:v>
                </c:pt>
                <c:pt idx="564">
                  <c:v>0.26542439867172973</c:v>
                </c:pt>
                <c:pt idx="565">
                  <c:v>0.26580478966628523</c:v>
                </c:pt>
                <c:pt idx="566">
                  <c:v>0.27911555293180734</c:v>
                </c:pt>
                <c:pt idx="567">
                  <c:v>0.29677524888467488</c:v>
                </c:pt>
                <c:pt idx="568">
                  <c:v>0.29412155367643594</c:v>
                </c:pt>
                <c:pt idx="569">
                  <c:v>0.31549149580920127</c:v>
                </c:pt>
                <c:pt idx="570">
                  <c:v>0.35465468945540329</c:v>
                </c:pt>
                <c:pt idx="571">
                  <c:v>0.39493893633904087</c:v>
                </c:pt>
                <c:pt idx="572">
                  <c:v>0.42014724874322051</c:v>
                </c:pt>
                <c:pt idx="573">
                  <c:v>0.42128556983212456</c:v>
                </c:pt>
                <c:pt idx="574">
                  <c:v>0.45559765840171756</c:v>
                </c:pt>
                <c:pt idx="575">
                  <c:v>0.47261498918673661</c:v>
                </c:pt>
                <c:pt idx="576">
                  <c:v>0.49714033023296161</c:v>
                </c:pt>
                <c:pt idx="577">
                  <c:v>0.51383466806677036</c:v>
                </c:pt>
                <c:pt idx="578">
                  <c:v>0.52985859412932801</c:v>
                </c:pt>
                <c:pt idx="579">
                  <c:v>0.54825236534009736</c:v>
                </c:pt>
                <c:pt idx="580">
                  <c:v>0.5503892144778969</c:v>
                </c:pt>
                <c:pt idx="581">
                  <c:v>0.54779621038680892</c:v>
                </c:pt>
                <c:pt idx="582">
                  <c:v>0.56338340924438923</c:v>
                </c:pt>
                <c:pt idx="583">
                  <c:v>0.54859208459192055</c:v>
                </c:pt>
                <c:pt idx="584">
                  <c:v>0.54142763434985297</c:v>
                </c:pt>
                <c:pt idx="585">
                  <c:v>0.53151759531704312</c:v>
                </c:pt>
                <c:pt idx="586">
                  <c:v>0.51109299772526606</c:v>
                </c:pt>
                <c:pt idx="587">
                  <c:v>0.52008757200071898</c:v>
                </c:pt>
                <c:pt idx="588">
                  <c:v>0.5213097229604754</c:v>
                </c:pt>
                <c:pt idx="589">
                  <c:v>0.49552503300856432</c:v>
                </c:pt>
                <c:pt idx="590">
                  <c:v>0.49686104721957869</c:v>
                </c:pt>
                <c:pt idx="591">
                  <c:v>0.4904223296313765</c:v>
                </c:pt>
                <c:pt idx="592">
                  <c:v>0.43478630216903069</c:v>
                </c:pt>
                <c:pt idx="593">
                  <c:v>0.41990719435129398</c:v>
                </c:pt>
                <c:pt idx="594">
                  <c:v>0.40234328565804345</c:v>
                </c:pt>
                <c:pt idx="595">
                  <c:v>0.36109466886512542</c:v>
                </c:pt>
                <c:pt idx="596">
                  <c:v>0.2502542848559251</c:v>
                </c:pt>
                <c:pt idx="597">
                  <c:v>0.24134553303237002</c:v>
                </c:pt>
                <c:pt idx="598">
                  <c:v>0.17996989386698684</c:v>
                </c:pt>
                <c:pt idx="599">
                  <c:v>0.17087852936393166</c:v>
                </c:pt>
                <c:pt idx="600">
                  <c:v>0.1747373986077406</c:v>
                </c:pt>
                <c:pt idx="601">
                  <c:v>0.17761777629318282</c:v>
                </c:pt>
                <c:pt idx="602">
                  <c:v>0.17905333073733201</c:v>
                </c:pt>
                <c:pt idx="603">
                  <c:v>0.1689787862552084</c:v>
                </c:pt>
                <c:pt idx="604">
                  <c:v>0.1694513082652967</c:v>
                </c:pt>
                <c:pt idx="605">
                  <c:v>0.17541995590960582</c:v>
                </c:pt>
                <c:pt idx="606">
                  <c:v>0.18088581227474379</c:v>
                </c:pt>
                <c:pt idx="607">
                  <c:v>0.18088347077413308</c:v>
                </c:pt>
                <c:pt idx="608">
                  <c:v>0.18448812349123767</c:v>
                </c:pt>
                <c:pt idx="609">
                  <c:v>0.172484514867141</c:v>
                </c:pt>
                <c:pt idx="610">
                  <c:v>0.17433912311978644</c:v>
                </c:pt>
                <c:pt idx="611">
                  <c:v>0.18026038930290933</c:v>
                </c:pt>
                <c:pt idx="612">
                  <c:v>0.17729075189757981</c:v>
                </c:pt>
                <c:pt idx="613">
                  <c:v>0.1709413742896039</c:v>
                </c:pt>
                <c:pt idx="614">
                  <c:v>0.18949963141373413</c:v>
                </c:pt>
                <c:pt idx="615">
                  <c:v>0.23513723966153791</c:v>
                </c:pt>
                <c:pt idx="616">
                  <c:v>0.26172718228695668</c:v>
                </c:pt>
                <c:pt idx="617">
                  <c:v>0.35476590518708206</c:v>
                </c:pt>
                <c:pt idx="618">
                  <c:v>0.40903717639368137</c:v>
                </c:pt>
                <c:pt idx="619">
                  <c:v>0.44437628196311441</c:v>
                </c:pt>
                <c:pt idx="620">
                  <c:v>0.48092496921297928</c:v>
                </c:pt>
                <c:pt idx="621">
                  <c:v>0.53957440662383682</c:v>
                </c:pt>
                <c:pt idx="622">
                  <c:v>0.54354064125381973</c:v>
                </c:pt>
                <c:pt idx="623">
                  <c:v>0.54444953263236373</c:v>
                </c:pt>
                <c:pt idx="624">
                  <c:v>0.54837599009184179</c:v>
                </c:pt>
                <c:pt idx="625">
                  <c:v>0.55413129525864591</c:v>
                </c:pt>
                <c:pt idx="626">
                  <c:v>0.55114811578115153</c:v>
                </c:pt>
                <c:pt idx="627">
                  <c:v>0.55759500226512249</c:v>
                </c:pt>
                <c:pt idx="628">
                  <c:v>0.5537560644017836</c:v>
                </c:pt>
                <c:pt idx="629">
                  <c:v>0.541816511387056</c:v>
                </c:pt>
                <c:pt idx="630">
                  <c:v>0.5409671951992201</c:v>
                </c:pt>
                <c:pt idx="631">
                  <c:v>0.53982389798545483</c:v>
                </c:pt>
                <c:pt idx="632">
                  <c:v>0.53243354635340079</c:v>
                </c:pt>
                <c:pt idx="633">
                  <c:v>0.51934474234093764</c:v>
                </c:pt>
                <c:pt idx="634">
                  <c:v>0.49849819749695368</c:v>
                </c:pt>
                <c:pt idx="635">
                  <c:v>0.4947489227218822</c:v>
                </c:pt>
                <c:pt idx="636">
                  <c:v>0.49884529636061348</c:v>
                </c:pt>
                <c:pt idx="637">
                  <c:v>0.48632675262797131</c:v>
                </c:pt>
                <c:pt idx="638">
                  <c:v>0.47536478562623879</c:v>
                </c:pt>
                <c:pt idx="639">
                  <c:v>0.45608629445470594</c:v>
                </c:pt>
                <c:pt idx="640">
                  <c:v>0.42695772084743305</c:v>
                </c:pt>
                <c:pt idx="641">
                  <c:v>0.37715823070891175</c:v>
                </c:pt>
                <c:pt idx="642">
                  <c:v>0.35581452312376782</c:v>
                </c:pt>
                <c:pt idx="643">
                  <c:v>0.31554611016143885</c:v>
                </c:pt>
                <c:pt idx="644">
                  <c:v>0.32065856658554254</c:v>
                </c:pt>
                <c:pt idx="645">
                  <c:v>0.3233379360508632</c:v>
                </c:pt>
                <c:pt idx="646">
                  <c:v>0.32481695586373605</c:v>
                </c:pt>
                <c:pt idx="647">
                  <c:v>0.31077554079674102</c:v>
                </c:pt>
                <c:pt idx="648">
                  <c:v>0.30462120522406455</c:v>
                </c:pt>
                <c:pt idx="649">
                  <c:v>0.30968080051193603</c:v>
                </c:pt>
                <c:pt idx="650">
                  <c:v>0.30865459827088504</c:v>
                </c:pt>
                <c:pt idx="651">
                  <c:v>0.28146023128568631</c:v>
                </c:pt>
                <c:pt idx="652">
                  <c:v>0.29873017263194385</c:v>
                </c:pt>
                <c:pt idx="653">
                  <c:v>0.31293418665061884</c:v>
                </c:pt>
                <c:pt idx="654">
                  <c:v>0.3144746013104795</c:v>
                </c:pt>
                <c:pt idx="655">
                  <c:v>0.30405623242780655</c:v>
                </c:pt>
                <c:pt idx="656">
                  <c:v>0.30459056837569792</c:v>
                </c:pt>
                <c:pt idx="657">
                  <c:v>0.29604600570307116</c:v>
                </c:pt>
                <c:pt idx="658">
                  <c:v>0.30193149607594161</c:v>
                </c:pt>
                <c:pt idx="659">
                  <c:v>0.29836614404190043</c:v>
                </c:pt>
                <c:pt idx="660">
                  <c:v>0.29783508820047039</c:v>
                </c:pt>
                <c:pt idx="661">
                  <c:v>0.32279180187351414</c:v>
                </c:pt>
                <c:pt idx="662">
                  <c:v>0.31587246588372647</c:v>
                </c:pt>
                <c:pt idx="663">
                  <c:v>0.31309004013925901</c:v>
                </c:pt>
                <c:pt idx="664">
                  <c:v>0.32432050446439531</c:v>
                </c:pt>
                <c:pt idx="665">
                  <c:v>0.32109688110012369</c:v>
                </c:pt>
                <c:pt idx="666">
                  <c:v>0.31413047734904764</c:v>
                </c:pt>
                <c:pt idx="667">
                  <c:v>0.3258553237489254</c:v>
                </c:pt>
                <c:pt idx="668">
                  <c:v>0.33783802292601212</c:v>
                </c:pt>
                <c:pt idx="669">
                  <c:v>0.3525183835356685</c:v>
                </c:pt>
                <c:pt idx="670">
                  <c:v>0.34758580055737748</c:v>
                </c:pt>
                <c:pt idx="671">
                  <c:v>0.34674142252922313</c:v>
                </c:pt>
                <c:pt idx="672">
                  <c:v>0.34842123047550239</c:v>
                </c:pt>
                <c:pt idx="673">
                  <c:v>0.34179703662089411</c:v>
                </c:pt>
                <c:pt idx="674">
                  <c:v>0.32870643423911372</c:v>
                </c:pt>
                <c:pt idx="675">
                  <c:v>0.32551010126386853</c:v>
                </c:pt>
                <c:pt idx="676">
                  <c:v>0.32021061517658594</c:v>
                </c:pt>
                <c:pt idx="677">
                  <c:v>0.32635459307414094</c:v>
                </c:pt>
                <c:pt idx="678">
                  <c:v>0.33254686596561867</c:v>
                </c:pt>
                <c:pt idx="679">
                  <c:v>0.32191814274313424</c:v>
                </c:pt>
                <c:pt idx="680">
                  <c:v>0.32270315803963129</c:v>
                </c:pt>
                <c:pt idx="681">
                  <c:v>0.31430162875489392</c:v>
                </c:pt>
                <c:pt idx="682">
                  <c:v>0.30432171944929293</c:v>
                </c:pt>
                <c:pt idx="683">
                  <c:v>0.30387791028036987</c:v>
                </c:pt>
                <c:pt idx="684">
                  <c:v>0.30383705098036018</c:v>
                </c:pt>
                <c:pt idx="685">
                  <c:v>0.30423806355459576</c:v>
                </c:pt>
                <c:pt idx="686">
                  <c:v>0.3101978676750628</c:v>
                </c:pt>
                <c:pt idx="687">
                  <c:v>0.31858632096857437</c:v>
                </c:pt>
                <c:pt idx="688">
                  <c:v>0.31884626725650178</c:v>
                </c:pt>
                <c:pt idx="689">
                  <c:v>0.32182586436376687</c:v>
                </c:pt>
                <c:pt idx="690">
                  <c:v>0.32150848305454943</c:v>
                </c:pt>
                <c:pt idx="691">
                  <c:v>0.30778557234807424</c:v>
                </c:pt>
                <c:pt idx="692">
                  <c:v>0.31100275765118518</c:v>
                </c:pt>
                <c:pt idx="693">
                  <c:v>0.30949462305925191</c:v>
                </c:pt>
                <c:pt idx="694">
                  <c:v>0.2941468450646138</c:v>
                </c:pt>
                <c:pt idx="695">
                  <c:v>0.29493812848323647</c:v>
                </c:pt>
                <c:pt idx="696">
                  <c:v>0.29205123939515337</c:v>
                </c:pt>
                <c:pt idx="697">
                  <c:v>0.26590026509038417</c:v>
                </c:pt>
                <c:pt idx="698">
                  <c:v>0.26592009296338609</c:v>
                </c:pt>
                <c:pt idx="699">
                  <c:v>0.25173204955278772</c:v>
                </c:pt>
                <c:pt idx="700">
                  <c:v>0.24836607651945242</c:v>
                </c:pt>
                <c:pt idx="701">
                  <c:v>0.24836614900020917</c:v>
                </c:pt>
                <c:pt idx="702">
                  <c:v>0.24120272917797045</c:v>
                </c:pt>
                <c:pt idx="703">
                  <c:v>0.24196425482715314</c:v>
                </c:pt>
                <c:pt idx="704">
                  <c:v>0.24348945184479906</c:v>
                </c:pt>
                <c:pt idx="705">
                  <c:v>0.24392197280154707</c:v>
                </c:pt>
                <c:pt idx="706">
                  <c:v>0.2761234501742007</c:v>
                </c:pt>
                <c:pt idx="707">
                  <c:v>0.27262848773276649</c:v>
                </c:pt>
                <c:pt idx="708">
                  <c:v>0.27233678307262893</c:v>
                </c:pt>
                <c:pt idx="709">
                  <c:v>0.27859600259961825</c:v>
                </c:pt>
                <c:pt idx="710">
                  <c:v>0.27826172528636062</c:v>
                </c:pt>
                <c:pt idx="711">
                  <c:v>0.27597559536659771</c:v>
                </c:pt>
                <c:pt idx="712">
                  <c:v>0.27752648411930175</c:v>
                </c:pt>
                <c:pt idx="713">
                  <c:v>0.27315687059688498</c:v>
                </c:pt>
                <c:pt idx="714">
                  <c:v>0.29402953173803548</c:v>
                </c:pt>
                <c:pt idx="715">
                  <c:v>0.2936798850791727</c:v>
                </c:pt>
                <c:pt idx="716">
                  <c:v>0.28313126921976811</c:v>
                </c:pt>
                <c:pt idx="717">
                  <c:v>0.27734468777563404</c:v>
                </c:pt>
                <c:pt idx="718">
                  <c:v>0.27489009224754668</c:v>
                </c:pt>
                <c:pt idx="719">
                  <c:v>0.28739760824533267</c:v>
                </c:pt>
                <c:pt idx="720">
                  <c:v>0.28902750443564612</c:v>
                </c:pt>
                <c:pt idx="721">
                  <c:v>0.29322246157332199</c:v>
                </c:pt>
                <c:pt idx="722">
                  <c:v>0.29160139867210028</c:v>
                </c:pt>
                <c:pt idx="723">
                  <c:v>0.29385482699104337</c:v>
                </c:pt>
                <c:pt idx="724">
                  <c:v>0.29245273430203689</c:v>
                </c:pt>
                <c:pt idx="725">
                  <c:v>0.28399032702698879</c:v>
                </c:pt>
                <c:pt idx="726">
                  <c:v>0.28320365486101967</c:v>
                </c:pt>
                <c:pt idx="727">
                  <c:v>0.28369184145714854</c:v>
                </c:pt>
                <c:pt idx="728">
                  <c:v>0.28200800091249623</c:v>
                </c:pt>
                <c:pt idx="729">
                  <c:v>0.28398002376315507</c:v>
                </c:pt>
                <c:pt idx="730">
                  <c:v>0.29192181984592858</c:v>
                </c:pt>
                <c:pt idx="731">
                  <c:v>0.29354782796335316</c:v>
                </c:pt>
                <c:pt idx="732">
                  <c:v>0.29349972947533698</c:v>
                </c:pt>
                <c:pt idx="733">
                  <c:v>0.2926516102700788</c:v>
                </c:pt>
                <c:pt idx="734">
                  <c:v>0.29231484257872614</c:v>
                </c:pt>
                <c:pt idx="735">
                  <c:v>0.28984175589626082</c:v>
                </c:pt>
                <c:pt idx="736">
                  <c:v>0.2795836368816571</c:v>
                </c:pt>
                <c:pt idx="737">
                  <c:v>0.27590149257659702</c:v>
                </c:pt>
                <c:pt idx="738">
                  <c:v>0.27442704536369134</c:v>
                </c:pt>
                <c:pt idx="739">
                  <c:v>0.26212700088783736</c:v>
                </c:pt>
                <c:pt idx="740">
                  <c:v>0.27206598772779328</c:v>
                </c:pt>
                <c:pt idx="741">
                  <c:v>0.27286563428425503</c:v>
                </c:pt>
                <c:pt idx="742">
                  <c:v>0.26546244212844033</c:v>
                </c:pt>
                <c:pt idx="743">
                  <c:v>0.2689942208198482</c:v>
                </c:pt>
                <c:pt idx="744">
                  <c:v>0.24733236067001874</c:v>
                </c:pt>
                <c:pt idx="745">
                  <c:v>0.2624351309014985</c:v>
                </c:pt>
                <c:pt idx="746">
                  <c:v>0.26198518727904041</c:v>
                </c:pt>
                <c:pt idx="747">
                  <c:v>0.25859292872311929</c:v>
                </c:pt>
                <c:pt idx="748">
                  <c:v>0.25754831286146979</c:v>
                </c:pt>
                <c:pt idx="749">
                  <c:v>0.26939512357808965</c:v>
                </c:pt>
                <c:pt idx="750">
                  <c:v>0.27347232830726642</c:v>
                </c:pt>
                <c:pt idx="751">
                  <c:v>0.27793976993921354</c:v>
                </c:pt>
                <c:pt idx="752">
                  <c:v>0.27808234710782687</c:v>
                </c:pt>
                <c:pt idx="753">
                  <c:v>0.27835388460935812</c:v>
                </c:pt>
                <c:pt idx="754">
                  <c:v>0.27123005266996014</c:v>
                </c:pt>
                <c:pt idx="755">
                  <c:v>0.29858793045927934</c:v>
                </c:pt>
                <c:pt idx="756">
                  <c:v>0.29887062385956908</c:v>
                </c:pt>
                <c:pt idx="757">
                  <c:v>0.3024094513910684</c:v>
                </c:pt>
                <c:pt idx="758">
                  <c:v>0.30258647874239081</c:v>
                </c:pt>
                <c:pt idx="759">
                  <c:v>0.30224131859025172</c:v>
                </c:pt>
                <c:pt idx="760">
                  <c:v>0.30145597225753179</c:v>
                </c:pt>
                <c:pt idx="761">
                  <c:v>0.29986027827632</c:v>
                </c:pt>
                <c:pt idx="762">
                  <c:v>0.29977934396181588</c:v>
                </c:pt>
                <c:pt idx="763">
                  <c:v>0.2982177777166633</c:v>
                </c:pt>
                <c:pt idx="764">
                  <c:v>0.29569650527032154</c:v>
                </c:pt>
                <c:pt idx="765">
                  <c:v>0.30122982066060627</c:v>
                </c:pt>
                <c:pt idx="766">
                  <c:v>0.29034758345090822</c:v>
                </c:pt>
                <c:pt idx="767">
                  <c:v>0.29122064051912194</c:v>
                </c:pt>
                <c:pt idx="768">
                  <c:v>0.27729318989797269</c:v>
                </c:pt>
                <c:pt idx="769">
                  <c:v>0.28125927467480538</c:v>
                </c:pt>
                <c:pt idx="770">
                  <c:v>0.27094425287136886</c:v>
                </c:pt>
                <c:pt idx="771">
                  <c:v>0.27290997217212171</c:v>
                </c:pt>
                <c:pt idx="772">
                  <c:v>0.30372575946902469</c:v>
                </c:pt>
                <c:pt idx="773">
                  <c:v>0.30207405115986435</c:v>
                </c:pt>
                <c:pt idx="774">
                  <c:v>0.31647621195767228</c:v>
                </c:pt>
                <c:pt idx="775">
                  <c:v>0.31271905566897928</c:v>
                </c:pt>
                <c:pt idx="776">
                  <c:v>0.30984037855624436</c:v>
                </c:pt>
                <c:pt idx="777">
                  <c:v>0.31133904767302906</c:v>
                </c:pt>
                <c:pt idx="778">
                  <c:v>0.31077333044288785</c:v>
                </c:pt>
                <c:pt idx="779">
                  <c:v>0.28839399283601291</c:v>
                </c:pt>
                <c:pt idx="780">
                  <c:v>0.28654381551918195</c:v>
                </c:pt>
                <c:pt idx="781">
                  <c:v>0.27785270845862808</c:v>
                </c:pt>
                <c:pt idx="782">
                  <c:v>0.27803489173225243</c:v>
                </c:pt>
                <c:pt idx="783">
                  <c:v>0.27597708001433435</c:v>
                </c:pt>
                <c:pt idx="784">
                  <c:v>0.27801921553762915</c:v>
                </c:pt>
                <c:pt idx="785">
                  <c:v>0.25096900643032721</c:v>
                </c:pt>
                <c:pt idx="786">
                  <c:v>0.24952747042691237</c:v>
                </c:pt>
                <c:pt idx="787">
                  <c:v>0.24308939251543002</c:v>
                </c:pt>
                <c:pt idx="788">
                  <c:v>0.26975957541297968</c:v>
                </c:pt>
                <c:pt idx="789">
                  <c:v>0.28336652376896482</c:v>
                </c:pt>
                <c:pt idx="790">
                  <c:v>0.2942741785070801</c:v>
                </c:pt>
                <c:pt idx="791">
                  <c:v>0.31097092836030021</c:v>
                </c:pt>
                <c:pt idx="792">
                  <c:v>0.31815418443457383</c:v>
                </c:pt>
                <c:pt idx="793">
                  <c:v>0.32060338169985325</c:v>
                </c:pt>
                <c:pt idx="794">
                  <c:v>0.32575046538094804</c:v>
                </c:pt>
                <c:pt idx="795">
                  <c:v>0.32079313393864478</c:v>
                </c:pt>
                <c:pt idx="796">
                  <c:v>0.32205484180092275</c:v>
                </c:pt>
                <c:pt idx="797">
                  <c:v>0.32261225333625337</c:v>
                </c:pt>
                <c:pt idx="798">
                  <c:v>0.33552039237929715</c:v>
                </c:pt>
                <c:pt idx="799">
                  <c:v>0.33327022425969222</c:v>
                </c:pt>
                <c:pt idx="800">
                  <c:v>0.34933691681268048</c:v>
                </c:pt>
                <c:pt idx="801">
                  <c:v>0.3459866084099964</c:v>
                </c:pt>
                <c:pt idx="802">
                  <c:v>0.32227726488386133</c:v>
                </c:pt>
                <c:pt idx="803">
                  <c:v>0.32949617949187832</c:v>
                </c:pt>
                <c:pt idx="804">
                  <c:v>0.3178649197595495</c:v>
                </c:pt>
                <c:pt idx="805">
                  <c:v>0.30952934644170649</c:v>
                </c:pt>
                <c:pt idx="806">
                  <c:v>0.31142454963410687</c:v>
                </c:pt>
                <c:pt idx="807">
                  <c:v>0.30956584817469768</c:v>
                </c:pt>
                <c:pt idx="808">
                  <c:v>0.30872125511135895</c:v>
                </c:pt>
                <c:pt idx="809">
                  <c:v>0.31847737691719669</c:v>
                </c:pt>
                <c:pt idx="810">
                  <c:v>0.31987881906724486</c:v>
                </c:pt>
                <c:pt idx="811">
                  <c:v>0.31974011769267496</c:v>
                </c:pt>
                <c:pt idx="812">
                  <c:v>0.32156492479332588</c:v>
                </c:pt>
                <c:pt idx="813">
                  <c:v>0.32921174889302207</c:v>
                </c:pt>
                <c:pt idx="814">
                  <c:v>0.34026259539343345</c:v>
                </c:pt>
                <c:pt idx="815">
                  <c:v>0.34045225487355457</c:v>
                </c:pt>
                <c:pt idx="816">
                  <c:v>0.34467610547077465</c:v>
                </c:pt>
                <c:pt idx="817">
                  <c:v>0.34458085928201987</c:v>
                </c:pt>
                <c:pt idx="818">
                  <c:v>0.32227545292020671</c:v>
                </c:pt>
                <c:pt idx="819">
                  <c:v>0.31340260037294165</c:v>
                </c:pt>
                <c:pt idx="820">
                  <c:v>0.29533344353656354</c:v>
                </c:pt>
                <c:pt idx="821">
                  <c:v>0.28440307839082124</c:v>
                </c:pt>
                <c:pt idx="822">
                  <c:v>0.27716429430293504</c:v>
                </c:pt>
                <c:pt idx="823">
                  <c:v>0.29341902080330834</c:v>
                </c:pt>
                <c:pt idx="824">
                  <c:v>0.29145726812054112</c:v>
                </c:pt>
                <c:pt idx="825">
                  <c:v>0.29215251428705657</c:v>
                </c:pt>
                <c:pt idx="826">
                  <c:v>0.30085637989753838</c:v>
                </c:pt>
                <c:pt idx="827">
                  <c:v>0.30245586048391931</c:v>
                </c:pt>
                <c:pt idx="828">
                  <c:v>0.28438825515846161</c:v>
                </c:pt>
                <c:pt idx="829">
                  <c:v>0.28609451651233192</c:v>
                </c:pt>
                <c:pt idx="830">
                  <c:v>0.26434342303228175</c:v>
                </c:pt>
                <c:pt idx="831">
                  <c:v>0.28014695680266233</c:v>
                </c:pt>
                <c:pt idx="832">
                  <c:v>0.28077852087168487</c:v>
                </c:pt>
                <c:pt idx="833">
                  <c:v>0.27153144630544623</c:v>
                </c:pt>
                <c:pt idx="834">
                  <c:v>0.27613389356650525</c:v>
                </c:pt>
                <c:pt idx="835">
                  <c:v>0.2918424941041764</c:v>
                </c:pt>
                <c:pt idx="836">
                  <c:v>0.29130808690652354</c:v>
                </c:pt>
                <c:pt idx="837">
                  <c:v>0.29130975082454175</c:v>
                </c:pt>
                <c:pt idx="838">
                  <c:v>0.29123462436509479</c:v>
                </c:pt>
                <c:pt idx="839">
                  <c:v>0.31308149132440499</c:v>
                </c:pt>
                <c:pt idx="840">
                  <c:v>0.31707827993864585</c:v>
                </c:pt>
                <c:pt idx="841">
                  <c:v>0.32024872534994586</c:v>
                </c:pt>
                <c:pt idx="842">
                  <c:v>0.31883164735477199</c:v>
                </c:pt>
                <c:pt idx="843">
                  <c:v>0.31870618897831299</c:v>
                </c:pt>
                <c:pt idx="844">
                  <c:v>0.3058401252360875</c:v>
                </c:pt>
                <c:pt idx="845">
                  <c:v>0.30926874755929579</c:v>
                </c:pt>
                <c:pt idx="846">
                  <c:v>0.30335628796268971</c:v>
                </c:pt>
                <c:pt idx="847">
                  <c:v>0.30600676413148215</c:v>
                </c:pt>
                <c:pt idx="848">
                  <c:v>0.31049884144572193</c:v>
                </c:pt>
                <c:pt idx="849">
                  <c:v>0.31009687211741011</c:v>
                </c:pt>
                <c:pt idx="850">
                  <c:v>0.31033656843792007</c:v>
                </c:pt>
                <c:pt idx="851">
                  <c:v>0.30385276530598782</c:v>
                </c:pt>
                <c:pt idx="852">
                  <c:v>0.30649051082384376</c:v>
                </c:pt>
                <c:pt idx="853">
                  <c:v>0.31213382491681235</c:v>
                </c:pt>
                <c:pt idx="854">
                  <c:v>0.3179696808637546</c:v>
                </c:pt>
                <c:pt idx="855">
                  <c:v>0.31817870918289815</c:v>
                </c:pt>
                <c:pt idx="856">
                  <c:v>0.31521577387173255</c:v>
                </c:pt>
                <c:pt idx="857">
                  <c:v>0.32226143547545144</c:v>
                </c:pt>
                <c:pt idx="858">
                  <c:v>0.34894789200095661</c:v>
                </c:pt>
                <c:pt idx="859">
                  <c:v>0.3493485612469801</c:v>
                </c:pt>
                <c:pt idx="860">
                  <c:v>0.34912556675123829</c:v>
                </c:pt>
                <c:pt idx="861">
                  <c:v>0.34060658485553363</c:v>
                </c:pt>
                <c:pt idx="862">
                  <c:v>0.3417400270547658</c:v>
                </c:pt>
                <c:pt idx="863">
                  <c:v>0.34389980392747493</c:v>
                </c:pt>
                <c:pt idx="864">
                  <c:v>0.34480109169530665</c:v>
                </c:pt>
                <c:pt idx="865">
                  <c:v>0.33404758829661735</c:v>
                </c:pt>
                <c:pt idx="866">
                  <c:v>0.33338546151106452</c:v>
                </c:pt>
                <c:pt idx="867">
                  <c:v>0.3395621688940117</c:v>
                </c:pt>
                <c:pt idx="868">
                  <c:v>0.33988721777717112</c:v>
                </c:pt>
                <c:pt idx="869">
                  <c:v>0.31520895207440763</c:v>
                </c:pt>
                <c:pt idx="870">
                  <c:v>0.30449639525507544</c:v>
                </c:pt>
                <c:pt idx="871">
                  <c:v>0.29785312932667884</c:v>
                </c:pt>
                <c:pt idx="872">
                  <c:v>0.32055798858772522</c:v>
                </c:pt>
                <c:pt idx="873">
                  <c:v>0.3201773739315526</c:v>
                </c:pt>
                <c:pt idx="874">
                  <c:v>0.32970149165897256</c:v>
                </c:pt>
                <c:pt idx="875">
                  <c:v>0.32585477264469603</c:v>
                </c:pt>
                <c:pt idx="876">
                  <c:v>0.32868928148585752</c:v>
                </c:pt>
                <c:pt idx="877">
                  <c:v>0.33820860690066229</c:v>
                </c:pt>
                <c:pt idx="878">
                  <c:v>0.33429699974375987</c:v>
                </c:pt>
                <c:pt idx="879">
                  <c:v>0.3452362593296045</c:v>
                </c:pt>
                <c:pt idx="880">
                  <c:v>0.34663950391364384</c:v>
                </c:pt>
                <c:pt idx="881">
                  <c:v>0.34544074324526691</c:v>
                </c:pt>
                <c:pt idx="882">
                  <c:v>0.33656265068452396</c:v>
                </c:pt>
                <c:pt idx="883">
                  <c:v>0.32237639112609195</c:v>
                </c:pt>
                <c:pt idx="884">
                  <c:v>0.31968529337824236</c:v>
                </c:pt>
                <c:pt idx="885">
                  <c:v>0.34956112366284819</c:v>
                </c:pt>
                <c:pt idx="886">
                  <c:v>0.34279105139618382</c:v>
                </c:pt>
                <c:pt idx="887">
                  <c:v>0.33541018730710542</c:v>
                </c:pt>
                <c:pt idx="888">
                  <c:v>0.30977295524135084</c:v>
                </c:pt>
                <c:pt idx="889">
                  <c:v>0.30987020783454056</c:v>
                </c:pt>
                <c:pt idx="890">
                  <c:v>0.30936013702691045</c:v>
                </c:pt>
                <c:pt idx="891">
                  <c:v>0.30941699128348304</c:v>
                </c:pt>
                <c:pt idx="892">
                  <c:v>0.30847421732098801</c:v>
                </c:pt>
                <c:pt idx="893">
                  <c:v>0.2992565477669939</c:v>
                </c:pt>
                <c:pt idx="894">
                  <c:v>0.2950345402061551</c:v>
                </c:pt>
                <c:pt idx="895">
                  <c:v>0.2961041790787437</c:v>
                </c:pt>
                <c:pt idx="896">
                  <c:v>0.29630632611043384</c:v>
                </c:pt>
                <c:pt idx="897">
                  <c:v>0.29234997897148862</c:v>
                </c:pt>
                <c:pt idx="898">
                  <c:v>0.29519174638012635</c:v>
                </c:pt>
                <c:pt idx="899">
                  <c:v>0.3157040894186865</c:v>
                </c:pt>
                <c:pt idx="900">
                  <c:v>0.31574110100769581</c:v>
                </c:pt>
                <c:pt idx="901">
                  <c:v>0.32665807276806663</c:v>
                </c:pt>
                <c:pt idx="902">
                  <c:v>0.30814750880032421</c:v>
                </c:pt>
                <c:pt idx="903">
                  <c:v>0.30116526810345079</c:v>
                </c:pt>
                <c:pt idx="904">
                  <c:v>0.29420704921372864</c:v>
                </c:pt>
                <c:pt idx="905">
                  <c:v>0.29434925401786066</c:v>
                </c:pt>
                <c:pt idx="906">
                  <c:v>0.29699672702012481</c:v>
                </c:pt>
                <c:pt idx="907">
                  <c:v>0.29650405260477464</c:v>
                </c:pt>
                <c:pt idx="908">
                  <c:v>0.29578034284365823</c:v>
                </c:pt>
                <c:pt idx="909">
                  <c:v>0.28519643717098186</c:v>
                </c:pt>
                <c:pt idx="910">
                  <c:v>0.29088213025088744</c:v>
                </c:pt>
                <c:pt idx="911">
                  <c:v>0.29335303045180883</c:v>
                </c:pt>
                <c:pt idx="912">
                  <c:v>0.28859355865010877</c:v>
                </c:pt>
                <c:pt idx="913">
                  <c:v>0.28250963993883804</c:v>
                </c:pt>
                <c:pt idx="914">
                  <c:v>0.29692863161541672</c:v>
                </c:pt>
                <c:pt idx="915">
                  <c:v>0.28426566126579406</c:v>
                </c:pt>
                <c:pt idx="916">
                  <c:v>0.28650075073084247</c:v>
                </c:pt>
                <c:pt idx="917">
                  <c:v>0.28730051645968874</c:v>
                </c:pt>
                <c:pt idx="918">
                  <c:v>0.28765897226828097</c:v>
                </c:pt>
                <c:pt idx="919">
                  <c:v>0.29394352766207993</c:v>
                </c:pt>
                <c:pt idx="920">
                  <c:v>0.30000947166741671</c:v>
                </c:pt>
                <c:pt idx="921">
                  <c:v>0.30170649233142743</c:v>
                </c:pt>
                <c:pt idx="922">
                  <c:v>0.29937478995140998</c:v>
                </c:pt>
                <c:pt idx="923">
                  <c:v>0.29704443742355596</c:v>
                </c:pt>
                <c:pt idx="924">
                  <c:v>0.2925701844424865</c:v>
                </c:pt>
                <c:pt idx="925">
                  <c:v>0.29595929408405125</c:v>
                </c:pt>
                <c:pt idx="926">
                  <c:v>0.29944721144291847</c:v>
                </c:pt>
                <c:pt idx="927">
                  <c:v>0.29833414808700398</c:v>
                </c:pt>
                <c:pt idx="928">
                  <c:v>0.29751260070287383</c:v>
                </c:pt>
                <c:pt idx="929">
                  <c:v>0.28367803334074998</c:v>
                </c:pt>
                <c:pt idx="930">
                  <c:v>0.28520877164405006</c:v>
                </c:pt>
                <c:pt idx="931">
                  <c:v>0.27409026798187142</c:v>
                </c:pt>
                <c:pt idx="932">
                  <c:v>0.2700255882398015</c:v>
                </c:pt>
                <c:pt idx="933">
                  <c:v>0.27035858953548658</c:v>
                </c:pt>
                <c:pt idx="934">
                  <c:v>0.26187786022891196</c:v>
                </c:pt>
                <c:pt idx="935">
                  <c:v>0.26851233389912382</c:v>
                </c:pt>
                <c:pt idx="936">
                  <c:v>0.25953693322777099</c:v>
                </c:pt>
                <c:pt idx="937">
                  <c:v>0.27545318418792231</c:v>
                </c:pt>
                <c:pt idx="938">
                  <c:v>0.27674341904807837</c:v>
                </c:pt>
                <c:pt idx="939">
                  <c:v>0.27632275547066953</c:v>
                </c:pt>
                <c:pt idx="940">
                  <c:v>0.27655806491810481</c:v>
                </c:pt>
                <c:pt idx="941">
                  <c:v>0.27447284599803151</c:v>
                </c:pt>
                <c:pt idx="942">
                  <c:v>0.27446193288560328</c:v>
                </c:pt>
                <c:pt idx="943">
                  <c:v>0.28579670197079066</c:v>
                </c:pt>
                <c:pt idx="944">
                  <c:v>0.26728703883816918</c:v>
                </c:pt>
                <c:pt idx="945">
                  <c:v>0.25461888798681093</c:v>
                </c:pt>
                <c:pt idx="946">
                  <c:v>0.24754870951664693</c:v>
                </c:pt>
                <c:pt idx="947">
                  <c:v>0.25560499921829838</c:v>
                </c:pt>
                <c:pt idx="948">
                  <c:v>0.25281301695790148</c:v>
                </c:pt>
                <c:pt idx="949">
                  <c:v>0.25359052056628256</c:v>
                </c:pt>
                <c:pt idx="950">
                  <c:v>0.26574558753228694</c:v>
                </c:pt>
                <c:pt idx="951">
                  <c:v>0.26032316311960702</c:v>
                </c:pt>
                <c:pt idx="952">
                  <c:v>0.26945992471787189</c:v>
                </c:pt>
                <c:pt idx="953">
                  <c:v>0.28146865035870788</c:v>
                </c:pt>
                <c:pt idx="954">
                  <c:v>0.28487936749280834</c:v>
                </c:pt>
                <c:pt idx="955">
                  <c:v>0.31373617134328458</c:v>
                </c:pt>
                <c:pt idx="956">
                  <c:v>0.31604624306359885</c:v>
                </c:pt>
                <c:pt idx="957">
                  <c:v>0.31885066417232172</c:v>
                </c:pt>
                <c:pt idx="958">
                  <c:v>0.31863608182394071</c:v>
                </c:pt>
                <c:pt idx="959">
                  <c:v>0.31677664114568388</c:v>
                </c:pt>
                <c:pt idx="960">
                  <c:v>0.32273772597860018</c:v>
                </c:pt>
                <c:pt idx="961">
                  <c:v>0.32757914044595471</c:v>
                </c:pt>
                <c:pt idx="962">
                  <c:v>0.33235476083316506</c:v>
                </c:pt>
                <c:pt idx="963">
                  <c:v>0.33506485382934281</c:v>
                </c:pt>
                <c:pt idx="964">
                  <c:v>0.33544290737533428</c:v>
                </c:pt>
                <c:pt idx="965">
                  <c:v>0.32813283812129596</c:v>
                </c:pt>
                <c:pt idx="966">
                  <c:v>0.33021658938905396</c:v>
                </c:pt>
                <c:pt idx="967">
                  <c:v>0.30862063649632804</c:v>
                </c:pt>
                <c:pt idx="968">
                  <c:v>0.30807379733489498</c:v>
                </c:pt>
                <c:pt idx="969">
                  <c:v>0.3077259039261393</c:v>
                </c:pt>
                <c:pt idx="970">
                  <c:v>0.30190295427617897</c:v>
                </c:pt>
                <c:pt idx="971">
                  <c:v>0.3018191812635812</c:v>
                </c:pt>
                <c:pt idx="972">
                  <c:v>0.32033334633540139</c:v>
                </c:pt>
                <c:pt idx="973">
                  <c:v>0.30775922887352752</c:v>
                </c:pt>
                <c:pt idx="974">
                  <c:v>0.30913189345291225</c:v>
                </c:pt>
                <c:pt idx="975">
                  <c:v>0.32252123922259213</c:v>
                </c:pt>
                <c:pt idx="976">
                  <c:v>0.32314616854079548</c:v>
                </c:pt>
                <c:pt idx="977">
                  <c:v>0.30794865888583395</c:v>
                </c:pt>
                <c:pt idx="978">
                  <c:v>0.30547358928424334</c:v>
                </c:pt>
                <c:pt idx="979">
                  <c:v>0.32025457191143242</c:v>
                </c:pt>
                <c:pt idx="980">
                  <c:v>0.31103996553397834</c:v>
                </c:pt>
                <c:pt idx="981">
                  <c:v>0.30831322307429126</c:v>
                </c:pt>
                <c:pt idx="982">
                  <c:v>0.30243382779310235</c:v>
                </c:pt>
                <c:pt idx="983">
                  <c:v>0.29096485590834675</c:v>
                </c:pt>
                <c:pt idx="984">
                  <c:v>0.30508530374901771</c:v>
                </c:pt>
                <c:pt idx="985">
                  <c:v>0.28740096105260965</c:v>
                </c:pt>
                <c:pt idx="986">
                  <c:v>0.28129012950677657</c:v>
                </c:pt>
                <c:pt idx="987">
                  <c:v>0.28225247757080552</c:v>
                </c:pt>
                <c:pt idx="988">
                  <c:v>0.29283948095240048</c:v>
                </c:pt>
                <c:pt idx="989">
                  <c:v>0.30639224429772643</c:v>
                </c:pt>
                <c:pt idx="990">
                  <c:v>0.28881009758976556</c:v>
                </c:pt>
                <c:pt idx="991">
                  <c:v>0.28973412354937811</c:v>
                </c:pt>
                <c:pt idx="992">
                  <c:v>0.28815629961853556</c:v>
                </c:pt>
                <c:pt idx="993">
                  <c:v>0.2941322210365202</c:v>
                </c:pt>
                <c:pt idx="994">
                  <c:v>0.29414990136147962</c:v>
                </c:pt>
                <c:pt idx="995">
                  <c:v>0.29531034246637788</c:v>
                </c:pt>
                <c:pt idx="996">
                  <c:v>0.29584406011653164</c:v>
                </c:pt>
                <c:pt idx="997">
                  <c:v>0.29839334917933963</c:v>
                </c:pt>
                <c:pt idx="998">
                  <c:v>0.30659925929347287</c:v>
                </c:pt>
                <c:pt idx="999">
                  <c:v>0.32058298060052182</c:v>
                </c:pt>
                <c:pt idx="1000">
                  <c:v>0.32085134405736349</c:v>
                </c:pt>
                <c:pt idx="1001">
                  <c:v>0.32214725198307748</c:v>
                </c:pt>
                <c:pt idx="1002">
                  <c:v>0.30708196976913182</c:v>
                </c:pt>
                <c:pt idx="1003">
                  <c:v>0.30956885569056253</c:v>
                </c:pt>
                <c:pt idx="1004">
                  <c:v>0.30853576591327952</c:v>
                </c:pt>
                <c:pt idx="1005">
                  <c:v>0.29111131157411008</c:v>
                </c:pt>
                <c:pt idx="1006">
                  <c:v>0.29924467006096656</c:v>
                </c:pt>
                <c:pt idx="1007">
                  <c:v>0.30981968406761845</c:v>
                </c:pt>
                <c:pt idx="1008">
                  <c:v>0.34201094949560007</c:v>
                </c:pt>
                <c:pt idx="1009">
                  <c:v>0.36097596299413065</c:v>
                </c:pt>
                <c:pt idx="1010">
                  <c:v>0.38797129720144963</c:v>
                </c:pt>
                <c:pt idx="1011">
                  <c:v>0.42772737209978118</c:v>
                </c:pt>
                <c:pt idx="1012">
                  <c:v>0.44323063353471198</c:v>
                </c:pt>
                <c:pt idx="1013">
                  <c:v>0.47253408039669886</c:v>
                </c:pt>
                <c:pt idx="1014">
                  <c:v>0.47202916959588187</c:v>
                </c:pt>
                <c:pt idx="1015">
                  <c:v>0.48641918818203206</c:v>
                </c:pt>
                <c:pt idx="1016">
                  <c:v>0.50434514352314341</c:v>
                </c:pt>
                <c:pt idx="1017">
                  <c:v>0.5202590800812269</c:v>
                </c:pt>
                <c:pt idx="1018">
                  <c:v>0.5283743784847551</c:v>
                </c:pt>
                <c:pt idx="1019">
                  <c:v>0.54750981486977035</c:v>
                </c:pt>
                <c:pt idx="1020">
                  <c:v>0.54958876673351575</c:v>
                </c:pt>
                <c:pt idx="1021">
                  <c:v>0.55899185622836944</c:v>
                </c:pt>
                <c:pt idx="1022">
                  <c:v>0.56219297323144835</c:v>
                </c:pt>
                <c:pt idx="1023">
                  <c:v>0.55958068634536862</c:v>
                </c:pt>
                <c:pt idx="1024">
                  <c:v>0.55736176196081033</c:v>
                </c:pt>
                <c:pt idx="1025">
                  <c:v>0.54939333342250007</c:v>
                </c:pt>
                <c:pt idx="1026">
                  <c:v>0.54790102025015941</c:v>
                </c:pt>
                <c:pt idx="1027">
                  <c:v>0.54784460918202771</c:v>
                </c:pt>
                <c:pt idx="1028">
                  <c:v>0.5221085689753151</c:v>
                </c:pt>
                <c:pt idx="1029">
                  <c:v>0.48280150225622559</c:v>
                </c:pt>
                <c:pt idx="1030">
                  <c:v>0.45982520431459734</c:v>
                </c:pt>
                <c:pt idx="1031">
                  <c:v>0.42943678322099149</c:v>
                </c:pt>
                <c:pt idx="1032">
                  <c:v>0.40329417647952975</c:v>
                </c:pt>
                <c:pt idx="1033">
                  <c:v>0.35678966649540483</c:v>
                </c:pt>
                <c:pt idx="1034">
                  <c:v>0.32316370138760653</c:v>
                </c:pt>
                <c:pt idx="1035">
                  <c:v>0.28221507930091699</c:v>
                </c:pt>
                <c:pt idx="1036">
                  <c:v>0.14694546498333716</c:v>
                </c:pt>
                <c:pt idx="1037">
                  <c:v>0.11579672333666011</c:v>
                </c:pt>
                <c:pt idx="1038">
                  <c:v>0.1211492690858663</c:v>
                </c:pt>
                <c:pt idx="1039">
                  <c:v>0.12159090746773253</c:v>
                </c:pt>
                <c:pt idx="1040">
                  <c:v>0.13992829467139395</c:v>
                </c:pt>
                <c:pt idx="1041">
                  <c:v>0.14102877744958928</c:v>
                </c:pt>
                <c:pt idx="1042">
                  <c:v>0.15315835619523607</c:v>
                </c:pt>
                <c:pt idx="1043">
                  <c:v>0.16131708980082837</c:v>
                </c:pt>
                <c:pt idx="1044">
                  <c:v>0.16264831298746443</c:v>
                </c:pt>
                <c:pt idx="1045">
                  <c:v>0.16212974706283056</c:v>
                </c:pt>
                <c:pt idx="1046">
                  <c:v>0.16291470009402984</c:v>
                </c:pt>
                <c:pt idx="1047">
                  <c:v>0.16683086654476259</c:v>
                </c:pt>
                <c:pt idx="1048">
                  <c:v>0.16591459560401645</c:v>
                </c:pt>
                <c:pt idx="1049">
                  <c:v>0.16870813245843394</c:v>
                </c:pt>
                <c:pt idx="1050">
                  <c:v>0.18066521910105279</c:v>
                </c:pt>
                <c:pt idx="1051">
                  <c:v>0.18141224812480186</c:v>
                </c:pt>
                <c:pt idx="1052">
                  <c:v>0.34178700340390999</c:v>
                </c:pt>
                <c:pt idx="1053">
                  <c:v>0.42258321578841712</c:v>
                </c:pt>
                <c:pt idx="1054">
                  <c:v>0.4608472917875383</c:v>
                </c:pt>
                <c:pt idx="1055">
                  <c:v>0.49855935379568328</c:v>
                </c:pt>
                <c:pt idx="1056">
                  <c:v>0.51216689905936363</c:v>
                </c:pt>
                <c:pt idx="1057">
                  <c:v>0.54918366045144862</c:v>
                </c:pt>
                <c:pt idx="1058">
                  <c:v>0.60465027706501717</c:v>
                </c:pt>
                <c:pt idx="1059">
                  <c:v>0.63028766298954164</c:v>
                </c:pt>
                <c:pt idx="1060">
                  <c:v>0.65110032380164384</c:v>
                </c:pt>
                <c:pt idx="1061">
                  <c:v>0.68296128653894528</c:v>
                </c:pt>
                <c:pt idx="1062">
                  <c:v>0.6997388532288229</c:v>
                </c:pt>
                <c:pt idx="1063">
                  <c:v>0.73073140820090066</c:v>
                </c:pt>
                <c:pt idx="1064">
                  <c:v>0.72432322090350132</c:v>
                </c:pt>
                <c:pt idx="1065">
                  <c:v>0.72610364413605766</c:v>
                </c:pt>
                <c:pt idx="1066">
                  <c:v>0.71903847646358132</c:v>
                </c:pt>
                <c:pt idx="1067">
                  <c:v>0.70971318046710252</c:v>
                </c:pt>
                <c:pt idx="1068">
                  <c:v>0.69424839084428125</c:v>
                </c:pt>
                <c:pt idx="1069">
                  <c:v>0.69070675848929097</c:v>
                </c:pt>
                <c:pt idx="1070">
                  <c:v>0.68855542214549381</c:v>
                </c:pt>
                <c:pt idx="1071">
                  <c:v>0.66785798560743981</c:v>
                </c:pt>
                <c:pt idx="1072">
                  <c:v>0.63367770382565758</c:v>
                </c:pt>
                <c:pt idx="1073">
                  <c:v>0.63010787512074218</c:v>
                </c:pt>
                <c:pt idx="1074">
                  <c:v>0.60913257844165081</c:v>
                </c:pt>
                <c:pt idx="1075">
                  <c:v>0.5877486485520933</c:v>
                </c:pt>
                <c:pt idx="1076">
                  <c:v>0.55615473417012351</c:v>
                </c:pt>
                <c:pt idx="1077">
                  <c:v>0.51223673758838739</c:v>
                </c:pt>
                <c:pt idx="1078">
                  <c:v>0.48716283835041402</c:v>
                </c:pt>
                <c:pt idx="1079">
                  <c:v>0.42891058687052147</c:v>
                </c:pt>
                <c:pt idx="1080">
                  <c:v>0.33605801445370004</c:v>
                </c:pt>
                <c:pt idx="1081">
                  <c:v>0.29270104913112832</c:v>
                </c:pt>
                <c:pt idx="1082">
                  <c:v>0.28214188950374247</c:v>
                </c:pt>
                <c:pt idx="1083">
                  <c:v>0.28122025698776548</c:v>
                </c:pt>
                <c:pt idx="1084">
                  <c:v>0.28180585137600289</c:v>
                </c:pt>
                <c:pt idx="1085">
                  <c:v>0.29051312214260006</c:v>
                </c:pt>
                <c:pt idx="1086">
                  <c:v>0.30419273041602807</c:v>
                </c:pt>
                <c:pt idx="1087">
                  <c:v>0.31485287884907126</c:v>
                </c:pt>
                <c:pt idx="1088">
                  <c:v>0.32554902313784273</c:v>
                </c:pt>
                <c:pt idx="1089">
                  <c:v>0.32393347746926215</c:v>
                </c:pt>
                <c:pt idx="1090">
                  <c:v>0.32770160473067161</c:v>
                </c:pt>
                <c:pt idx="1091">
                  <c:v>0.32204261367462433</c:v>
                </c:pt>
                <c:pt idx="1092">
                  <c:v>0.31926886955286699</c:v>
                </c:pt>
                <c:pt idx="1093">
                  <c:v>0.30635554119451774</c:v>
                </c:pt>
                <c:pt idx="1094">
                  <c:v>0.31932777968187276</c:v>
                </c:pt>
                <c:pt idx="1095">
                  <c:v>0.31866086861718496</c:v>
                </c:pt>
                <c:pt idx="1096">
                  <c:v>0.3206081780388374</c:v>
                </c:pt>
                <c:pt idx="1097">
                  <c:v>0.33491370451887764</c:v>
                </c:pt>
                <c:pt idx="1098">
                  <c:v>0.34300304559444034</c:v>
                </c:pt>
                <c:pt idx="1099">
                  <c:v>0.34092895564744363</c:v>
                </c:pt>
                <c:pt idx="1100">
                  <c:v>0.34481185258974256</c:v>
                </c:pt>
                <c:pt idx="1101">
                  <c:v>0.34007821807390354</c:v>
                </c:pt>
                <c:pt idx="1102">
                  <c:v>0.3384037224727855</c:v>
                </c:pt>
                <c:pt idx="1103">
                  <c:v>0.33808272006523937</c:v>
                </c:pt>
                <c:pt idx="1104">
                  <c:v>0.33911144221177802</c:v>
                </c:pt>
                <c:pt idx="1105">
                  <c:v>0.33545490739775052</c:v>
                </c:pt>
                <c:pt idx="1106">
                  <c:v>0.34316457303796966</c:v>
                </c:pt>
                <c:pt idx="1107">
                  <c:v>0.35539027322426836</c:v>
                </c:pt>
                <c:pt idx="1108">
                  <c:v>0.35472348091020162</c:v>
                </c:pt>
                <c:pt idx="1109">
                  <c:v>0.35365305542906939</c:v>
                </c:pt>
                <c:pt idx="1110">
                  <c:v>0.35319199213402874</c:v>
                </c:pt>
                <c:pt idx="1111">
                  <c:v>0.34691418055812584</c:v>
                </c:pt>
                <c:pt idx="1112">
                  <c:v>0.35923636401025838</c:v>
                </c:pt>
                <c:pt idx="1113">
                  <c:v>0.35527142250929256</c:v>
                </c:pt>
                <c:pt idx="1114">
                  <c:v>0.36096972992018983</c:v>
                </c:pt>
                <c:pt idx="1115">
                  <c:v>0.36031892344367999</c:v>
                </c:pt>
                <c:pt idx="1116">
                  <c:v>0.35049590933638519</c:v>
                </c:pt>
                <c:pt idx="1117">
                  <c:v>0.34980631584206073</c:v>
                </c:pt>
                <c:pt idx="1118">
                  <c:v>0.33964674707346931</c:v>
                </c:pt>
                <c:pt idx="1119">
                  <c:v>0.33893252692990927</c:v>
                </c:pt>
                <c:pt idx="1120">
                  <c:v>0.34033620323500896</c:v>
                </c:pt>
                <c:pt idx="1121">
                  <c:v>0.33609451644216559</c:v>
                </c:pt>
                <c:pt idx="1122">
                  <c:v>0.34547393553275546</c:v>
                </c:pt>
                <c:pt idx="1123">
                  <c:v>0.34063466668318082</c:v>
                </c:pt>
                <c:pt idx="1124">
                  <c:v>0.35436994530876692</c:v>
                </c:pt>
                <c:pt idx="1125">
                  <c:v>0.37773056952976825</c:v>
                </c:pt>
                <c:pt idx="1126">
                  <c:v>0.37652158567348271</c:v>
                </c:pt>
                <c:pt idx="1127">
                  <c:v>0.37645733499454065</c:v>
                </c:pt>
                <c:pt idx="1128">
                  <c:v>0.38432644460428717</c:v>
                </c:pt>
                <c:pt idx="1129">
                  <c:v>0.38566264915747689</c:v>
                </c:pt>
                <c:pt idx="1130">
                  <c:v>0.37580417480915207</c:v>
                </c:pt>
                <c:pt idx="1131">
                  <c:v>0.38156120873884314</c:v>
                </c:pt>
                <c:pt idx="1132">
                  <c:v>0.39082435738526516</c:v>
                </c:pt>
                <c:pt idx="1133">
                  <c:v>0.39193980692226649</c:v>
                </c:pt>
                <c:pt idx="1134">
                  <c:v>0.38951835367052695</c:v>
                </c:pt>
                <c:pt idx="1135">
                  <c:v>0.39416646832743346</c:v>
                </c:pt>
                <c:pt idx="1136">
                  <c:v>0.38950443872192447</c:v>
                </c:pt>
                <c:pt idx="1137">
                  <c:v>0.37712537026333731</c:v>
                </c:pt>
                <c:pt idx="1138">
                  <c:v>0.37963579530855812</c:v>
                </c:pt>
                <c:pt idx="1139">
                  <c:v>0.38454620056497163</c:v>
                </c:pt>
                <c:pt idx="1140">
                  <c:v>0.38637617849011147</c:v>
                </c:pt>
                <c:pt idx="1141">
                  <c:v>0.38307136256794205</c:v>
                </c:pt>
                <c:pt idx="1142">
                  <c:v>0.37287759977541052</c:v>
                </c:pt>
                <c:pt idx="1143">
                  <c:v>0.38379587120961045</c:v>
                </c:pt>
                <c:pt idx="1144">
                  <c:v>0.38022667305770019</c:v>
                </c:pt>
                <c:pt idx="1145">
                  <c:v>0.37486461404813548</c:v>
                </c:pt>
                <c:pt idx="1146">
                  <c:v>0.3692561797637211</c:v>
                </c:pt>
                <c:pt idx="1147">
                  <c:v>0.36237256588849243</c:v>
                </c:pt>
                <c:pt idx="1148">
                  <c:v>0.34671547659383228</c:v>
                </c:pt>
                <c:pt idx="1149">
                  <c:v>0.35374492190464696</c:v>
                </c:pt>
                <c:pt idx="1150">
                  <c:v>0.34494144881617889</c:v>
                </c:pt>
                <c:pt idx="1151">
                  <c:v>0.34750448270867529</c:v>
                </c:pt>
                <c:pt idx="1152">
                  <c:v>0.33989484946320525</c:v>
                </c:pt>
                <c:pt idx="1153">
                  <c:v>0.33882120057633341</c:v>
                </c:pt>
                <c:pt idx="1154">
                  <c:v>0.31648552859944984</c:v>
                </c:pt>
                <c:pt idx="1155">
                  <c:v>0.29056922468012386</c:v>
                </c:pt>
                <c:pt idx="1156">
                  <c:v>0.30247971350137565</c:v>
                </c:pt>
                <c:pt idx="1157">
                  <c:v>0.29474687770452584</c:v>
                </c:pt>
                <c:pt idx="1158">
                  <c:v>0.29330606018634425</c:v>
                </c:pt>
                <c:pt idx="1159">
                  <c:v>0.29343415327114514</c:v>
                </c:pt>
                <c:pt idx="1160">
                  <c:v>0.32411350578361053</c:v>
                </c:pt>
                <c:pt idx="1161">
                  <c:v>0.34286401815332435</c:v>
                </c:pt>
                <c:pt idx="1162">
                  <c:v>0.33587348916199189</c:v>
                </c:pt>
                <c:pt idx="1163">
                  <c:v>0.34229334861959626</c:v>
                </c:pt>
                <c:pt idx="1164">
                  <c:v>0.34452000863522408</c:v>
                </c:pt>
                <c:pt idx="1165">
                  <c:v>0.34308607726103818</c:v>
                </c:pt>
                <c:pt idx="1166">
                  <c:v>0.3449493769342365</c:v>
                </c:pt>
                <c:pt idx="1167">
                  <c:v>0.36060931106752148</c:v>
                </c:pt>
                <c:pt idx="1168">
                  <c:v>0.35761792240770568</c:v>
                </c:pt>
                <c:pt idx="1169">
                  <c:v>0.35644562984274142</c:v>
                </c:pt>
                <c:pt idx="1170">
                  <c:v>0.35366611039802071</c:v>
                </c:pt>
                <c:pt idx="1171">
                  <c:v>0.35315978618562893</c:v>
                </c:pt>
                <c:pt idx="1172">
                  <c:v>0.35084186119626831</c:v>
                </c:pt>
                <c:pt idx="1173">
                  <c:v>0.33863676220614491</c:v>
                </c:pt>
                <c:pt idx="1174">
                  <c:v>0.341219148157626</c:v>
                </c:pt>
                <c:pt idx="1175">
                  <c:v>0.35329080871542579</c:v>
                </c:pt>
                <c:pt idx="1176">
                  <c:v>0.35296491606301994</c:v>
                </c:pt>
                <c:pt idx="1177">
                  <c:v>0.35035542135470671</c:v>
                </c:pt>
                <c:pt idx="1178">
                  <c:v>0.37511287776734087</c:v>
                </c:pt>
                <c:pt idx="1179">
                  <c:v>0.38620546151856389</c:v>
                </c:pt>
                <c:pt idx="1180">
                  <c:v>0.3963688490128226</c:v>
                </c:pt>
                <c:pt idx="1181">
                  <c:v>0.39176292533625678</c:v>
                </c:pt>
                <c:pt idx="1182">
                  <c:v>0.39202493431219249</c:v>
                </c:pt>
                <c:pt idx="1183">
                  <c:v>0.38402270938419836</c:v>
                </c:pt>
                <c:pt idx="1184">
                  <c:v>0.39137143435403127</c:v>
                </c:pt>
                <c:pt idx="1185">
                  <c:v>0.38941888276577774</c:v>
                </c:pt>
                <c:pt idx="1186">
                  <c:v>0.38286706236755519</c:v>
                </c:pt>
                <c:pt idx="1187">
                  <c:v>0.3839536125391132</c:v>
                </c:pt>
                <c:pt idx="1188">
                  <c:v>0.38663310630260844</c:v>
                </c:pt>
                <c:pt idx="1189">
                  <c:v>0.38645527787079748</c:v>
                </c:pt>
                <c:pt idx="1190">
                  <c:v>0.37149878338969983</c:v>
                </c:pt>
                <c:pt idx="1191">
                  <c:v>0.3609836026746478</c:v>
                </c:pt>
                <c:pt idx="1192">
                  <c:v>0.35871173830493752</c:v>
                </c:pt>
                <c:pt idx="1193">
                  <c:v>0.36977503142302576</c:v>
                </c:pt>
                <c:pt idx="1194">
                  <c:v>0.36412915274726654</c:v>
                </c:pt>
                <c:pt idx="1195">
                  <c:v>0.36123794169886414</c:v>
                </c:pt>
                <c:pt idx="1196">
                  <c:v>0.36190079031331129</c:v>
                </c:pt>
                <c:pt idx="1197">
                  <c:v>0.35561425506572536</c:v>
                </c:pt>
                <c:pt idx="1198">
                  <c:v>0.3526628719549364</c:v>
                </c:pt>
                <c:pt idx="1199">
                  <c:v>0.34623193942781361</c:v>
                </c:pt>
                <c:pt idx="1200">
                  <c:v>0.393827138545436</c:v>
                </c:pt>
                <c:pt idx="1201">
                  <c:v>0.42315901146007096</c:v>
                </c:pt>
                <c:pt idx="1202">
                  <c:v>0.44351391296195741</c:v>
                </c:pt>
                <c:pt idx="1203">
                  <c:v>0.47572783066575902</c:v>
                </c:pt>
                <c:pt idx="1204">
                  <c:v>0.49255658858288642</c:v>
                </c:pt>
                <c:pt idx="1205">
                  <c:v>0.51138280103096001</c:v>
                </c:pt>
                <c:pt idx="1206">
                  <c:v>0.51612809546200911</c:v>
                </c:pt>
                <c:pt idx="1207">
                  <c:v>0.5283341944769967</c:v>
                </c:pt>
                <c:pt idx="1208">
                  <c:v>0.52753639840612065</c:v>
                </c:pt>
                <c:pt idx="1209">
                  <c:v>0.51589081117686075</c:v>
                </c:pt>
                <c:pt idx="1210">
                  <c:v>0.49640900265563415</c:v>
                </c:pt>
                <c:pt idx="1211">
                  <c:v>0.50003809078137351</c:v>
                </c:pt>
                <c:pt idx="1212">
                  <c:v>0.51110590103663844</c:v>
                </c:pt>
                <c:pt idx="1213">
                  <c:v>0.51486760018363276</c:v>
                </c:pt>
                <c:pt idx="1214">
                  <c:v>0.51784049513865182</c:v>
                </c:pt>
                <c:pt idx="1215">
                  <c:v>0.51676473178934645</c:v>
                </c:pt>
                <c:pt idx="1216">
                  <c:v>0.51247036150027736</c:v>
                </c:pt>
                <c:pt idx="1217">
                  <c:v>0.52108744440600963</c:v>
                </c:pt>
                <c:pt idx="1218">
                  <c:v>0.528901850990384</c:v>
                </c:pt>
                <c:pt idx="1219">
                  <c:v>0.51319038749410495</c:v>
                </c:pt>
                <c:pt idx="1220">
                  <c:v>0.48005154113760484</c:v>
                </c:pt>
                <c:pt idx="1221">
                  <c:v>0.42926798705048425</c:v>
                </c:pt>
                <c:pt idx="1222">
                  <c:v>0.41118963507068362</c:v>
                </c:pt>
                <c:pt idx="1223">
                  <c:v>0.41766742837692</c:v>
                </c:pt>
                <c:pt idx="1224">
                  <c:v>0.38483344565875816</c:v>
                </c:pt>
                <c:pt idx="1225">
                  <c:v>0.3422331109941753</c:v>
                </c:pt>
                <c:pt idx="1226">
                  <c:v>0.32859834460009957</c:v>
                </c:pt>
                <c:pt idx="1227">
                  <c:v>0.31699427165915145</c:v>
                </c:pt>
                <c:pt idx="1228">
                  <c:v>0.24310844184091895</c:v>
                </c:pt>
                <c:pt idx="1229">
                  <c:v>0.19317941182722528</c:v>
                </c:pt>
                <c:pt idx="1230">
                  <c:v>0.1924615364921555</c:v>
                </c:pt>
                <c:pt idx="1231">
                  <c:v>0.19413768615713808</c:v>
                </c:pt>
                <c:pt idx="1232">
                  <c:v>0.20510649361242711</c:v>
                </c:pt>
                <c:pt idx="1233">
                  <c:v>0.20418738633515027</c:v>
                </c:pt>
                <c:pt idx="1234">
                  <c:v>0.20580707908979951</c:v>
                </c:pt>
                <c:pt idx="1235">
                  <c:v>0.21060632565355489</c:v>
                </c:pt>
                <c:pt idx="1236">
                  <c:v>0.20798061019343725</c:v>
                </c:pt>
                <c:pt idx="1237">
                  <c:v>0.21182029211240835</c:v>
                </c:pt>
                <c:pt idx="1238">
                  <c:v>0.20916637769057672</c:v>
                </c:pt>
                <c:pt idx="1239">
                  <c:v>0.20880970990228187</c:v>
                </c:pt>
                <c:pt idx="1240">
                  <c:v>0.21179069651555071</c:v>
                </c:pt>
                <c:pt idx="1241">
                  <c:v>0.21233090585022191</c:v>
                </c:pt>
                <c:pt idx="1242">
                  <c:v>0.20799483568403021</c:v>
                </c:pt>
                <c:pt idx="1243">
                  <c:v>0.20797125693288174</c:v>
                </c:pt>
                <c:pt idx="1244">
                  <c:v>0.21926817509530441</c:v>
                </c:pt>
                <c:pt idx="1245">
                  <c:v>0.27814254785788073</c:v>
                </c:pt>
                <c:pt idx="1246">
                  <c:v>0.34401380712413304</c:v>
                </c:pt>
                <c:pt idx="1247">
                  <c:v>0.38839812360554532</c:v>
                </c:pt>
                <c:pt idx="1248">
                  <c:v>0.3877606548401476</c:v>
                </c:pt>
                <c:pt idx="1249">
                  <c:v>0.42426387274553667</c:v>
                </c:pt>
                <c:pt idx="1250">
                  <c:v>0.45935500846461047</c:v>
                </c:pt>
                <c:pt idx="1251">
                  <c:v>0.47874666167424734</c:v>
                </c:pt>
                <c:pt idx="1252">
                  <c:v>0.49980935147695871</c:v>
                </c:pt>
                <c:pt idx="1253">
                  <c:v>0.5349433476731853</c:v>
                </c:pt>
                <c:pt idx="1254">
                  <c:v>0.53686931756667067</c:v>
                </c:pt>
                <c:pt idx="1255">
                  <c:v>0.55334835495146684</c:v>
                </c:pt>
                <c:pt idx="1256">
                  <c:v>0.55172721012973802</c:v>
                </c:pt>
                <c:pt idx="1257">
                  <c:v>0.55785644894098307</c:v>
                </c:pt>
                <c:pt idx="1258">
                  <c:v>0.55104947452702246</c:v>
                </c:pt>
                <c:pt idx="1259">
                  <c:v>0.55770762563511134</c:v>
                </c:pt>
                <c:pt idx="1260">
                  <c:v>0.55198570106892486</c:v>
                </c:pt>
                <c:pt idx="1261">
                  <c:v>0.54318289735415626</c:v>
                </c:pt>
                <c:pt idx="1262">
                  <c:v>0.51975220863561544</c:v>
                </c:pt>
                <c:pt idx="1263">
                  <c:v>0.51064574646502692</c:v>
                </c:pt>
                <c:pt idx="1264">
                  <c:v>0.50804030364037578</c:v>
                </c:pt>
                <c:pt idx="1265">
                  <c:v>0.50631252378220204</c:v>
                </c:pt>
                <c:pt idx="1266">
                  <c:v>0.49158146367529854</c:v>
                </c:pt>
                <c:pt idx="1267">
                  <c:v>0.4629676251503495</c:v>
                </c:pt>
                <c:pt idx="1268">
                  <c:v>0.453557063876246</c:v>
                </c:pt>
                <c:pt idx="1269">
                  <c:v>0.43835066022287861</c:v>
                </c:pt>
                <c:pt idx="1270">
                  <c:v>0.39586462226558583</c:v>
                </c:pt>
                <c:pt idx="1271">
                  <c:v>0.3693206783558089</c:v>
                </c:pt>
                <c:pt idx="1272">
                  <c:v>0.31531026217829117</c:v>
                </c:pt>
                <c:pt idx="1273">
                  <c:v>0.28834212730952624</c:v>
                </c:pt>
                <c:pt idx="1274">
                  <c:v>0.27901937015239281</c:v>
                </c:pt>
                <c:pt idx="1275">
                  <c:v>0.28194699243101035</c:v>
                </c:pt>
                <c:pt idx="1276">
                  <c:v>0.27942652737073437</c:v>
                </c:pt>
                <c:pt idx="1277">
                  <c:v>0.28472700817904667</c:v>
                </c:pt>
                <c:pt idx="1278">
                  <c:v>0.27326819556279697</c:v>
                </c:pt>
                <c:pt idx="1279">
                  <c:v>0.29621874802865544</c:v>
                </c:pt>
                <c:pt idx="1280">
                  <c:v>0.30403770469185309</c:v>
                </c:pt>
                <c:pt idx="1281">
                  <c:v>0.30617687171400043</c:v>
                </c:pt>
                <c:pt idx="1282">
                  <c:v>0.30834543529737402</c:v>
                </c:pt>
                <c:pt idx="1283">
                  <c:v>0.30415089661399969</c:v>
                </c:pt>
                <c:pt idx="1284">
                  <c:v>0.31055276334355381</c:v>
                </c:pt>
                <c:pt idx="1285">
                  <c:v>0.30696222174359472</c:v>
                </c:pt>
                <c:pt idx="1286">
                  <c:v>0.33581220722616939</c:v>
                </c:pt>
                <c:pt idx="1287">
                  <c:v>0.33660593178892018</c:v>
                </c:pt>
                <c:pt idx="1288">
                  <c:v>0.32459985135895442</c:v>
                </c:pt>
                <c:pt idx="1289">
                  <c:v>0.32549815701670876</c:v>
                </c:pt>
                <c:pt idx="1290">
                  <c:v>0.31891199452284741</c:v>
                </c:pt>
                <c:pt idx="1291">
                  <c:v>0.3341247915092353</c:v>
                </c:pt>
                <c:pt idx="1292">
                  <c:v>0.34340446772145466</c:v>
                </c:pt>
                <c:pt idx="1293">
                  <c:v>0.34222712539969286</c:v>
                </c:pt>
                <c:pt idx="1294">
                  <c:v>0.34689752725441575</c:v>
                </c:pt>
                <c:pt idx="1295">
                  <c:v>0.35521481282830841</c:v>
                </c:pt>
                <c:pt idx="1296">
                  <c:v>0.35371648906402497</c:v>
                </c:pt>
                <c:pt idx="1297">
                  <c:v>0.35644614452247952</c:v>
                </c:pt>
                <c:pt idx="1298">
                  <c:v>0.35253131019138156</c:v>
                </c:pt>
                <c:pt idx="1299">
                  <c:v>0.35011282484762757</c:v>
                </c:pt>
                <c:pt idx="1300">
                  <c:v>0.34998283868356</c:v>
                </c:pt>
                <c:pt idx="1301">
                  <c:v>0.35087687034252663</c:v>
                </c:pt>
                <c:pt idx="1302">
                  <c:v>0.35255297615444775</c:v>
                </c:pt>
                <c:pt idx="1303">
                  <c:v>0.34687059871285769</c:v>
                </c:pt>
                <c:pt idx="1304">
                  <c:v>0.34507900417095305</c:v>
                </c:pt>
                <c:pt idx="1305">
                  <c:v>0.34416339475125551</c:v>
                </c:pt>
                <c:pt idx="1306">
                  <c:v>0.35268310136280506</c:v>
                </c:pt>
                <c:pt idx="1307">
                  <c:v>0.35015098402826861</c:v>
                </c:pt>
                <c:pt idx="1308">
                  <c:v>0.35378100091410769</c:v>
                </c:pt>
                <c:pt idx="1309">
                  <c:v>0.32964564888359038</c:v>
                </c:pt>
                <c:pt idx="1310">
                  <c:v>0.33980705997925997</c:v>
                </c:pt>
                <c:pt idx="1311">
                  <c:v>0.33534940305535699</c:v>
                </c:pt>
                <c:pt idx="1312">
                  <c:v>0.33193986585518337</c:v>
                </c:pt>
                <c:pt idx="1313">
                  <c:v>0.32038917784380017</c:v>
                </c:pt>
                <c:pt idx="1314">
                  <c:v>0.31389241658958861</c:v>
                </c:pt>
                <c:pt idx="1315">
                  <c:v>0.31628505558083869</c:v>
                </c:pt>
                <c:pt idx="1316">
                  <c:v>0.29838842897600071</c:v>
                </c:pt>
                <c:pt idx="1317">
                  <c:v>0.2983254585853129</c:v>
                </c:pt>
                <c:pt idx="1318">
                  <c:v>0.29192388166570449</c:v>
                </c:pt>
                <c:pt idx="1319">
                  <c:v>0.32032154189208345</c:v>
                </c:pt>
                <c:pt idx="1320">
                  <c:v>0.33331122758032034</c:v>
                </c:pt>
                <c:pt idx="1321">
                  <c:v>0.33491851197727535</c:v>
                </c:pt>
                <c:pt idx="1322">
                  <c:v>0.31907255332765239</c:v>
                </c:pt>
                <c:pt idx="1323">
                  <c:v>0.32151789960951715</c:v>
                </c:pt>
                <c:pt idx="1324">
                  <c:v>0.31664185533830619</c:v>
                </c:pt>
                <c:pt idx="1325">
                  <c:v>0.31312654732716316</c:v>
                </c:pt>
                <c:pt idx="1326">
                  <c:v>0.31499494216039181</c:v>
                </c:pt>
                <c:pt idx="1327">
                  <c:v>0.31420633906971346</c:v>
                </c:pt>
                <c:pt idx="1328">
                  <c:v>0.31750867375717495</c:v>
                </c:pt>
                <c:pt idx="1329">
                  <c:v>0.31754571981759849</c:v>
                </c:pt>
                <c:pt idx="1330">
                  <c:v>0.32751706351856019</c:v>
                </c:pt>
                <c:pt idx="1331">
                  <c:v>0.32907331024167369</c:v>
                </c:pt>
                <c:pt idx="1332">
                  <c:v>0.3293165335132423</c:v>
                </c:pt>
                <c:pt idx="1333">
                  <c:v>0.32701894566799405</c:v>
                </c:pt>
                <c:pt idx="1334">
                  <c:v>0.32609695310656583</c:v>
                </c:pt>
                <c:pt idx="1335">
                  <c:v>0.34419594507646351</c:v>
                </c:pt>
                <c:pt idx="1336">
                  <c:v>0.33878570577394951</c:v>
                </c:pt>
                <c:pt idx="1337">
                  <c:v>0.35543180034238592</c:v>
                </c:pt>
                <c:pt idx="1338">
                  <c:v>0.34816001855191664</c:v>
                </c:pt>
                <c:pt idx="1339">
                  <c:v>0.35776845721600042</c:v>
                </c:pt>
                <c:pt idx="1340">
                  <c:v>0.34281267916335334</c:v>
                </c:pt>
                <c:pt idx="1341">
                  <c:v>0.35351790324745169</c:v>
                </c:pt>
                <c:pt idx="1342">
                  <c:v>0.36565062326816039</c:v>
                </c:pt>
                <c:pt idx="1343">
                  <c:v>0.38571423081559741</c:v>
                </c:pt>
                <c:pt idx="1344">
                  <c:v>0.38590750749507036</c:v>
                </c:pt>
                <c:pt idx="1345">
                  <c:v>0.39002234354666737</c:v>
                </c:pt>
                <c:pt idx="1346">
                  <c:v>0.40207587501730874</c:v>
                </c:pt>
                <c:pt idx="1347">
                  <c:v>0.40112233683129295</c:v>
                </c:pt>
                <c:pt idx="1348">
                  <c:v>0.40141146279674705</c:v>
                </c:pt>
                <c:pt idx="1349">
                  <c:v>0.3912386881103701</c:v>
                </c:pt>
                <c:pt idx="1350">
                  <c:v>0.38187028263308898</c:v>
                </c:pt>
                <c:pt idx="1351">
                  <c:v>0.36170036048856452</c:v>
                </c:pt>
                <c:pt idx="1352">
                  <c:v>0.36043658599799511</c:v>
                </c:pt>
                <c:pt idx="1353">
                  <c:v>0.35751942788810925</c:v>
                </c:pt>
                <c:pt idx="1354">
                  <c:v>0.34921931513828991</c:v>
                </c:pt>
                <c:pt idx="1355">
                  <c:v>0.3600130839720011</c:v>
                </c:pt>
                <c:pt idx="1356">
                  <c:v>0.35747405146657441</c:v>
                </c:pt>
                <c:pt idx="1357">
                  <c:v>0.37020922863940336</c:v>
                </c:pt>
                <c:pt idx="1358">
                  <c:v>0.36766734584255834</c:v>
                </c:pt>
                <c:pt idx="1359">
                  <c:v>0.3654803133836983</c:v>
                </c:pt>
                <c:pt idx="1360">
                  <c:v>0.35484256699975841</c:v>
                </c:pt>
                <c:pt idx="1361">
                  <c:v>0.35266439568774938</c:v>
                </c:pt>
                <c:pt idx="1362">
                  <c:v>0.35144306185765189</c:v>
                </c:pt>
                <c:pt idx="1363">
                  <c:v>0.35040770519852044</c:v>
                </c:pt>
                <c:pt idx="1364">
                  <c:v>0.35142892875075465</c:v>
                </c:pt>
                <c:pt idx="1365">
                  <c:v>0.34194080975304147</c:v>
                </c:pt>
                <c:pt idx="1366">
                  <c:v>0.34254318909968662</c:v>
                </c:pt>
                <c:pt idx="1367">
                  <c:v>0.32671759260081662</c:v>
                </c:pt>
                <c:pt idx="1368">
                  <c:v>0.32399889406178994</c:v>
                </c:pt>
                <c:pt idx="1369">
                  <c:v>0.31705205727332525</c:v>
                </c:pt>
                <c:pt idx="1370">
                  <c:v>0.32053193976759609</c:v>
                </c:pt>
                <c:pt idx="1371">
                  <c:v>0.31371853062571853</c:v>
                </c:pt>
                <c:pt idx="1372">
                  <c:v>0.29692659437330921</c:v>
                </c:pt>
                <c:pt idx="1373">
                  <c:v>0.2544123932137291</c:v>
                </c:pt>
                <c:pt idx="1374">
                  <c:v>0.25620089896957299</c:v>
                </c:pt>
                <c:pt idx="1375">
                  <c:v>0.2549634604351953</c:v>
                </c:pt>
                <c:pt idx="1376">
                  <c:v>0.24028992202070737</c:v>
                </c:pt>
                <c:pt idx="1377">
                  <c:v>0.24398280415520285</c:v>
                </c:pt>
                <c:pt idx="1378">
                  <c:v>0.24219291708527652</c:v>
                </c:pt>
                <c:pt idx="1379">
                  <c:v>0.23328937538014002</c:v>
                </c:pt>
                <c:pt idx="1380">
                  <c:v>0.23132663050703442</c:v>
                </c:pt>
                <c:pt idx="1381">
                  <c:v>0.23879884109164612</c:v>
                </c:pt>
                <c:pt idx="1382">
                  <c:v>0.24640690303669549</c:v>
                </c:pt>
                <c:pt idx="1383">
                  <c:v>0.24831292607136005</c:v>
                </c:pt>
                <c:pt idx="1384">
                  <c:v>0.25407324757312016</c:v>
                </c:pt>
                <c:pt idx="1385">
                  <c:v>0.25545117065566908</c:v>
                </c:pt>
                <c:pt idx="1386">
                  <c:v>0.27332103604432373</c:v>
                </c:pt>
                <c:pt idx="1387">
                  <c:v>0.26080071162049312</c:v>
                </c:pt>
                <c:pt idx="1388">
                  <c:v>0.26065586274068536</c:v>
                </c:pt>
                <c:pt idx="1389">
                  <c:v>0.27567490906072289</c:v>
                </c:pt>
                <c:pt idx="1390">
                  <c:v>0.27841665157854195</c:v>
                </c:pt>
                <c:pt idx="1391">
                  <c:v>0.29414603395203653</c:v>
                </c:pt>
                <c:pt idx="1392">
                  <c:v>0.31408515546721139</c:v>
                </c:pt>
                <c:pt idx="1393">
                  <c:v>0.3143915211037927</c:v>
                </c:pt>
                <c:pt idx="1394">
                  <c:v>0.31400069715258627</c:v>
                </c:pt>
                <c:pt idx="1395">
                  <c:v>0.31641453650321344</c:v>
                </c:pt>
                <c:pt idx="1396">
                  <c:v>0.31463090857245224</c:v>
                </c:pt>
                <c:pt idx="1397">
                  <c:v>0.33854151625942841</c:v>
                </c:pt>
                <c:pt idx="1398">
                  <c:v>0.34201486584995</c:v>
                </c:pt>
                <c:pt idx="1399">
                  <c:v>0.33934042316489299</c:v>
                </c:pt>
                <c:pt idx="1400">
                  <c:v>0.3402908325340922</c:v>
                </c:pt>
                <c:pt idx="1401">
                  <c:v>0.34858202022877743</c:v>
                </c:pt>
                <c:pt idx="1402">
                  <c:v>0.34626610334105673</c:v>
                </c:pt>
                <c:pt idx="1403">
                  <c:v>0.35877768110419023</c:v>
                </c:pt>
                <c:pt idx="1404">
                  <c:v>0.35813879164464013</c:v>
                </c:pt>
                <c:pt idx="1405">
                  <c:v>0.3595968918382737</c:v>
                </c:pt>
                <c:pt idx="1406">
                  <c:v>0.35958151329394528</c:v>
                </c:pt>
                <c:pt idx="1407">
                  <c:v>0.35988167023350798</c:v>
                </c:pt>
                <c:pt idx="1408">
                  <c:v>0.36093680622773483</c:v>
                </c:pt>
                <c:pt idx="1409">
                  <c:v>0.36456162288777344</c:v>
                </c:pt>
                <c:pt idx="1410">
                  <c:v>0.36516669575168587</c:v>
                </c:pt>
                <c:pt idx="1411">
                  <c:v>0.36013391171198433</c:v>
                </c:pt>
                <c:pt idx="1412">
                  <c:v>0.36924528095168629</c:v>
                </c:pt>
                <c:pt idx="1413">
                  <c:v>0.37146038990067365</c:v>
                </c:pt>
                <c:pt idx="1414">
                  <c:v>0.36799103916490633</c:v>
                </c:pt>
                <c:pt idx="1415">
                  <c:v>0.35127027800027066</c:v>
                </c:pt>
                <c:pt idx="1416">
                  <c:v>0.3573697856713407</c:v>
                </c:pt>
                <c:pt idx="1417">
                  <c:v>0.36075862445039591</c:v>
                </c:pt>
                <c:pt idx="1418">
                  <c:v>0.35992954598310012</c:v>
                </c:pt>
                <c:pt idx="1419">
                  <c:v>0.35648715377916579</c:v>
                </c:pt>
                <c:pt idx="1420">
                  <c:v>0.37043365364921543</c:v>
                </c:pt>
                <c:pt idx="1421">
                  <c:v>0.35714777794824443</c:v>
                </c:pt>
                <c:pt idx="1422">
                  <c:v>0.33655384921582082</c:v>
                </c:pt>
                <c:pt idx="1423">
                  <c:v>0.33681045110954033</c:v>
                </c:pt>
                <c:pt idx="1424">
                  <c:v>0.33927719506272713</c:v>
                </c:pt>
                <c:pt idx="1425">
                  <c:v>0.33296111796344419</c:v>
                </c:pt>
                <c:pt idx="1426">
                  <c:v>0.33310724040707756</c:v>
                </c:pt>
                <c:pt idx="1427">
                  <c:v>0.30350688450627911</c:v>
                </c:pt>
                <c:pt idx="1428">
                  <c:v>0.30838671583722627</c:v>
                </c:pt>
                <c:pt idx="1429">
                  <c:v>0.30607639854345048</c:v>
                </c:pt>
                <c:pt idx="1430">
                  <c:v>0.30041722562670997</c:v>
                </c:pt>
                <c:pt idx="1431">
                  <c:v>0.30651264018937691</c:v>
                </c:pt>
                <c:pt idx="1432">
                  <c:v>0.31495044531935334</c:v>
                </c:pt>
                <c:pt idx="1433">
                  <c:v>0.30419993514534882</c:v>
                </c:pt>
                <c:pt idx="1434">
                  <c:v>0.30430506886288555</c:v>
                </c:pt>
                <c:pt idx="1435">
                  <c:v>0.29917893203250423</c:v>
                </c:pt>
                <c:pt idx="1436">
                  <c:v>0.30009670484862194</c:v>
                </c:pt>
                <c:pt idx="1437">
                  <c:v>0.2952771826162483</c:v>
                </c:pt>
                <c:pt idx="1438">
                  <c:v>0.29436251838674388</c:v>
                </c:pt>
                <c:pt idx="1439">
                  <c:v>0.30257661865728586</c:v>
                </c:pt>
                <c:pt idx="1440">
                  <c:v>0.3133103409645171</c:v>
                </c:pt>
                <c:pt idx="1441">
                  <c:v>0.31405917262632738</c:v>
                </c:pt>
                <c:pt idx="1442">
                  <c:v>0.29906835648212077</c:v>
                </c:pt>
                <c:pt idx="1443">
                  <c:v>0.30118025093689454</c:v>
                </c:pt>
                <c:pt idx="1444">
                  <c:v>0.30050818176653071</c:v>
                </c:pt>
                <c:pt idx="1445">
                  <c:v>0.30068864950164997</c:v>
                </c:pt>
                <c:pt idx="1446">
                  <c:v>0.27663536349493673</c:v>
                </c:pt>
                <c:pt idx="1447">
                  <c:v>0.27788541411642742</c:v>
                </c:pt>
                <c:pt idx="1448">
                  <c:v>0.27649309168671882</c:v>
                </c:pt>
                <c:pt idx="1449">
                  <c:v>0.26928030641447037</c:v>
                </c:pt>
                <c:pt idx="1450">
                  <c:v>0.25077350752772226</c:v>
                </c:pt>
                <c:pt idx="1451">
                  <c:v>0.25410417189041107</c:v>
                </c:pt>
                <c:pt idx="1452">
                  <c:v>0.26245276282232227</c:v>
                </c:pt>
                <c:pt idx="1453">
                  <c:v>0.2946012118896647</c:v>
                </c:pt>
                <c:pt idx="1454">
                  <c:v>0.29244019680481903</c:v>
                </c:pt>
                <c:pt idx="1455">
                  <c:v>0.29394855458734137</c:v>
                </c:pt>
                <c:pt idx="1456">
                  <c:v>0.30398629817551892</c:v>
                </c:pt>
                <c:pt idx="1457">
                  <c:v>0.30573115342510271</c:v>
                </c:pt>
                <c:pt idx="1458">
                  <c:v>0.29520511017032169</c:v>
                </c:pt>
                <c:pt idx="1459">
                  <c:v>0.29729687492125584</c:v>
                </c:pt>
                <c:pt idx="1460">
                  <c:v>0.29813138445705767</c:v>
                </c:pt>
                <c:pt idx="1461">
                  <c:v>0.30284988118635842</c:v>
                </c:pt>
                <c:pt idx="1462">
                  <c:v>0.29480980600765638</c:v>
                </c:pt>
                <c:pt idx="1463">
                  <c:v>0.29085348614028594</c:v>
                </c:pt>
                <c:pt idx="1464">
                  <c:v>0.29083062097515422</c:v>
                </c:pt>
                <c:pt idx="1465">
                  <c:v>0.28917417027500902</c:v>
                </c:pt>
                <c:pt idx="1466">
                  <c:v>0.29490389767386216</c:v>
                </c:pt>
                <c:pt idx="1467">
                  <c:v>0.29502319493627999</c:v>
                </c:pt>
                <c:pt idx="1468">
                  <c:v>0.29463726725155537</c:v>
                </c:pt>
                <c:pt idx="1469">
                  <c:v>0.28108443230114366</c:v>
                </c:pt>
                <c:pt idx="1470">
                  <c:v>0.26901303684582101</c:v>
                </c:pt>
                <c:pt idx="1471">
                  <c:v>0.27276951577242858</c:v>
                </c:pt>
                <c:pt idx="1472">
                  <c:v>0.27302450873677636</c:v>
                </c:pt>
                <c:pt idx="1473">
                  <c:v>0.27460064932100436</c:v>
                </c:pt>
                <c:pt idx="1474">
                  <c:v>0.27462882511143755</c:v>
                </c:pt>
                <c:pt idx="1475">
                  <c:v>0.27481724331913948</c:v>
                </c:pt>
                <c:pt idx="1476">
                  <c:v>0.27090689785574867</c:v>
                </c:pt>
                <c:pt idx="1477">
                  <c:v>0.26278053937247958</c:v>
                </c:pt>
                <c:pt idx="1478">
                  <c:v>0.26766158743377211</c:v>
                </c:pt>
                <c:pt idx="1479">
                  <c:v>0.26959166373163651</c:v>
                </c:pt>
                <c:pt idx="1480">
                  <c:v>0.27122316330563651</c:v>
                </c:pt>
                <c:pt idx="1481">
                  <c:v>0.30082754299603343</c:v>
                </c:pt>
                <c:pt idx="1482">
                  <c:v>0.29604464006888948</c:v>
                </c:pt>
                <c:pt idx="1483">
                  <c:v>0.26942315223896951</c:v>
                </c:pt>
                <c:pt idx="1484">
                  <c:v>0.2676131082739005</c:v>
                </c:pt>
                <c:pt idx="1485">
                  <c:v>0.27056909693741804</c:v>
                </c:pt>
                <c:pt idx="1486">
                  <c:v>0.26937610436646525</c:v>
                </c:pt>
                <c:pt idx="1487">
                  <c:v>0.26755452392569556</c:v>
                </c:pt>
                <c:pt idx="1488">
                  <c:v>0.28039324627643319</c:v>
                </c:pt>
                <c:pt idx="1489">
                  <c:v>0.27790695664518711</c:v>
                </c:pt>
                <c:pt idx="1490">
                  <c:v>0.2759878879185575</c:v>
                </c:pt>
                <c:pt idx="1491">
                  <c:v>0.25849207984551575</c:v>
                </c:pt>
                <c:pt idx="1492">
                  <c:v>0.2632405625860364</c:v>
                </c:pt>
                <c:pt idx="1493">
                  <c:v>0.27020618028337606</c:v>
                </c:pt>
                <c:pt idx="1494">
                  <c:v>0.27302800782734205</c:v>
                </c:pt>
                <c:pt idx="1495">
                  <c:v>0.27609472501641752</c:v>
                </c:pt>
                <c:pt idx="1496">
                  <c:v>0.26675988205109569</c:v>
                </c:pt>
                <c:pt idx="1497">
                  <c:v>0.27111145317772162</c:v>
                </c:pt>
                <c:pt idx="1498">
                  <c:v>0.27111145317772162</c:v>
                </c:pt>
                <c:pt idx="1499">
                  <c:v>0.28630985043349688</c:v>
                </c:pt>
                <c:pt idx="1500">
                  <c:v>0.28627237266751482</c:v>
                </c:pt>
                <c:pt idx="1501">
                  <c:v>0.28484936079982393</c:v>
                </c:pt>
                <c:pt idx="1502">
                  <c:v>0.27930920997334718</c:v>
                </c:pt>
                <c:pt idx="1503">
                  <c:v>0.27657228176688081</c:v>
                </c:pt>
                <c:pt idx="1504">
                  <c:v>0.28400390471292658</c:v>
                </c:pt>
                <c:pt idx="1505">
                  <c:v>0.28395729785815521</c:v>
                </c:pt>
                <c:pt idx="1506">
                  <c:v>0.2868458010029975</c:v>
                </c:pt>
                <c:pt idx="1507">
                  <c:v>0.28834340629473459</c:v>
                </c:pt>
                <c:pt idx="1508">
                  <c:v>0.28415573402203081</c:v>
                </c:pt>
                <c:pt idx="1509">
                  <c:v>0.28463914456434319</c:v>
                </c:pt>
                <c:pt idx="1510">
                  <c:v>0.2810156060313132</c:v>
                </c:pt>
                <c:pt idx="1511">
                  <c:v>0.25055286540932825</c:v>
                </c:pt>
                <c:pt idx="1512">
                  <c:v>0.25940736455982433</c:v>
                </c:pt>
                <c:pt idx="1513">
                  <c:v>0.25805590402224321</c:v>
                </c:pt>
                <c:pt idx="1514">
                  <c:v>0.26061665763540848</c:v>
                </c:pt>
                <c:pt idx="1515">
                  <c:v>0.2551809505588235</c:v>
                </c:pt>
                <c:pt idx="1516">
                  <c:v>0.24709088522579489</c:v>
                </c:pt>
                <c:pt idx="1517">
                  <c:v>0.24536749332615437</c:v>
                </c:pt>
                <c:pt idx="1518">
                  <c:v>0.24710832423472168</c:v>
                </c:pt>
                <c:pt idx="1519">
                  <c:v>0.24721142820085479</c:v>
                </c:pt>
                <c:pt idx="1520">
                  <c:v>0.25651336286765553</c:v>
                </c:pt>
                <c:pt idx="1521">
                  <c:v>0.25125349114486206</c:v>
                </c:pt>
                <c:pt idx="1522">
                  <c:v>0.25215140453534263</c:v>
                </c:pt>
                <c:pt idx="1523">
                  <c:v>0.25217163288859668</c:v>
                </c:pt>
                <c:pt idx="1524">
                  <c:v>0.26074947822955741</c:v>
                </c:pt>
                <c:pt idx="1525">
                  <c:v>0.2584340607149459</c:v>
                </c:pt>
                <c:pt idx="1526">
                  <c:v>0.25887206963746651</c:v>
                </c:pt>
                <c:pt idx="1527">
                  <c:v>0.26678963696906294</c:v>
                </c:pt>
                <c:pt idx="1528">
                  <c:v>0.28099153035706992</c:v>
                </c:pt>
                <c:pt idx="1529">
                  <c:v>0.25668796058454285</c:v>
                </c:pt>
                <c:pt idx="1530">
                  <c:v>0.25923196288834871</c:v>
                </c:pt>
                <c:pt idx="1531">
                  <c:v>0.25938235912481639</c:v>
                </c:pt>
                <c:pt idx="1532">
                  <c:v>0.25601864577805067</c:v>
                </c:pt>
                <c:pt idx="1533">
                  <c:v>0.24678176310934793</c:v>
                </c:pt>
                <c:pt idx="1534">
                  <c:v>0.23666834821465332</c:v>
                </c:pt>
                <c:pt idx="1535">
                  <c:v>0.23681449982400962</c:v>
                </c:pt>
                <c:pt idx="1536">
                  <c:v>0.23179294805186734</c:v>
                </c:pt>
                <c:pt idx="1537">
                  <c:v>0.23794030139627537</c:v>
                </c:pt>
                <c:pt idx="1538">
                  <c:v>0.25256989157343157</c:v>
                </c:pt>
                <c:pt idx="1539">
                  <c:v>0.25577020844523524</c:v>
                </c:pt>
                <c:pt idx="1540">
                  <c:v>0.25525643570727863</c:v>
                </c:pt>
                <c:pt idx="1541">
                  <c:v>0.27050574806114575</c:v>
                </c:pt>
                <c:pt idx="1542">
                  <c:v>0.26497558425761325</c:v>
                </c:pt>
                <c:pt idx="1543">
                  <c:v>0.26886158243828567</c:v>
                </c:pt>
                <c:pt idx="1544">
                  <c:v>0.26415184246945095</c:v>
                </c:pt>
                <c:pt idx="1545">
                  <c:v>0.26849219266341662</c:v>
                </c:pt>
                <c:pt idx="1546">
                  <c:v>0.27706216448746213</c:v>
                </c:pt>
                <c:pt idx="1547">
                  <c:v>0.27776301425840022</c:v>
                </c:pt>
                <c:pt idx="1548">
                  <c:v>0.28151086051535501</c:v>
                </c:pt>
                <c:pt idx="1549">
                  <c:v>0.28185501636777666</c:v>
                </c:pt>
                <c:pt idx="1550">
                  <c:v>0.28646266567032336</c:v>
                </c:pt>
                <c:pt idx="1551">
                  <c:v>0.28644826447874844</c:v>
                </c:pt>
                <c:pt idx="1552">
                  <c:v>0.29563033874617539</c:v>
                </c:pt>
                <c:pt idx="1553">
                  <c:v>0.29351306559923923</c:v>
                </c:pt>
                <c:pt idx="1554">
                  <c:v>0.28187805294564594</c:v>
                </c:pt>
                <c:pt idx="1555">
                  <c:v>0.28950216273110652</c:v>
                </c:pt>
                <c:pt idx="1556">
                  <c:v>0.28756431300912855</c:v>
                </c:pt>
                <c:pt idx="1557">
                  <c:v>0.28320263811779811</c:v>
                </c:pt>
                <c:pt idx="1558">
                  <c:v>0.27191724982179244</c:v>
                </c:pt>
                <c:pt idx="1559">
                  <c:v>0.27168302291812607</c:v>
                </c:pt>
                <c:pt idx="1560">
                  <c:v>0.28783945815372258</c:v>
                </c:pt>
                <c:pt idx="1561">
                  <c:v>0.28589196849855519</c:v>
                </c:pt>
                <c:pt idx="1562">
                  <c:v>0.29961243572141949</c:v>
                </c:pt>
                <c:pt idx="1563">
                  <c:v>0.29612262595919464</c:v>
                </c:pt>
                <c:pt idx="1564">
                  <c:v>0.29505403036254907</c:v>
                </c:pt>
                <c:pt idx="1565">
                  <c:v>0.29498762211710716</c:v>
                </c:pt>
                <c:pt idx="1566">
                  <c:v>0.30757787554195692</c:v>
                </c:pt>
                <c:pt idx="1567">
                  <c:v>0.30300582523284103</c:v>
                </c:pt>
                <c:pt idx="1568">
                  <c:v>0.28893476582432881</c:v>
                </c:pt>
                <c:pt idx="1569">
                  <c:v>0.29027491731721594</c:v>
                </c:pt>
                <c:pt idx="1570">
                  <c:v>0.30271621442977376</c:v>
                </c:pt>
                <c:pt idx="1571">
                  <c:v>0.29723155464146356</c:v>
                </c:pt>
                <c:pt idx="1572">
                  <c:v>0.30075645285637687</c:v>
                </c:pt>
                <c:pt idx="1573">
                  <c:v>0.29825744572639784</c:v>
                </c:pt>
                <c:pt idx="1574">
                  <c:v>0.30408927874440655</c:v>
                </c:pt>
                <c:pt idx="1575">
                  <c:v>0.30235921672570215</c:v>
                </c:pt>
                <c:pt idx="1576">
                  <c:v>0.2953862681787815</c:v>
                </c:pt>
                <c:pt idx="1577">
                  <c:v>0.2945763606219185</c:v>
                </c:pt>
                <c:pt idx="1578">
                  <c:v>0.29958080537411563</c:v>
                </c:pt>
                <c:pt idx="1579">
                  <c:v>0.30791553449895898</c:v>
                </c:pt>
                <c:pt idx="1580">
                  <c:v>0.29397671845124784</c:v>
                </c:pt>
                <c:pt idx="1581">
                  <c:v>0.31600451401639557</c:v>
                </c:pt>
                <c:pt idx="1582">
                  <c:v>0.30446223277280948</c:v>
                </c:pt>
                <c:pt idx="1583">
                  <c:v>0.32086800633500645</c:v>
                </c:pt>
                <c:pt idx="1584">
                  <c:v>0.32296205208503692</c:v>
                </c:pt>
                <c:pt idx="1585">
                  <c:v>0.32166062377698212</c:v>
                </c:pt>
                <c:pt idx="1586">
                  <c:v>0.32453427970979676</c:v>
                </c:pt>
                <c:pt idx="1587">
                  <c:v>0.33244456364627101</c:v>
                </c:pt>
                <c:pt idx="1588">
                  <c:v>0.3359893630132626</c:v>
                </c:pt>
                <c:pt idx="1589">
                  <c:v>0.3420832158779305</c:v>
                </c:pt>
                <c:pt idx="1590">
                  <c:v>0.31802691555145834</c:v>
                </c:pt>
                <c:pt idx="1591">
                  <c:v>0.31686271036374924</c:v>
                </c:pt>
                <c:pt idx="1592">
                  <c:v>0.31184162072705807</c:v>
                </c:pt>
                <c:pt idx="1593">
                  <c:v>0.30092487848116106</c:v>
                </c:pt>
                <c:pt idx="1594">
                  <c:v>0.30030832434086641</c:v>
                </c:pt>
                <c:pt idx="1595">
                  <c:v>0.30044982609003967</c:v>
                </c:pt>
                <c:pt idx="1596">
                  <c:v>0.30105041005277977</c:v>
                </c:pt>
                <c:pt idx="1597">
                  <c:v>0.30617285999667415</c:v>
                </c:pt>
                <c:pt idx="1598">
                  <c:v>0.30772638275373859</c:v>
                </c:pt>
                <c:pt idx="1599">
                  <c:v>0.31156909737349259</c:v>
                </c:pt>
                <c:pt idx="1600">
                  <c:v>0.30627988690252983</c:v>
                </c:pt>
                <c:pt idx="1601">
                  <c:v>0.30591247999441806</c:v>
                </c:pt>
                <c:pt idx="1602">
                  <c:v>0.29752490008243559</c:v>
                </c:pt>
                <c:pt idx="1603">
                  <c:v>0.30618721161999352</c:v>
                </c:pt>
                <c:pt idx="1604">
                  <c:v>0.31161509764487316</c:v>
                </c:pt>
                <c:pt idx="1605">
                  <c:v>0.31649622644093017</c:v>
                </c:pt>
                <c:pt idx="1606">
                  <c:v>0.31304701925075884</c:v>
                </c:pt>
                <c:pt idx="1607">
                  <c:v>0.31710536393041888</c:v>
                </c:pt>
                <c:pt idx="1608">
                  <c:v>0.29984827265775932</c:v>
                </c:pt>
                <c:pt idx="1609">
                  <c:v>0.28698328680956703</c:v>
                </c:pt>
                <c:pt idx="1610">
                  <c:v>0.28990811493554192</c:v>
                </c:pt>
                <c:pt idx="1611">
                  <c:v>0.27413341153501913</c:v>
                </c:pt>
                <c:pt idx="1612">
                  <c:v>0.26831675901629071</c:v>
                </c:pt>
                <c:pt idx="1613">
                  <c:v>0.2638349663849075</c:v>
                </c:pt>
                <c:pt idx="1614">
                  <c:v>0.26200157447673778</c:v>
                </c:pt>
                <c:pt idx="1615">
                  <c:v>0.26091462269860927</c:v>
                </c:pt>
                <c:pt idx="1616">
                  <c:v>0.2616085523384426</c:v>
                </c:pt>
                <c:pt idx="1617">
                  <c:v>0.25219768083973648</c:v>
                </c:pt>
                <c:pt idx="1618">
                  <c:v>0.24333762870304398</c:v>
                </c:pt>
                <c:pt idx="1619">
                  <c:v>0.23852290643347446</c:v>
                </c:pt>
                <c:pt idx="1620">
                  <c:v>0.24148835321375606</c:v>
                </c:pt>
                <c:pt idx="1621">
                  <c:v>0.24738923661214868</c:v>
                </c:pt>
                <c:pt idx="1622">
                  <c:v>0.25819003670179291</c:v>
                </c:pt>
                <c:pt idx="1623">
                  <c:v>0.26974926294035106</c:v>
                </c:pt>
                <c:pt idx="1624">
                  <c:v>0.26882505130970691</c:v>
                </c:pt>
                <c:pt idx="1625">
                  <c:v>0.27156867820242658</c:v>
                </c:pt>
                <c:pt idx="1626">
                  <c:v>0.25940870620716328</c:v>
                </c:pt>
                <c:pt idx="1627">
                  <c:v>0.2561773847402159</c:v>
                </c:pt>
                <c:pt idx="1628">
                  <c:v>0.28016906040985717</c:v>
                </c:pt>
                <c:pt idx="1629">
                  <c:v>0.27139830101082579</c:v>
                </c:pt>
                <c:pt idx="1630">
                  <c:v>0.27753831024885195</c:v>
                </c:pt>
                <c:pt idx="1631">
                  <c:v>0.27507744166205506</c:v>
                </c:pt>
                <c:pt idx="1632">
                  <c:v>0.28035322516175709</c:v>
                </c:pt>
                <c:pt idx="1633">
                  <c:v>0.28421980357743626</c:v>
                </c:pt>
                <c:pt idx="1634">
                  <c:v>0.28072698352817821</c:v>
                </c:pt>
                <c:pt idx="1635">
                  <c:v>0.284366189798965</c:v>
                </c:pt>
                <c:pt idx="1636">
                  <c:v>0.287379419700657</c:v>
                </c:pt>
                <c:pt idx="1637">
                  <c:v>0.28373674247565156</c:v>
                </c:pt>
                <c:pt idx="1638">
                  <c:v>0.28331511950258526</c:v>
                </c:pt>
                <c:pt idx="1639">
                  <c:v>0.28958328816988188</c:v>
                </c:pt>
                <c:pt idx="1640">
                  <c:v>0.27707849640287985</c:v>
                </c:pt>
                <c:pt idx="1641">
                  <c:v>0.28377540219105474</c:v>
                </c:pt>
                <c:pt idx="1642">
                  <c:v>0.29609412761767973</c:v>
                </c:pt>
                <c:pt idx="1643">
                  <c:v>0.28635073758603596</c:v>
                </c:pt>
                <c:pt idx="1644">
                  <c:v>0.28553848607079946</c:v>
                </c:pt>
                <c:pt idx="1645">
                  <c:v>0.28901574954986975</c:v>
                </c:pt>
                <c:pt idx="1646">
                  <c:v>0.29066153677996193</c:v>
                </c:pt>
                <c:pt idx="1647">
                  <c:v>0.2858399503883477</c:v>
                </c:pt>
                <c:pt idx="1648">
                  <c:v>0.28705159248783563</c:v>
                </c:pt>
                <c:pt idx="1649">
                  <c:v>0.28953262927139134</c:v>
                </c:pt>
                <c:pt idx="1650">
                  <c:v>0.28676343830600814</c:v>
                </c:pt>
                <c:pt idx="1651">
                  <c:v>0.28414875387830602</c:v>
                </c:pt>
                <c:pt idx="1652">
                  <c:v>0.26386091529562539</c:v>
                </c:pt>
                <c:pt idx="1653">
                  <c:v>0.26234054789159594</c:v>
                </c:pt>
                <c:pt idx="1654">
                  <c:v>0.26228719849128884</c:v>
                </c:pt>
                <c:pt idx="1655">
                  <c:v>0.25888002982501462</c:v>
                </c:pt>
                <c:pt idx="1656">
                  <c:v>0.25818481711361574</c:v>
                </c:pt>
                <c:pt idx="1657">
                  <c:v>0.26828647514076476</c:v>
                </c:pt>
                <c:pt idx="1658">
                  <c:v>0.27252264891232453</c:v>
                </c:pt>
                <c:pt idx="1659">
                  <c:v>0.27097201749118133</c:v>
                </c:pt>
                <c:pt idx="1660">
                  <c:v>0.27198910984058516</c:v>
                </c:pt>
                <c:pt idx="1661">
                  <c:v>0.29305059356733137</c:v>
                </c:pt>
                <c:pt idx="1662">
                  <c:v>0.28975484383421346</c:v>
                </c:pt>
                <c:pt idx="1663">
                  <c:v>0.29213646949791539</c:v>
                </c:pt>
                <c:pt idx="1664">
                  <c:v>0.29458433524645794</c:v>
                </c:pt>
                <c:pt idx="1665">
                  <c:v>0.29802215273018556</c:v>
                </c:pt>
                <c:pt idx="1666">
                  <c:v>0.30133212722061364</c:v>
                </c:pt>
                <c:pt idx="1667">
                  <c:v>0.37080671022754741</c:v>
                </c:pt>
                <c:pt idx="1668">
                  <c:v>0.41949442239405665</c:v>
                </c:pt>
                <c:pt idx="1669">
                  <c:v>0.44911998221427757</c:v>
                </c:pt>
                <c:pt idx="1670">
                  <c:v>0.46932341977184527</c:v>
                </c:pt>
                <c:pt idx="1671">
                  <c:v>0.48631194866142102</c:v>
                </c:pt>
                <c:pt idx="1672">
                  <c:v>0.49720560956112525</c:v>
                </c:pt>
                <c:pt idx="1673">
                  <c:v>0.52658119790576152</c:v>
                </c:pt>
                <c:pt idx="1674">
                  <c:v>0.54556524838158071</c:v>
                </c:pt>
                <c:pt idx="1675">
                  <c:v>0.55084587410641361</c:v>
                </c:pt>
                <c:pt idx="1676">
                  <c:v>0.54305958526262643</c:v>
                </c:pt>
                <c:pt idx="1677">
                  <c:v>0.54812184263316621</c:v>
                </c:pt>
                <c:pt idx="1678">
                  <c:v>0.54426285806644092</c:v>
                </c:pt>
                <c:pt idx="1679">
                  <c:v>0.55794178317512311</c:v>
                </c:pt>
                <c:pt idx="1680">
                  <c:v>0.55121174760123159</c:v>
                </c:pt>
                <c:pt idx="1681">
                  <c:v>0.55728803580600605</c:v>
                </c:pt>
                <c:pt idx="1682">
                  <c:v>0.5513873990925382</c:v>
                </c:pt>
                <c:pt idx="1683">
                  <c:v>0.55513815234725505</c:v>
                </c:pt>
                <c:pt idx="1684">
                  <c:v>0.54880801936554147</c:v>
                </c:pt>
                <c:pt idx="1685">
                  <c:v>0.52878837092057351</c:v>
                </c:pt>
                <c:pt idx="1686">
                  <c:v>0.51989390714900796</c:v>
                </c:pt>
                <c:pt idx="1687">
                  <c:v>0.48843165474219519</c:v>
                </c:pt>
                <c:pt idx="1688">
                  <c:v>0.49274630167355798</c:v>
                </c:pt>
                <c:pt idx="1689">
                  <c:v>0.46489978307471463</c:v>
                </c:pt>
                <c:pt idx="1690">
                  <c:v>0.46441624247481617</c:v>
                </c:pt>
                <c:pt idx="1691">
                  <c:v>0.46580529502892432</c:v>
                </c:pt>
                <c:pt idx="1692">
                  <c:v>0.42195501452616069</c:v>
                </c:pt>
                <c:pt idx="1693">
                  <c:v>0.35791923834430173</c:v>
                </c:pt>
                <c:pt idx="1694">
                  <c:v>0.34095228219256712</c:v>
                </c:pt>
                <c:pt idx="1695">
                  <c:v>0.21886391225757112</c:v>
                </c:pt>
                <c:pt idx="1696">
                  <c:v>0.18004951022409849</c:v>
                </c:pt>
                <c:pt idx="1697">
                  <c:v>0.17601742339256576</c:v>
                </c:pt>
                <c:pt idx="1698">
                  <c:v>0.18540032794594716</c:v>
                </c:pt>
                <c:pt idx="1699">
                  <c:v>0.18531478218214137</c:v>
                </c:pt>
                <c:pt idx="1700">
                  <c:v>0.18398479657583555</c:v>
                </c:pt>
                <c:pt idx="1701">
                  <c:v>0.18497955111997985</c:v>
                </c:pt>
                <c:pt idx="1702">
                  <c:v>0.18605805153402621</c:v>
                </c:pt>
                <c:pt idx="1703">
                  <c:v>0.18190797685011834</c:v>
                </c:pt>
                <c:pt idx="1704">
                  <c:v>0.18242799258895803</c:v>
                </c:pt>
                <c:pt idx="1705">
                  <c:v>0.18556256491890538</c:v>
                </c:pt>
                <c:pt idx="1706">
                  <c:v>0.18872007654784009</c:v>
                </c:pt>
                <c:pt idx="1707">
                  <c:v>0.18690340479469411</c:v>
                </c:pt>
                <c:pt idx="1708">
                  <c:v>0.18504140502882394</c:v>
                </c:pt>
                <c:pt idx="1709">
                  <c:v>0.18302852505432293</c:v>
                </c:pt>
                <c:pt idx="1710">
                  <c:v>0.19017319350883558</c:v>
                </c:pt>
                <c:pt idx="1711">
                  <c:v>0.27123680458881927</c:v>
                </c:pt>
                <c:pt idx="1712">
                  <c:v>0.37917467034213453</c:v>
                </c:pt>
                <c:pt idx="1713">
                  <c:v>0.41824271802144908</c:v>
                </c:pt>
                <c:pt idx="1714">
                  <c:v>0.46884471493019791</c:v>
                </c:pt>
                <c:pt idx="1715">
                  <c:v>0.49380441768596706</c:v>
                </c:pt>
                <c:pt idx="1716">
                  <c:v>0.50180036274445139</c:v>
                </c:pt>
                <c:pt idx="1717">
                  <c:v>0.4931174748472763</c:v>
                </c:pt>
                <c:pt idx="1718">
                  <c:v>0.50286455562755417</c:v>
                </c:pt>
                <c:pt idx="1719">
                  <c:v>0.51019294018768124</c:v>
                </c:pt>
                <c:pt idx="1720">
                  <c:v>0.52744142031831487</c:v>
                </c:pt>
                <c:pt idx="1721">
                  <c:v>0.53703061593337786</c:v>
                </c:pt>
                <c:pt idx="1722">
                  <c:v>0.55610877866351482</c:v>
                </c:pt>
                <c:pt idx="1723">
                  <c:v>0.55539664398642252</c:v>
                </c:pt>
                <c:pt idx="1724">
                  <c:v>0.57167560772795445</c:v>
                </c:pt>
                <c:pt idx="1725">
                  <c:v>0.56489213890754741</c:v>
                </c:pt>
                <c:pt idx="1726">
                  <c:v>0.55967075346394723</c:v>
                </c:pt>
                <c:pt idx="1727">
                  <c:v>0.55422341262075525</c:v>
                </c:pt>
                <c:pt idx="1728">
                  <c:v>0.55344418616043267</c:v>
                </c:pt>
                <c:pt idx="1729">
                  <c:v>0.55382559400395381</c:v>
                </c:pt>
                <c:pt idx="1730">
                  <c:v>0.54366570892328359</c:v>
                </c:pt>
                <c:pt idx="1731">
                  <c:v>0.5377192521498465</c:v>
                </c:pt>
                <c:pt idx="1732">
                  <c:v>0.52145323931411891</c:v>
                </c:pt>
                <c:pt idx="1733">
                  <c:v>0.50523350361060526</c:v>
                </c:pt>
                <c:pt idx="1734">
                  <c:v>0.48096567498681853</c:v>
                </c:pt>
                <c:pt idx="1735">
                  <c:v>0.44874970869996933</c:v>
                </c:pt>
                <c:pt idx="1736">
                  <c:v>0.43887649915900706</c:v>
                </c:pt>
                <c:pt idx="1737">
                  <c:v>0.41298825737981254</c:v>
                </c:pt>
                <c:pt idx="1738">
                  <c:v>0.38797758109190461</c:v>
                </c:pt>
                <c:pt idx="1739">
                  <c:v>0.35383650861839677</c:v>
                </c:pt>
                <c:pt idx="1740">
                  <c:v>0.28210977154957878</c:v>
                </c:pt>
                <c:pt idx="1741">
                  <c:v>0.2826611517613829</c:v>
                </c:pt>
                <c:pt idx="1742">
                  <c:v>0.26822002884866775</c:v>
                </c:pt>
                <c:pt idx="1743">
                  <c:v>0.27316859941639515</c:v>
                </c:pt>
                <c:pt idx="1744">
                  <c:v>0.27947565139362912</c:v>
                </c:pt>
                <c:pt idx="1745">
                  <c:v>0.27938975467685362</c:v>
                </c:pt>
                <c:pt idx="1746">
                  <c:v>0.30142310610390693</c:v>
                </c:pt>
                <c:pt idx="1747">
                  <c:v>0.28175908732023514</c:v>
                </c:pt>
                <c:pt idx="1748">
                  <c:v>0.28172179668730168</c:v>
                </c:pt>
                <c:pt idx="1749">
                  <c:v>0.27960998744808163</c:v>
                </c:pt>
                <c:pt idx="1750">
                  <c:v>0.27546402664025316</c:v>
                </c:pt>
                <c:pt idx="1751">
                  <c:v>0.28157919020757133</c:v>
                </c:pt>
                <c:pt idx="1752">
                  <c:v>0.30019035498741908</c:v>
                </c:pt>
                <c:pt idx="1753">
                  <c:v>0.30070952727565647</c:v>
                </c:pt>
                <c:pt idx="1754">
                  <c:v>0.31669794894549991</c:v>
                </c:pt>
                <c:pt idx="1755">
                  <c:v>0.31744044421695211</c:v>
                </c:pt>
                <c:pt idx="1756">
                  <c:v>0.31572851042452343</c:v>
                </c:pt>
                <c:pt idx="1757">
                  <c:v>0.33417102756214928</c:v>
                </c:pt>
                <c:pt idx="1758">
                  <c:v>0.35658985401292859</c:v>
                </c:pt>
                <c:pt idx="1759">
                  <c:v>0.3604406588079459</c:v>
                </c:pt>
                <c:pt idx="1760">
                  <c:v>0.36986804147474561</c:v>
                </c:pt>
                <c:pt idx="1761">
                  <c:v>0.37637161323373736</c:v>
                </c:pt>
                <c:pt idx="1762">
                  <c:v>0.37627259243926781</c:v>
                </c:pt>
                <c:pt idx="1763">
                  <c:v>0.35564239206463016</c:v>
                </c:pt>
                <c:pt idx="1764">
                  <c:v>0.3719550341371537</c:v>
                </c:pt>
                <c:pt idx="1765">
                  <c:v>0.36472514797766753</c:v>
                </c:pt>
                <c:pt idx="1766">
                  <c:v>0.3642681605647114</c:v>
                </c:pt>
                <c:pt idx="1767">
                  <c:v>0.36348099905325459</c:v>
                </c:pt>
                <c:pt idx="1768">
                  <c:v>0.36311942740183328</c:v>
                </c:pt>
                <c:pt idx="1769">
                  <c:v>0.36120941969843767</c:v>
                </c:pt>
                <c:pt idx="1770">
                  <c:v>0.35577426278298568</c:v>
                </c:pt>
                <c:pt idx="1771">
                  <c:v>0.35667984463061331</c:v>
                </c:pt>
                <c:pt idx="1772">
                  <c:v>0.35979382452647607</c:v>
                </c:pt>
                <c:pt idx="1773">
                  <c:v>0.35536920519638532</c:v>
                </c:pt>
                <c:pt idx="1774">
                  <c:v>0.34712590017122225</c:v>
                </c:pt>
                <c:pt idx="1775">
                  <c:v>0.3485186252748157</c:v>
                </c:pt>
                <c:pt idx="1776">
                  <c:v>0.32952028772609715</c:v>
                </c:pt>
                <c:pt idx="1777">
                  <c:v>0.33043843510256088</c:v>
                </c:pt>
                <c:pt idx="1778">
                  <c:v>0.33043875112768806</c:v>
                </c:pt>
                <c:pt idx="1779">
                  <c:v>0.33294001084779973</c:v>
                </c:pt>
                <c:pt idx="1780">
                  <c:v>0.33868569790446207</c:v>
                </c:pt>
                <c:pt idx="1781">
                  <c:v>0.3320642165692832</c:v>
                </c:pt>
                <c:pt idx="1782">
                  <c:v>0.32906747910430267</c:v>
                </c:pt>
                <c:pt idx="1783">
                  <c:v>0.33648631784021221</c:v>
                </c:pt>
                <c:pt idx="1784">
                  <c:v>0.3207606868719618</c:v>
                </c:pt>
                <c:pt idx="1785">
                  <c:v>0.31876616078858172</c:v>
                </c:pt>
                <c:pt idx="1786">
                  <c:v>0.32207985551892426</c:v>
                </c:pt>
                <c:pt idx="1787">
                  <c:v>0.30472343489735071</c:v>
                </c:pt>
                <c:pt idx="1788">
                  <c:v>0.30063210425306652</c:v>
                </c:pt>
                <c:pt idx="1789">
                  <c:v>0.30685608391573083</c:v>
                </c:pt>
                <c:pt idx="1790">
                  <c:v>0.29910471804207883</c:v>
                </c:pt>
                <c:pt idx="1791">
                  <c:v>0.29283781035800605</c:v>
                </c:pt>
                <c:pt idx="1792">
                  <c:v>0.29158839562732775</c:v>
                </c:pt>
                <c:pt idx="1793">
                  <c:v>0.29491442164875636</c:v>
                </c:pt>
                <c:pt idx="1794">
                  <c:v>0.27401708080329984</c:v>
                </c:pt>
                <c:pt idx="1795">
                  <c:v>0.27423065117595569</c:v>
                </c:pt>
                <c:pt idx="1796">
                  <c:v>0.2768065460032077</c:v>
                </c:pt>
                <c:pt idx="1797">
                  <c:v>0.27623453576274687</c:v>
                </c:pt>
                <c:pt idx="1798">
                  <c:v>0.27674504495641455</c:v>
                </c:pt>
                <c:pt idx="1799">
                  <c:v>0.27919971367702945</c:v>
                </c:pt>
                <c:pt idx="1800">
                  <c:v>0.27161667388988858</c:v>
                </c:pt>
                <c:pt idx="1801">
                  <c:v>0.27662318083554543</c:v>
                </c:pt>
                <c:pt idx="1802">
                  <c:v>0.27330334963569197</c:v>
                </c:pt>
                <c:pt idx="1803">
                  <c:v>0.27818864984070624</c:v>
                </c:pt>
                <c:pt idx="1804">
                  <c:v>0.28129514849696541</c:v>
                </c:pt>
                <c:pt idx="1805">
                  <c:v>0.28006266342669056</c:v>
                </c:pt>
                <c:pt idx="1806">
                  <c:v>0.27924436240567285</c:v>
                </c:pt>
                <c:pt idx="1807">
                  <c:v>0.2779699488841389</c:v>
                </c:pt>
                <c:pt idx="1808">
                  <c:v>0.2920271118431878</c:v>
                </c:pt>
                <c:pt idx="1809">
                  <c:v>0.28994137790296526</c:v>
                </c:pt>
                <c:pt idx="1810">
                  <c:v>0.28799425751631064</c:v>
                </c:pt>
                <c:pt idx="1811">
                  <c:v>0.28898078657212872</c:v>
                </c:pt>
                <c:pt idx="1812">
                  <c:v>0.28725283888763831</c:v>
                </c:pt>
                <c:pt idx="1813">
                  <c:v>0.28322768484079736</c:v>
                </c:pt>
                <c:pt idx="1814">
                  <c:v>0.27457690118252998</c:v>
                </c:pt>
                <c:pt idx="1815">
                  <c:v>0.2905143336928725</c:v>
                </c:pt>
                <c:pt idx="1816">
                  <c:v>0.28764709916349701</c:v>
                </c:pt>
                <c:pt idx="1817">
                  <c:v>0.2953993028790628</c:v>
                </c:pt>
                <c:pt idx="1818">
                  <c:v>0.29307707219114537</c:v>
                </c:pt>
                <c:pt idx="1819">
                  <c:v>0.30378851057698297</c:v>
                </c:pt>
                <c:pt idx="1820">
                  <c:v>0.30988048817677488</c:v>
                </c:pt>
                <c:pt idx="1821">
                  <c:v>0.32250194086759526</c:v>
                </c:pt>
                <c:pt idx="1822">
                  <c:v>0.32590654053148677</c:v>
                </c:pt>
                <c:pt idx="1823">
                  <c:v>0.32098348361186291</c:v>
                </c:pt>
                <c:pt idx="1824">
                  <c:v>0.32381575371469778</c:v>
                </c:pt>
                <c:pt idx="1825">
                  <c:v>0.34058107488429795</c:v>
                </c:pt>
                <c:pt idx="1826">
                  <c:v>0.35447331091418649</c:v>
                </c:pt>
                <c:pt idx="1827">
                  <c:v>0.35326385203788357</c:v>
                </c:pt>
                <c:pt idx="1828">
                  <c:v>0.35650894775879644</c:v>
                </c:pt>
                <c:pt idx="1829">
                  <c:v>0.38112192977392856</c:v>
                </c:pt>
                <c:pt idx="1830">
                  <c:v>0.38468923478275147</c:v>
                </c:pt>
                <c:pt idx="1831">
                  <c:v>0.37863263248533818</c:v>
                </c:pt>
                <c:pt idx="1832">
                  <c:v>0.3868948282158553</c:v>
                </c:pt>
                <c:pt idx="1833">
                  <c:v>0.38641875750751331</c:v>
                </c:pt>
                <c:pt idx="1834">
                  <c:v>0.39214929210991634</c:v>
                </c:pt>
                <c:pt idx="1835">
                  <c:v>0.39456797353619694</c:v>
                </c:pt>
                <c:pt idx="1836">
                  <c:v>0.39604673435318427</c:v>
                </c:pt>
                <c:pt idx="1837">
                  <c:v>0.40491900747836651</c:v>
                </c:pt>
                <c:pt idx="1838">
                  <c:v>0.3894559822184816</c:v>
                </c:pt>
                <c:pt idx="1839">
                  <c:v>0.39182849585069357</c:v>
                </c:pt>
                <c:pt idx="1840">
                  <c:v>0.40832261773636774</c:v>
                </c:pt>
                <c:pt idx="1841">
                  <c:v>0.42033328679567328</c:v>
                </c:pt>
                <c:pt idx="1842">
                  <c:v>0.4122346568917547</c:v>
                </c:pt>
                <c:pt idx="1843">
                  <c:v>0.41207473281707174</c:v>
                </c:pt>
                <c:pt idx="1844">
                  <c:v>0.41319211727424698</c:v>
                </c:pt>
                <c:pt idx="1845">
                  <c:v>0.40524344128445688</c:v>
                </c:pt>
                <c:pt idx="1846">
                  <c:v>0.40671307858055039</c:v>
                </c:pt>
                <c:pt idx="1847">
                  <c:v>0.40291743015428699</c:v>
                </c:pt>
                <c:pt idx="1848">
                  <c:v>0.39071154969155047</c:v>
                </c:pt>
                <c:pt idx="1849">
                  <c:v>0.38326192251897451</c:v>
                </c:pt>
                <c:pt idx="1850">
                  <c:v>0.37459415834167742</c:v>
                </c:pt>
                <c:pt idx="1851">
                  <c:v>0.3828415279593807</c:v>
                </c:pt>
                <c:pt idx="1852">
                  <c:v>0.38851370145506542</c:v>
                </c:pt>
                <c:pt idx="1853">
                  <c:v>0.40248853442434979</c:v>
                </c:pt>
                <c:pt idx="1854">
                  <c:v>0.40228360163213273</c:v>
                </c:pt>
                <c:pt idx="1855">
                  <c:v>0.42685646817257189</c:v>
                </c:pt>
                <c:pt idx="1856">
                  <c:v>0.42263199059228401</c:v>
                </c:pt>
                <c:pt idx="1857">
                  <c:v>0.45215084972035191</c:v>
                </c:pt>
                <c:pt idx="1858">
                  <c:v>0.4872555538043325</c:v>
                </c:pt>
                <c:pt idx="1859">
                  <c:v>0.47077065610749158</c:v>
                </c:pt>
                <c:pt idx="1860">
                  <c:v>0.48923037619283471</c:v>
                </c:pt>
                <c:pt idx="1861">
                  <c:v>0.4950943893991287</c:v>
                </c:pt>
                <c:pt idx="1862">
                  <c:v>0.49133576632173931</c:v>
                </c:pt>
                <c:pt idx="1863">
                  <c:v>0.48653925145085208</c:v>
                </c:pt>
                <c:pt idx="1864">
                  <c:v>0.49719024558725489</c:v>
                </c:pt>
                <c:pt idx="1865">
                  <c:v>0.49005133244101573</c:v>
                </c:pt>
                <c:pt idx="1866">
                  <c:v>0.50850040407979635</c:v>
                </c:pt>
                <c:pt idx="1867">
                  <c:v>0.51537993454900399</c:v>
                </c:pt>
                <c:pt idx="1868">
                  <c:v>0.51956154251993603</c:v>
                </c:pt>
                <c:pt idx="1869">
                  <c:v>0.53384462739980065</c:v>
                </c:pt>
                <c:pt idx="1870">
                  <c:v>0.4965701121700376</c:v>
                </c:pt>
                <c:pt idx="1871">
                  <c:v>0.47286264926686766</c:v>
                </c:pt>
                <c:pt idx="1872">
                  <c:v>0.46434443505327022</c:v>
                </c:pt>
                <c:pt idx="1873">
                  <c:v>0.42394361552329268</c:v>
                </c:pt>
                <c:pt idx="1874">
                  <c:v>0.41416202856202866</c:v>
                </c:pt>
                <c:pt idx="1875">
                  <c:v>0.39050722177145536</c:v>
                </c:pt>
                <c:pt idx="1876">
                  <c:v>0.380914649072635</c:v>
                </c:pt>
                <c:pt idx="1877">
                  <c:v>0.37267185064010844</c:v>
                </c:pt>
                <c:pt idx="1878">
                  <c:v>0.34322240007123694</c:v>
                </c:pt>
                <c:pt idx="1879">
                  <c:v>0.33768865204946058</c:v>
                </c:pt>
                <c:pt idx="1880">
                  <c:v>0.31057938837331767</c:v>
                </c:pt>
                <c:pt idx="1881">
                  <c:v>0.31087234891618304</c:v>
                </c:pt>
                <c:pt idx="1882">
                  <c:v>0.20269666740057862</c:v>
                </c:pt>
                <c:pt idx="1883">
                  <c:v>0.1928294114405204</c:v>
                </c:pt>
                <c:pt idx="1884">
                  <c:v>0.16694400428102446</c:v>
                </c:pt>
                <c:pt idx="1885">
                  <c:v>0.171770855857837</c:v>
                </c:pt>
                <c:pt idx="1886">
                  <c:v>0.17800258796412044</c:v>
                </c:pt>
                <c:pt idx="1887">
                  <c:v>0.18512175078598478</c:v>
                </c:pt>
                <c:pt idx="1888">
                  <c:v>0.1832059646292703</c:v>
                </c:pt>
                <c:pt idx="1889">
                  <c:v>0.19010054233858201</c:v>
                </c:pt>
                <c:pt idx="1890">
                  <c:v>0.19168088927530944</c:v>
                </c:pt>
                <c:pt idx="1891">
                  <c:v>0.19067147913699831</c:v>
                </c:pt>
                <c:pt idx="1892">
                  <c:v>0.19221885185095205</c:v>
                </c:pt>
                <c:pt idx="1893">
                  <c:v>0.19278621944939667</c:v>
                </c:pt>
                <c:pt idx="1894">
                  <c:v>0.19288853329285446</c:v>
                </c:pt>
                <c:pt idx="1895">
                  <c:v>0.19119596904818945</c:v>
                </c:pt>
                <c:pt idx="1896">
                  <c:v>0.19204206401425866</c:v>
                </c:pt>
                <c:pt idx="1897">
                  <c:v>0.19230035901603607</c:v>
                </c:pt>
                <c:pt idx="1898">
                  <c:v>0.19333301777687023</c:v>
                </c:pt>
                <c:pt idx="1899">
                  <c:v>0.19942672906249428</c:v>
                </c:pt>
                <c:pt idx="1900">
                  <c:v>0.26492791548401134</c:v>
                </c:pt>
                <c:pt idx="1901">
                  <c:v>0.28260399215622994</c:v>
                </c:pt>
                <c:pt idx="1902">
                  <c:v>0.34686471092422161</c:v>
                </c:pt>
                <c:pt idx="1903">
                  <c:v>0.39847973937915016</c:v>
                </c:pt>
                <c:pt idx="1904">
                  <c:v>0.40359272361099413</c:v>
                </c:pt>
                <c:pt idx="1905">
                  <c:v>0.43380498815464086</c:v>
                </c:pt>
                <c:pt idx="1906">
                  <c:v>0.47108042761301772</c:v>
                </c:pt>
                <c:pt idx="1907">
                  <c:v>0.49218219107132399</c:v>
                </c:pt>
                <c:pt idx="1908">
                  <c:v>0.49634081838353727</c:v>
                </c:pt>
                <c:pt idx="1909">
                  <c:v>0.52914756444077415</c:v>
                </c:pt>
                <c:pt idx="1910">
                  <c:v>0.55349635788012397</c:v>
                </c:pt>
                <c:pt idx="1911">
                  <c:v>0.55235806579679436</c:v>
                </c:pt>
                <c:pt idx="1912">
                  <c:v>0.55980874982228745</c:v>
                </c:pt>
                <c:pt idx="1913">
                  <c:v>0.55477389136185551</c:v>
                </c:pt>
                <c:pt idx="1914">
                  <c:v>0.54803576464954395</c:v>
                </c:pt>
                <c:pt idx="1915">
                  <c:v>0.56934289936411853</c:v>
                </c:pt>
                <c:pt idx="1916">
                  <c:v>0.56013913967759899</c:v>
                </c:pt>
                <c:pt idx="1917">
                  <c:v>0.54657174596404912</c:v>
                </c:pt>
                <c:pt idx="1918">
                  <c:v>0.53291719738383181</c:v>
                </c:pt>
                <c:pt idx="1919">
                  <c:v>0.53220841399125429</c:v>
                </c:pt>
                <c:pt idx="1920">
                  <c:v>0.52434741617594438</c:v>
                </c:pt>
                <c:pt idx="1921">
                  <c:v>0.51585048219407559</c:v>
                </c:pt>
                <c:pt idx="1922">
                  <c:v>0.49137746877936528</c:v>
                </c:pt>
                <c:pt idx="1923">
                  <c:v>0.4569926901717325</c:v>
                </c:pt>
                <c:pt idx="1924">
                  <c:v>0.43018803894361357</c:v>
                </c:pt>
                <c:pt idx="1925">
                  <c:v>0.39120478116738272</c:v>
                </c:pt>
                <c:pt idx="1926">
                  <c:v>0.38063733151635493</c:v>
                </c:pt>
                <c:pt idx="1927">
                  <c:v>0.32904444505079139</c:v>
                </c:pt>
                <c:pt idx="1928">
                  <c:v>0.3066643746349782</c:v>
                </c:pt>
                <c:pt idx="1929">
                  <c:v>0.28842490389046316</c:v>
                </c:pt>
                <c:pt idx="1930">
                  <c:v>0.28788159227706561</c:v>
                </c:pt>
                <c:pt idx="1931">
                  <c:v>0.28830483589323114</c:v>
                </c:pt>
                <c:pt idx="1932">
                  <c:v>0.32510893852670997</c:v>
                </c:pt>
                <c:pt idx="1933">
                  <c:v>0.33026506854851057</c:v>
                </c:pt>
                <c:pt idx="1934">
                  <c:v>0.31702580214145043</c:v>
                </c:pt>
                <c:pt idx="1935">
                  <c:v>0.31824424121051686</c:v>
                </c:pt>
                <c:pt idx="1936">
                  <c:v>0.31650834543182271</c:v>
                </c:pt>
                <c:pt idx="1937">
                  <c:v>0.31684807771576023</c:v>
                </c:pt>
                <c:pt idx="1938">
                  <c:v>0.3286800283599603</c:v>
                </c:pt>
                <c:pt idx="1939">
                  <c:v>0.3274886396706258</c:v>
                </c:pt>
                <c:pt idx="1940">
                  <c:v>0.32779008057814274</c:v>
                </c:pt>
                <c:pt idx="1941">
                  <c:v>0.32712031723506602</c:v>
                </c:pt>
                <c:pt idx="1942">
                  <c:v>0.32298347452741138</c:v>
                </c:pt>
                <c:pt idx="1943">
                  <c:v>0.32394104481221231</c:v>
                </c:pt>
                <c:pt idx="1944">
                  <c:v>0.31739556917728562</c:v>
                </c:pt>
                <c:pt idx="1945">
                  <c:v>0.32680222297629469</c:v>
                </c:pt>
                <c:pt idx="1946">
                  <c:v>0.33275414984980922</c:v>
                </c:pt>
                <c:pt idx="1947">
                  <c:v>0.33929192160843424</c:v>
                </c:pt>
                <c:pt idx="1948">
                  <c:v>0.34602527248108039</c:v>
                </c:pt>
                <c:pt idx="1949">
                  <c:v>0.35316625762739878</c:v>
                </c:pt>
                <c:pt idx="1950">
                  <c:v>0.34602605284648214</c:v>
                </c:pt>
                <c:pt idx="1951">
                  <c:v>0.34644223295837762</c:v>
                </c:pt>
                <c:pt idx="1952">
                  <c:v>0.34851192476848553</c:v>
                </c:pt>
                <c:pt idx="1953">
                  <c:v>0.3358169571502998</c:v>
                </c:pt>
                <c:pt idx="1954">
                  <c:v>0.33800459337070388</c:v>
                </c:pt>
                <c:pt idx="1955">
                  <c:v>0.34490547964412888</c:v>
                </c:pt>
                <c:pt idx="1956">
                  <c:v>0.33853347081812529</c:v>
                </c:pt>
                <c:pt idx="1957">
                  <c:v>0.33859510375452939</c:v>
                </c:pt>
                <c:pt idx="1958">
                  <c:v>0.31857299751107243</c:v>
                </c:pt>
                <c:pt idx="1959">
                  <c:v>0.30701733239850648</c:v>
                </c:pt>
                <c:pt idx="1960">
                  <c:v>0.32224281391331966</c:v>
                </c:pt>
                <c:pt idx="1961">
                  <c:v>0.30942418985065578</c:v>
                </c:pt>
                <c:pt idx="1962">
                  <c:v>0.28422738725882951</c:v>
                </c:pt>
                <c:pt idx="1963">
                  <c:v>0.28039491202700084</c:v>
                </c:pt>
                <c:pt idx="1964">
                  <c:v>0.31008729075823788</c:v>
                </c:pt>
                <c:pt idx="1965">
                  <c:v>0.31010185225926995</c:v>
                </c:pt>
                <c:pt idx="1966">
                  <c:v>0.30990194243047281</c:v>
                </c:pt>
                <c:pt idx="1967">
                  <c:v>0.31352476046457545</c:v>
                </c:pt>
                <c:pt idx="1968">
                  <c:v>0.29716874393997228</c:v>
                </c:pt>
                <c:pt idx="1969">
                  <c:v>0.29927267164519505</c:v>
                </c:pt>
                <c:pt idx="1970">
                  <c:v>0.3120499810198899</c:v>
                </c:pt>
                <c:pt idx="1971">
                  <c:v>0.31197542466673306</c:v>
                </c:pt>
                <c:pt idx="1972">
                  <c:v>0.31256438078519555</c:v>
                </c:pt>
                <c:pt idx="1973">
                  <c:v>0.31146591863785567</c:v>
                </c:pt>
                <c:pt idx="1974">
                  <c:v>0.31766887373390917</c:v>
                </c:pt>
                <c:pt idx="1975">
                  <c:v>0.30136793405478896</c:v>
                </c:pt>
                <c:pt idx="1976">
                  <c:v>0.29765990331574682</c:v>
                </c:pt>
                <c:pt idx="1977">
                  <c:v>0.29627595351224995</c:v>
                </c:pt>
                <c:pt idx="1978">
                  <c:v>0.29441263439050014</c:v>
                </c:pt>
                <c:pt idx="1979">
                  <c:v>0.29308262845980437</c:v>
                </c:pt>
                <c:pt idx="1980">
                  <c:v>0.29128599789480869</c:v>
                </c:pt>
                <c:pt idx="1981">
                  <c:v>0.30041839182530672</c:v>
                </c:pt>
                <c:pt idx="1982">
                  <c:v>0.29938485758148015</c:v>
                </c:pt>
                <c:pt idx="1983">
                  <c:v>0.30179124929605394</c:v>
                </c:pt>
                <c:pt idx="1984">
                  <c:v>0.31982213624934597</c:v>
                </c:pt>
                <c:pt idx="1985">
                  <c:v>0.31580843380978096</c:v>
                </c:pt>
                <c:pt idx="1986">
                  <c:v>0.31479283046950429</c:v>
                </c:pt>
                <c:pt idx="1987">
                  <c:v>0.31608026780439286</c:v>
                </c:pt>
                <c:pt idx="1988">
                  <c:v>0.32038951984404579</c:v>
                </c:pt>
                <c:pt idx="1989">
                  <c:v>0.32048039124664301</c:v>
                </c:pt>
                <c:pt idx="1990">
                  <c:v>0.30175031500567434</c:v>
                </c:pt>
                <c:pt idx="1991">
                  <c:v>0.31021415381177719</c:v>
                </c:pt>
                <c:pt idx="1992">
                  <c:v>0.3264193438844758</c:v>
                </c:pt>
                <c:pt idx="1993">
                  <c:v>0.34456986937793999</c:v>
                </c:pt>
                <c:pt idx="1994">
                  <c:v>0.32437883689233404</c:v>
                </c:pt>
                <c:pt idx="1995">
                  <c:v>0.33716150932060102</c:v>
                </c:pt>
                <c:pt idx="1996">
                  <c:v>0.34366494272908976</c:v>
                </c:pt>
                <c:pt idx="1997">
                  <c:v>0.34541634362349982</c:v>
                </c:pt>
                <c:pt idx="1998">
                  <c:v>0.34629407868119388</c:v>
                </c:pt>
                <c:pt idx="1999">
                  <c:v>0.34002888645086515</c:v>
                </c:pt>
                <c:pt idx="2000">
                  <c:v>0.32255457035415719</c:v>
                </c:pt>
                <c:pt idx="2001">
                  <c:v>0.32085190953507492</c:v>
                </c:pt>
                <c:pt idx="2002">
                  <c:v>0.3208500767290981</c:v>
                </c:pt>
                <c:pt idx="2003">
                  <c:v>0.3180432858937226</c:v>
                </c:pt>
                <c:pt idx="2004">
                  <c:v>0.31436749026659455</c:v>
                </c:pt>
                <c:pt idx="2005">
                  <c:v>0.333820614593342</c:v>
                </c:pt>
                <c:pt idx="2006">
                  <c:v>0.32580564101667642</c:v>
                </c:pt>
                <c:pt idx="2007">
                  <c:v>0.31777744428937205</c:v>
                </c:pt>
                <c:pt idx="2008">
                  <c:v>0.31590957586886864</c:v>
                </c:pt>
                <c:pt idx="2009">
                  <c:v>0.31153158905884792</c:v>
                </c:pt>
                <c:pt idx="2010">
                  <c:v>0.31247310218207702</c:v>
                </c:pt>
                <c:pt idx="2011">
                  <c:v>0.31298844627607775</c:v>
                </c:pt>
                <c:pt idx="2012">
                  <c:v>0.31665549659453446</c:v>
                </c:pt>
                <c:pt idx="2013">
                  <c:v>0.31320215242034932</c:v>
                </c:pt>
                <c:pt idx="2014">
                  <c:v>0.30427311975521015</c:v>
                </c:pt>
                <c:pt idx="2015">
                  <c:v>0.30811760883538691</c:v>
                </c:pt>
                <c:pt idx="2016">
                  <c:v>0.31192745423451007</c:v>
                </c:pt>
                <c:pt idx="2017">
                  <c:v>0.31212075151171559</c:v>
                </c:pt>
                <c:pt idx="2018">
                  <c:v>0.31923099843687952</c:v>
                </c:pt>
                <c:pt idx="2019">
                  <c:v>0.3199420622980842</c:v>
                </c:pt>
                <c:pt idx="2020">
                  <c:v>0.3233856912274965</c:v>
                </c:pt>
                <c:pt idx="2021">
                  <c:v>0.32602655866129732</c:v>
                </c:pt>
                <c:pt idx="2022">
                  <c:v>0.32227190143671913</c:v>
                </c:pt>
                <c:pt idx="2023">
                  <c:v>0.29625140259178878</c:v>
                </c:pt>
                <c:pt idx="2024">
                  <c:v>0.29151146623139745</c:v>
                </c:pt>
                <c:pt idx="2025">
                  <c:v>0.28166497824065195</c:v>
                </c:pt>
                <c:pt idx="2026">
                  <c:v>0.27864017102587257</c:v>
                </c:pt>
                <c:pt idx="2027">
                  <c:v>0.29096504924954275</c:v>
                </c:pt>
                <c:pt idx="2028">
                  <c:v>0.29129740081310446</c:v>
                </c:pt>
                <c:pt idx="2029">
                  <c:v>0.29098060663646075</c:v>
                </c:pt>
                <c:pt idx="2030">
                  <c:v>0.29573374710852757</c:v>
                </c:pt>
                <c:pt idx="2031">
                  <c:v>0.29746232895337116</c:v>
                </c:pt>
                <c:pt idx="2032">
                  <c:v>0.30278164737251179</c:v>
                </c:pt>
                <c:pt idx="2033">
                  <c:v>0.30051137685914414</c:v>
                </c:pt>
                <c:pt idx="2034">
                  <c:v>0.30090580210261436</c:v>
                </c:pt>
                <c:pt idx="2035">
                  <c:v>0.27812359703795558</c:v>
                </c:pt>
                <c:pt idx="2036">
                  <c:v>0.27821380294020148</c:v>
                </c:pt>
                <c:pt idx="2037">
                  <c:v>0.27622126439629202</c:v>
                </c:pt>
                <c:pt idx="2038">
                  <c:v>0.26395631159173932</c:v>
                </c:pt>
                <c:pt idx="2039">
                  <c:v>0.26368268546968837</c:v>
                </c:pt>
                <c:pt idx="2040">
                  <c:v>0.26628459214773176</c:v>
                </c:pt>
                <c:pt idx="2041">
                  <c:v>0.2662314753221296</c:v>
                </c:pt>
                <c:pt idx="2042">
                  <c:v>0.26465793090992412</c:v>
                </c:pt>
                <c:pt idx="2043">
                  <c:v>0.26489047296446028</c:v>
                </c:pt>
                <c:pt idx="2044">
                  <c:v>0.25763202840200178</c:v>
                </c:pt>
                <c:pt idx="2045">
                  <c:v>0.25834194698801105</c:v>
                </c:pt>
                <c:pt idx="2046">
                  <c:v>0.25520854371078966</c:v>
                </c:pt>
                <c:pt idx="2047">
                  <c:v>0.25115914709256387</c:v>
                </c:pt>
                <c:pt idx="2048">
                  <c:v>0.24095282639711968</c:v>
                </c:pt>
                <c:pt idx="2049">
                  <c:v>0.24273826138289276</c:v>
                </c:pt>
                <c:pt idx="2050">
                  <c:v>0.24779898460630731</c:v>
                </c:pt>
                <c:pt idx="2051">
                  <c:v>0.23999772342517256</c:v>
                </c:pt>
                <c:pt idx="2052">
                  <c:v>0.24049390971292103</c:v>
                </c:pt>
                <c:pt idx="2053">
                  <c:v>0.24021771847020595</c:v>
                </c:pt>
                <c:pt idx="2054">
                  <c:v>0.24867371784687367</c:v>
                </c:pt>
                <c:pt idx="2055">
                  <c:v>0.24818588201617722</c:v>
                </c:pt>
                <c:pt idx="2056">
                  <c:v>0.26485952325882861</c:v>
                </c:pt>
                <c:pt idx="2057">
                  <c:v>0.25569106468938246</c:v>
                </c:pt>
                <c:pt idx="2058">
                  <c:v>0.25539059769472816</c:v>
                </c:pt>
                <c:pt idx="2059">
                  <c:v>0.25668220881030601</c:v>
                </c:pt>
                <c:pt idx="2060">
                  <c:v>0.24533202135211102</c:v>
                </c:pt>
                <c:pt idx="2061">
                  <c:v>0.2699997550536668</c:v>
                </c:pt>
                <c:pt idx="2062">
                  <c:v>0.27195141330053629</c:v>
                </c:pt>
                <c:pt idx="2063">
                  <c:v>0.27409444604329813</c:v>
                </c:pt>
                <c:pt idx="2064">
                  <c:v>0.27619312153172443</c:v>
                </c:pt>
                <c:pt idx="2065">
                  <c:v>0.28615358788097778</c:v>
                </c:pt>
                <c:pt idx="2066">
                  <c:v>0.28781862777682282</c:v>
                </c:pt>
                <c:pt idx="2067">
                  <c:v>0.3014918843539684</c:v>
                </c:pt>
                <c:pt idx="2068">
                  <c:v>0.30991581271831292</c:v>
                </c:pt>
                <c:pt idx="2069">
                  <c:v>0.31123821302450899</c:v>
                </c:pt>
                <c:pt idx="2070">
                  <c:v>0.32825638084522957</c:v>
                </c:pt>
                <c:pt idx="2071">
                  <c:v>0.33263938539881971</c:v>
                </c:pt>
                <c:pt idx="2072">
                  <c:v>0.33444288988833187</c:v>
                </c:pt>
                <c:pt idx="2073">
                  <c:v>0.34338643038219263</c:v>
                </c:pt>
                <c:pt idx="2074">
                  <c:v>0.34416524452138042</c:v>
                </c:pt>
                <c:pt idx="2075">
                  <c:v>0.35046767965254738</c:v>
                </c:pt>
                <c:pt idx="2076">
                  <c:v>0.34568286373641766</c:v>
                </c:pt>
                <c:pt idx="2077">
                  <c:v>0.34654177729548025</c:v>
                </c:pt>
                <c:pt idx="2078">
                  <c:v>0.35025845051566107</c:v>
                </c:pt>
                <c:pt idx="2079">
                  <c:v>0.34970155336057518</c:v>
                </c:pt>
                <c:pt idx="2080">
                  <c:v>0.35207271408773677</c:v>
                </c:pt>
                <c:pt idx="2081">
                  <c:v>0.35262029073492296</c:v>
                </c:pt>
                <c:pt idx="2082">
                  <c:v>0.3388740878705076</c:v>
                </c:pt>
                <c:pt idx="2083">
                  <c:v>0.34565832165148558</c:v>
                </c:pt>
                <c:pt idx="2084">
                  <c:v>0.3330558620683931</c:v>
                </c:pt>
                <c:pt idx="2085">
                  <c:v>0.31508985006264767</c:v>
                </c:pt>
                <c:pt idx="2086">
                  <c:v>0.32833999094361976</c:v>
                </c:pt>
                <c:pt idx="2087">
                  <c:v>0.33279659254563526</c:v>
                </c:pt>
                <c:pt idx="2088">
                  <c:v>0.33316766526968261</c:v>
                </c:pt>
                <c:pt idx="2089">
                  <c:v>0.33175596088814485</c:v>
                </c:pt>
                <c:pt idx="2090">
                  <c:v>0.33222385077565997</c:v>
                </c:pt>
                <c:pt idx="2091">
                  <c:v>0.31572798222870407</c:v>
                </c:pt>
                <c:pt idx="2092">
                  <c:v>0.31515356297396824</c:v>
                </c:pt>
                <c:pt idx="2093">
                  <c:v>0.31579808279946309</c:v>
                </c:pt>
                <c:pt idx="2094">
                  <c:v>0.31684624831599234</c:v>
                </c:pt>
                <c:pt idx="2095">
                  <c:v>0.31045687681376177</c:v>
                </c:pt>
                <c:pt idx="2096">
                  <c:v>0.30849089635684213</c:v>
                </c:pt>
                <c:pt idx="2097">
                  <c:v>0.31527985850898455</c:v>
                </c:pt>
                <c:pt idx="2098">
                  <c:v>0.30730299048686632</c:v>
                </c:pt>
                <c:pt idx="2099">
                  <c:v>0.30694327315971232</c:v>
                </c:pt>
                <c:pt idx="2100">
                  <c:v>0.27595487967724353</c:v>
                </c:pt>
                <c:pt idx="2101">
                  <c:v>0.27696694949671397</c:v>
                </c:pt>
                <c:pt idx="2102">
                  <c:v>0.28677397047316022</c:v>
                </c:pt>
                <c:pt idx="2103">
                  <c:v>0.29836615325966692</c:v>
                </c:pt>
                <c:pt idx="2104">
                  <c:v>0.29911348542080846</c:v>
                </c:pt>
                <c:pt idx="2105">
                  <c:v>0.28031443635276077</c:v>
                </c:pt>
                <c:pt idx="2106">
                  <c:v>0.27834504413571487</c:v>
                </c:pt>
                <c:pt idx="2107">
                  <c:v>0.27698209196393925</c:v>
                </c:pt>
                <c:pt idx="2108">
                  <c:v>0.27385330795990059</c:v>
                </c:pt>
                <c:pt idx="2109">
                  <c:v>0.27366198679584886</c:v>
                </c:pt>
                <c:pt idx="2110">
                  <c:v>0.26983096678239232</c:v>
                </c:pt>
                <c:pt idx="2111">
                  <c:v>0.26768190262852187</c:v>
                </c:pt>
                <c:pt idx="2112">
                  <c:v>0.26085771778652322</c:v>
                </c:pt>
                <c:pt idx="2113">
                  <c:v>0.26949884894826548</c:v>
                </c:pt>
                <c:pt idx="2114">
                  <c:v>0.2683812012469276</c:v>
                </c:pt>
                <c:pt idx="2115">
                  <c:v>0.26887775976621536</c:v>
                </c:pt>
                <c:pt idx="2116">
                  <c:v>0.27751425559046788</c:v>
                </c:pt>
                <c:pt idx="2117">
                  <c:v>0.27396997197248746</c:v>
                </c:pt>
                <c:pt idx="2118">
                  <c:v>0.28580435746234456</c:v>
                </c:pt>
                <c:pt idx="2119">
                  <c:v>0.28620910350443307</c:v>
                </c:pt>
                <c:pt idx="2120">
                  <c:v>0.28634848923978146</c:v>
                </c:pt>
                <c:pt idx="2121">
                  <c:v>0.28182688641506204</c:v>
                </c:pt>
                <c:pt idx="2122">
                  <c:v>0.3009937682938742</c:v>
                </c:pt>
                <c:pt idx="2123">
                  <c:v>0.30883358785581988</c:v>
                </c:pt>
                <c:pt idx="2124">
                  <c:v>0.3046306490832924</c:v>
                </c:pt>
                <c:pt idx="2125">
                  <c:v>0.30392393225457698</c:v>
                </c:pt>
                <c:pt idx="2126">
                  <c:v>0.32012595530539578</c:v>
                </c:pt>
                <c:pt idx="2127">
                  <c:v>0.31354457540643949</c:v>
                </c:pt>
                <c:pt idx="2128">
                  <c:v>0.31359131686626207</c:v>
                </c:pt>
                <c:pt idx="2129">
                  <c:v>0.3105537278459447</c:v>
                </c:pt>
                <c:pt idx="2130">
                  <c:v>0.31583776481073972</c:v>
                </c:pt>
                <c:pt idx="2131">
                  <c:v>0.31470268861562345</c:v>
                </c:pt>
                <c:pt idx="2132">
                  <c:v>0.31311782962826806</c:v>
                </c:pt>
                <c:pt idx="2133">
                  <c:v>0.29877020895591477</c:v>
                </c:pt>
                <c:pt idx="2134">
                  <c:v>0.30320219518281183</c:v>
                </c:pt>
                <c:pt idx="2135">
                  <c:v>0.31690045982635651</c:v>
                </c:pt>
                <c:pt idx="2136">
                  <c:v>0.3254230858566135</c:v>
                </c:pt>
                <c:pt idx="2137">
                  <c:v>0.34045229036903601</c:v>
                </c:pt>
                <c:pt idx="2138">
                  <c:v>0.343836628431263</c:v>
                </c:pt>
                <c:pt idx="2139">
                  <c:v>0.34561037611672835</c:v>
                </c:pt>
                <c:pt idx="2140">
                  <c:v>0.35558308737305611</c:v>
                </c:pt>
                <c:pt idx="2141">
                  <c:v>0.35621599983911428</c:v>
                </c:pt>
                <c:pt idx="2142">
                  <c:v>0.35930367658564</c:v>
                </c:pt>
                <c:pt idx="2143">
                  <c:v>0.35780143014738341</c:v>
                </c:pt>
                <c:pt idx="2144">
                  <c:v>0.35764268824414702</c:v>
                </c:pt>
                <c:pt idx="2145">
                  <c:v>0.36836703343907679</c:v>
                </c:pt>
                <c:pt idx="2146">
                  <c:v>0.34267381380608586</c:v>
                </c:pt>
                <c:pt idx="2147">
                  <c:v>0.34217456607434188</c:v>
                </c:pt>
                <c:pt idx="2148">
                  <c:v>0.34930702532827879</c:v>
                </c:pt>
                <c:pt idx="2149">
                  <c:v>0.35661129694441857</c:v>
                </c:pt>
                <c:pt idx="2150">
                  <c:v>0.35707103793433131</c:v>
                </c:pt>
                <c:pt idx="2151">
                  <c:v>0.36021771927559604</c:v>
                </c:pt>
                <c:pt idx="2152">
                  <c:v>0.35692765334961674</c:v>
                </c:pt>
                <c:pt idx="2153">
                  <c:v>0.34820750603362327</c:v>
                </c:pt>
                <c:pt idx="2154">
                  <c:v>0.35271839908274072</c:v>
                </c:pt>
                <c:pt idx="2155">
                  <c:v>0.35349639002331118</c:v>
                </c:pt>
                <c:pt idx="2156">
                  <c:v>0.3472366500016818</c:v>
                </c:pt>
                <c:pt idx="2157">
                  <c:v>0.3438767047718439</c:v>
                </c:pt>
                <c:pt idx="2158">
                  <c:v>0.33946043550849725</c:v>
                </c:pt>
                <c:pt idx="2159">
                  <c:v>0.33550115862363528</c:v>
                </c:pt>
                <c:pt idx="2160">
                  <c:v>0.32786645331095304</c:v>
                </c:pt>
                <c:pt idx="2161">
                  <c:v>0.32014220399617588</c:v>
                </c:pt>
                <c:pt idx="2162">
                  <c:v>0.32091006062265304</c:v>
                </c:pt>
                <c:pt idx="2163">
                  <c:v>0.32236846557390791</c:v>
                </c:pt>
                <c:pt idx="2164">
                  <c:v>0.31504429815519946</c:v>
                </c:pt>
                <c:pt idx="2165">
                  <c:v>0.33237229875905927</c:v>
                </c:pt>
                <c:pt idx="2166">
                  <c:v>0.32749171735454191</c:v>
                </c:pt>
                <c:pt idx="2167">
                  <c:v>0.33012714305075164</c:v>
                </c:pt>
                <c:pt idx="2168">
                  <c:v>0.32918706342302984</c:v>
                </c:pt>
                <c:pt idx="2169">
                  <c:v>0.33243068844357127</c:v>
                </c:pt>
                <c:pt idx="2170">
                  <c:v>0.33248558625988128</c:v>
                </c:pt>
                <c:pt idx="2171">
                  <c:v>0.33002632637338231</c:v>
                </c:pt>
                <c:pt idx="2172">
                  <c:v>0.32661413865206401</c:v>
                </c:pt>
                <c:pt idx="2173">
                  <c:v>0.32752326832463419</c:v>
                </c:pt>
                <c:pt idx="2174">
                  <c:v>0.34950029346901479</c:v>
                </c:pt>
                <c:pt idx="2175">
                  <c:v>0.33640259349041907</c:v>
                </c:pt>
                <c:pt idx="2176">
                  <c:v>0.33487095972838515</c:v>
                </c:pt>
                <c:pt idx="2177">
                  <c:v>0.33718351671815983</c:v>
                </c:pt>
                <c:pt idx="2178">
                  <c:v>0.32024276606082414</c:v>
                </c:pt>
                <c:pt idx="2179">
                  <c:v>0.30712412607812661</c:v>
                </c:pt>
                <c:pt idx="2180">
                  <c:v>0.31864643015878807</c:v>
                </c:pt>
                <c:pt idx="2181">
                  <c:v>0.31445906098687143</c:v>
                </c:pt>
                <c:pt idx="2182">
                  <c:v>0.29981123301102458</c:v>
                </c:pt>
                <c:pt idx="2183">
                  <c:v>0.30054098283812725</c:v>
                </c:pt>
                <c:pt idx="2184">
                  <c:v>0.30342941155054332</c:v>
                </c:pt>
                <c:pt idx="2185">
                  <c:v>0.32137369366109408</c:v>
                </c:pt>
                <c:pt idx="2186">
                  <c:v>0.33403276826785916</c:v>
                </c:pt>
                <c:pt idx="2187">
                  <c:v>0.34534034125534996</c:v>
                </c:pt>
                <c:pt idx="2188">
                  <c:v>0.34399912330631788</c:v>
                </c:pt>
                <c:pt idx="2189">
                  <c:v>0.34965071902471712</c:v>
                </c:pt>
                <c:pt idx="2190">
                  <c:v>0.34967426546416086</c:v>
                </c:pt>
                <c:pt idx="2191">
                  <c:v>0.42335464870636169</c:v>
                </c:pt>
                <c:pt idx="2192">
                  <c:v>0.46905164483825362</c:v>
                </c:pt>
                <c:pt idx="2193">
                  <c:v>0.53128904338722249</c:v>
                </c:pt>
                <c:pt idx="2194">
                  <c:v>0.56569554658875287</c:v>
                </c:pt>
                <c:pt idx="2195">
                  <c:v>0.60074672285940778</c:v>
                </c:pt>
                <c:pt idx="2196">
                  <c:v>0.63321227076175957</c:v>
                </c:pt>
                <c:pt idx="2197">
                  <c:v>0.65708801665749339</c:v>
                </c:pt>
                <c:pt idx="2198">
                  <c:v>0.67081147251718365</c:v>
                </c:pt>
                <c:pt idx="2199">
                  <c:v>0.67905812885590389</c:v>
                </c:pt>
                <c:pt idx="2200">
                  <c:v>0.70287009791106458</c:v>
                </c:pt>
                <c:pt idx="2201">
                  <c:v>0.69870858870222829</c:v>
                </c:pt>
                <c:pt idx="2202">
                  <c:v>0.69084173576070218</c:v>
                </c:pt>
                <c:pt idx="2203">
                  <c:v>0.6786341288477663</c:v>
                </c:pt>
                <c:pt idx="2204">
                  <c:v>0.68450472965235132</c:v>
                </c:pt>
                <c:pt idx="2205">
                  <c:v>0.70795108289241815</c:v>
                </c:pt>
                <c:pt idx="2206">
                  <c:v>0.7110498655008658</c:v>
                </c:pt>
                <c:pt idx="2207">
                  <c:v>0.69178470258985902</c:v>
                </c:pt>
                <c:pt idx="2208">
                  <c:v>0.6788393364822497</c:v>
                </c:pt>
                <c:pt idx="2209">
                  <c:v>0.67166203483587339</c:v>
                </c:pt>
                <c:pt idx="2210">
                  <c:v>0.62141202804203932</c:v>
                </c:pt>
                <c:pt idx="2211">
                  <c:v>0.58005890045762576</c:v>
                </c:pt>
                <c:pt idx="2212">
                  <c:v>0.5381052889842266</c:v>
                </c:pt>
                <c:pt idx="2213">
                  <c:v>0.48439762278947879</c:v>
                </c:pt>
                <c:pt idx="2214">
                  <c:v>0.46131972647420888</c:v>
                </c:pt>
                <c:pt idx="2215">
                  <c:v>0.47149523703587487</c:v>
                </c:pt>
                <c:pt idx="2216">
                  <c:v>0.4546888000656889</c:v>
                </c:pt>
                <c:pt idx="2217">
                  <c:v>0.43744716456764027</c:v>
                </c:pt>
                <c:pt idx="2218">
                  <c:v>0.39642276989287206</c:v>
                </c:pt>
                <c:pt idx="2219">
                  <c:v>0.3642256510625882</c:v>
                </c:pt>
                <c:pt idx="2220">
                  <c:v>0.29841759708900018</c:v>
                </c:pt>
                <c:pt idx="2221">
                  <c:v>0.29844375424646186</c:v>
                </c:pt>
                <c:pt idx="2222">
                  <c:v>0.29873212587542813</c:v>
                </c:pt>
                <c:pt idx="2223">
                  <c:v>0.29370314730846692</c:v>
                </c:pt>
                <c:pt idx="2224">
                  <c:v>0.30023569702807384</c:v>
                </c:pt>
                <c:pt idx="2225">
                  <c:v>0.29951609052471112</c:v>
                </c:pt>
                <c:pt idx="2226">
                  <c:v>0.29822002425930011</c:v>
                </c:pt>
                <c:pt idx="2227">
                  <c:v>0.28581105405410567</c:v>
                </c:pt>
                <c:pt idx="2228">
                  <c:v>0.29395908129424941</c:v>
                </c:pt>
                <c:pt idx="2229">
                  <c:v>0.29229332491972737</c:v>
                </c:pt>
                <c:pt idx="2230">
                  <c:v>0.29579066277669624</c:v>
                </c:pt>
                <c:pt idx="2231">
                  <c:v>0.29631333839124308</c:v>
                </c:pt>
                <c:pt idx="2232">
                  <c:v>0.29824386325746671</c:v>
                </c:pt>
                <c:pt idx="2233">
                  <c:v>0.30377961612123633</c:v>
                </c:pt>
                <c:pt idx="2234">
                  <c:v>0.46516556678584514</c:v>
                </c:pt>
                <c:pt idx="2235">
                  <c:v>0.57266424350409362</c:v>
                </c:pt>
                <c:pt idx="2236">
                  <c:v>0.74938209397867328</c:v>
                </c:pt>
                <c:pt idx="2237">
                  <c:v>0.84432825697973757</c:v>
                </c:pt>
                <c:pt idx="2238">
                  <c:v>0.91708550563110436</c:v>
                </c:pt>
                <c:pt idx="2239">
                  <c:v>0.98082833049188589</c:v>
                </c:pt>
                <c:pt idx="2240">
                  <c:v>1.011056306955358</c:v>
                </c:pt>
                <c:pt idx="2241">
                  <c:v>1.0667784825930073</c:v>
                </c:pt>
                <c:pt idx="2242">
                  <c:v>1.1222239680811481</c:v>
                </c:pt>
                <c:pt idx="2243">
                  <c:v>1.5060433095362169</c:v>
                </c:pt>
                <c:pt idx="2244">
                  <c:v>1.789905892300542</c:v>
                </c:pt>
                <c:pt idx="2245">
                  <c:v>2.0245690458905723</c:v>
                </c:pt>
                <c:pt idx="2246">
                  <c:v>2.2213846184880786</c:v>
                </c:pt>
                <c:pt idx="2247">
                  <c:v>2.3920374019345618</c:v>
                </c:pt>
                <c:pt idx="2248">
                  <c:v>2.5414503714833838</c:v>
                </c:pt>
                <c:pt idx="2249">
                  <c:v>2.674702046732405</c:v>
                </c:pt>
                <c:pt idx="2250">
                  <c:v>2.7935807069300411</c:v>
                </c:pt>
                <c:pt idx="2251">
                  <c:v>2.8978632053102724</c:v>
                </c:pt>
                <c:pt idx="2252">
                  <c:v>2.9909762875525292</c:v>
                </c:pt>
                <c:pt idx="2253">
                  <c:v>3.0690770506035996</c:v>
                </c:pt>
                <c:pt idx="2254">
                  <c:v>3.1351082192197852</c:v>
                </c:pt>
                <c:pt idx="2255">
                  <c:v>3.1957076560828463</c:v>
                </c:pt>
                <c:pt idx="2256">
                  <c:v>3.2455269463201248</c:v>
                </c:pt>
                <c:pt idx="2257">
                  <c:v>3.2880552526116289</c:v>
                </c:pt>
                <c:pt idx="2258">
                  <c:v>3.3152274545059544</c:v>
                </c:pt>
                <c:pt idx="2259">
                  <c:v>3.2973429668077778</c:v>
                </c:pt>
                <c:pt idx="2260">
                  <c:v>3.2729573897718822</c:v>
                </c:pt>
                <c:pt idx="2261">
                  <c:v>3.2560311824202768</c:v>
                </c:pt>
                <c:pt idx="2262">
                  <c:v>3.2326202285102652</c:v>
                </c:pt>
                <c:pt idx="2263">
                  <c:v>3.2082985273695468</c:v>
                </c:pt>
                <c:pt idx="2264">
                  <c:v>3.1194549881200064</c:v>
                </c:pt>
                <c:pt idx="2265">
                  <c:v>3.0267268085841139</c:v>
                </c:pt>
                <c:pt idx="2266">
                  <c:v>2.8756596821642089</c:v>
                </c:pt>
                <c:pt idx="2267">
                  <c:v>2.7375017523261929</c:v>
                </c:pt>
                <c:pt idx="2268">
                  <c:v>2.5935841793959136</c:v>
                </c:pt>
                <c:pt idx="2269">
                  <c:v>2.4285217210060339</c:v>
                </c:pt>
                <c:pt idx="2270">
                  <c:v>2.2812875734014408</c:v>
                </c:pt>
                <c:pt idx="2271">
                  <c:v>2.0341035040468922</c:v>
                </c:pt>
                <c:pt idx="2272">
                  <c:v>1.7437245299630888</c:v>
                </c:pt>
                <c:pt idx="2273">
                  <c:v>1.7545669162007229</c:v>
                </c:pt>
                <c:pt idx="2274">
                  <c:v>1.7775605909113272</c:v>
                </c:pt>
                <c:pt idx="2275">
                  <c:v>1.7633967479526151</c:v>
                </c:pt>
                <c:pt idx="2276">
                  <c:v>1.7489823028509832</c:v>
                </c:pt>
                <c:pt idx="2277">
                  <c:v>1.7246657228172451</c:v>
                </c:pt>
                <c:pt idx="2278">
                  <c:v>1.6894332540018182</c:v>
                </c:pt>
                <c:pt idx="2279">
                  <c:v>1.6461147938458229</c:v>
                </c:pt>
                <c:pt idx="2280">
                  <c:v>1.5886982773724874</c:v>
                </c:pt>
                <c:pt idx="2281">
                  <c:v>1.5153334424663523</c:v>
                </c:pt>
                <c:pt idx="2282">
                  <c:v>1.4351875014447313</c:v>
                </c:pt>
                <c:pt idx="2283">
                  <c:v>1.3426010017550052</c:v>
                </c:pt>
                <c:pt idx="2284">
                  <c:v>1.2309104907294715</c:v>
                </c:pt>
                <c:pt idx="2285">
                  <c:v>1.1091619456351949</c:v>
                </c:pt>
                <c:pt idx="2286">
                  <c:v>0.9360608606056251</c:v>
                </c:pt>
                <c:pt idx="2287">
                  <c:v>0.71224113594434191</c:v>
                </c:pt>
                <c:pt idx="2288">
                  <c:v>0.3167671286371993</c:v>
                </c:pt>
                <c:pt idx="2289">
                  <c:v>0.31685548667680796</c:v>
                </c:pt>
                <c:pt idx="2290">
                  <c:v>0.30659147893713395</c:v>
                </c:pt>
                <c:pt idx="2291">
                  <c:v>0.29863770554012276</c:v>
                </c:pt>
                <c:pt idx="2292">
                  <c:v>0.30007917965723857</c:v>
                </c:pt>
                <c:pt idx="2293">
                  <c:v>0.29653518660544603</c:v>
                </c:pt>
                <c:pt idx="2294">
                  <c:v>0.29026536493382077</c:v>
                </c:pt>
                <c:pt idx="2295">
                  <c:v>0.29170660583374869</c:v>
                </c:pt>
                <c:pt idx="2296">
                  <c:v>0.28128788004275179</c:v>
                </c:pt>
                <c:pt idx="2297">
                  <c:v>0.27989599789014874</c:v>
                </c:pt>
                <c:pt idx="2298">
                  <c:v>0.27699714093391176</c:v>
                </c:pt>
                <c:pt idx="2299">
                  <c:v>0.27512465803108088</c:v>
                </c:pt>
                <c:pt idx="2300">
                  <c:v>0.29005301556680724</c:v>
                </c:pt>
                <c:pt idx="2301">
                  <c:v>0.28082353105276686</c:v>
                </c:pt>
                <c:pt idx="2302">
                  <c:v>0.28498973288893503</c:v>
                </c:pt>
                <c:pt idx="2303">
                  <c:v>0.30215305486015359</c:v>
                </c:pt>
                <c:pt idx="2304">
                  <c:v>0.28770053868799789</c:v>
                </c:pt>
                <c:pt idx="2305">
                  <c:v>0.30527853305532193</c:v>
                </c:pt>
                <c:pt idx="2306">
                  <c:v>0.30164171824491548</c:v>
                </c:pt>
                <c:pt idx="2307">
                  <c:v>0.30444676281256894</c:v>
                </c:pt>
                <c:pt idx="2308">
                  <c:v>0.31358329777929655</c:v>
                </c:pt>
                <c:pt idx="2309">
                  <c:v>0.32835895906511986</c:v>
                </c:pt>
                <c:pt idx="2310">
                  <c:v>0.3280836399308647</c:v>
                </c:pt>
                <c:pt idx="2311">
                  <c:v>0.32456532440505925</c:v>
                </c:pt>
                <c:pt idx="2312">
                  <c:v>0.32581088080790654</c:v>
                </c:pt>
                <c:pt idx="2313">
                  <c:v>0.32703895120895526</c:v>
                </c:pt>
                <c:pt idx="2314">
                  <c:v>0.32491624768944255</c:v>
                </c:pt>
                <c:pt idx="2315">
                  <c:v>0.28273201352862387</c:v>
                </c:pt>
                <c:pt idx="2316">
                  <c:v>0.30232690375297733</c:v>
                </c:pt>
                <c:pt idx="2317">
                  <c:v>0.28134741881608444</c:v>
                </c:pt>
                <c:pt idx="2318">
                  <c:v>0.3024427112612797</c:v>
                </c:pt>
                <c:pt idx="2319">
                  <c:v>0.30625579179545642</c:v>
                </c:pt>
                <c:pt idx="2320">
                  <c:v>0.30876944335216383</c:v>
                </c:pt>
                <c:pt idx="2321">
                  <c:v>0.31411411693703839</c:v>
                </c:pt>
                <c:pt idx="2322">
                  <c:v>0.31760082352486407</c:v>
                </c:pt>
                <c:pt idx="2323">
                  <c:v>0.315989622849078</c:v>
                </c:pt>
                <c:pt idx="2324">
                  <c:v>0.33084958042243501</c:v>
                </c:pt>
                <c:pt idx="2325">
                  <c:v>0.34234578375031072</c:v>
                </c:pt>
                <c:pt idx="2326">
                  <c:v>0.3477306532972218</c:v>
                </c:pt>
                <c:pt idx="2327">
                  <c:v>0.35178141514451094</c:v>
                </c:pt>
                <c:pt idx="2328">
                  <c:v>0.36648625382157357</c:v>
                </c:pt>
                <c:pt idx="2329">
                  <c:v>0.38111553869611986</c:v>
                </c:pt>
                <c:pt idx="2330">
                  <c:v>0.37603250008949868</c:v>
                </c:pt>
                <c:pt idx="2331">
                  <c:v>0.38972250289960125</c:v>
                </c:pt>
                <c:pt idx="2332">
                  <c:v>0.38555757159607568</c:v>
                </c:pt>
                <c:pt idx="2333">
                  <c:v>0.37845843728563833</c:v>
                </c:pt>
                <c:pt idx="2334">
                  <c:v>0.37129868047391568</c:v>
                </c:pt>
                <c:pt idx="2335">
                  <c:v>0.36219057403784372</c:v>
                </c:pt>
                <c:pt idx="2336">
                  <c:v>0.37745862956819576</c:v>
                </c:pt>
                <c:pt idx="2337">
                  <c:v>0.373787502218139</c:v>
                </c:pt>
                <c:pt idx="2338">
                  <c:v>0.36924075520263416</c:v>
                </c:pt>
                <c:pt idx="2339">
                  <c:v>0.34854728964830817</c:v>
                </c:pt>
                <c:pt idx="2340">
                  <c:v>0.34947742521576797</c:v>
                </c:pt>
                <c:pt idx="2341">
                  <c:v>0.34660195589671233</c:v>
                </c:pt>
                <c:pt idx="2342">
                  <c:v>0.34241070661918305</c:v>
                </c:pt>
                <c:pt idx="2343">
                  <c:v>0.35140868685045484</c:v>
                </c:pt>
                <c:pt idx="2344">
                  <c:v>0.36686615843443793</c:v>
                </c:pt>
                <c:pt idx="2345">
                  <c:v>0.36485867285014573</c:v>
                </c:pt>
                <c:pt idx="2346">
                  <c:v>0.36347909940477985</c:v>
                </c:pt>
                <c:pt idx="2347">
                  <c:v>0.37113746450722468</c:v>
                </c:pt>
                <c:pt idx="2348">
                  <c:v>0.3619560904444038</c:v>
                </c:pt>
                <c:pt idx="2349">
                  <c:v>0.36576077613246105</c:v>
                </c:pt>
                <c:pt idx="2350">
                  <c:v>0.36088383843527927</c:v>
                </c:pt>
                <c:pt idx="2351">
                  <c:v>0.35538419193728071</c:v>
                </c:pt>
                <c:pt idx="2352">
                  <c:v>0.35517762668510194</c:v>
                </c:pt>
                <c:pt idx="2353">
                  <c:v>0.3603590888073932</c:v>
                </c:pt>
                <c:pt idx="2354">
                  <c:v>0.36009028907570367</c:v>
                </c:pt>
                <c:pt idx="2355">
                  <c:v>0.36624395679194188</c:v>
                </c:pt>
                <c:pt idx="2356">
                  <c:v>0.36528227908941857</c:v>
                </c:pt>
                <c:pt idx="2357">
                  <c:v>0.37440012472075546</c:v>
                </c:pt>
                <c:pt idx="2358">
                  <c:v>0.35915406556169527</c:v>
                </c:pt>
                <c:pt idx="2359">
                  <c:v>0.35393983050995309</c:v>
                </c:pt>
                <c:pt idx="2360">
                  <c:v>0.35026848317337789</c:v>
                </c:pt>
                <c:pt idx="2361">
                  <c:v>0.33461590515161405</c:v>
                </c:pt>
                <c:pt idx="2362">
                  <c:v>0.33221740682324385</c:v>
                </c:pt>
                <c:pt idx="2363">
                  <c:v>0.33187875601537858</c:v>
                </c:pt>
                <c:pt idx="2364">
                  <c:v>0.33638949139113655</c:v>
                </c:pt>
                <c:pt idx="2365">
                  <c:v>0.33921315250470407</c:v>
                </c:pt>
                <c:pt idx="2366">
                  <c:v>0.32461732282841488</c:v>
                </c:pt>
                <c:pt idx="2367">
                  <c:v>0.32813453729041542</c:v>
                </c:pt>
                <c:pt idx="2368">
                  <c:v>0.34371410740691655</c:v>
                </c:pt>
                <c:pt idx="2369">
                  <c:v>0.34898683068946923</c:v>
                </c:pt>
                <c:pt idx="2370">
                  <c:v>0.35019244721459003</c:v>
                </c:pt>
                <c:pt idx="2371">
                  <c:v>0.35074763732711456</c:v>
                </c:pt>
                <c:pt idx="2372">
                  <c:v>0.3554661253230309</c:v>
                </c:pt>
                <c:pt idx="2373">
                  <c:v>0.34762310187416678</c:v>
                </c:pt>
                <c:pt idx="2374">
                  <c:v>0.33802553476298058</c:v>
                </c:pt>
                <c:pt idx="2375">
                  <c:v>0.35239800480610856</c:v>
                </c:pt>
                <c:pt idx="2376">
                  <c:v>0.35510119005462731</c:v>
                </c:pt>
                <c:pt idx="2377">
                  <c:v>0.34315744060422015</c:v>
                </c:pt>
                <c:pt idx="2378">
                  <c:v>0.33727447254735343</c:v>
                </c:pt>
                <c:pt idx="2379">
                  <c:v>0.34217752688971531</c:v>
                </c:pt>
                <c:pt idx="2380">
                  <c:v>0.35146448687850418</c:v>
                </c:pt>
                <c:pt idx="2381">
                  <c:v>0.35838628176279497</c:v>
                </c:pt>
                <c:pt idx="2382">
                  <c:v>0.35382247688638691</c:v>
                </c:pt>
                <c:pt idx="2383">
                  <c:v>0.3671633690605558</c:v>
                </c:pt>
                <c:pt idx="2384">
                  <c:v>0.361391941389824</c:v>
                </c:pt>
                <c:pt idx="2385">
                  <c:v>0.35165118764739589</c:v>
                </c:pt>
                <c:pt idx="2386">
                  <c:v>0.35502491185489399</c:v>
                </c:pt>
                <c:pt idx="2387">
                  <c:v>0.35279905328932798</c:v>
                </c:pt>
                <c:pt idx="2388">
                  <c:v>0.35796460629394217</c:v>
                </c:pt>
                <c:pt idx="2389">
                  <c:v>0.35517809169724374</c:v>
                </c:pt>
                <c:pt idx="2390">
                  <c:v>0.35641592364230479</c:v>
                </c:pt>
                <c:pt idx="2391">
                  <c:v>0.3581470816785704</c:v>
                </c:pt>
                <c:pt idx="2392">
                  <c:v>0.36455734896454123</c:v>
                </c:pt>
                <c:pt idx="2393">
                  <c:v>0.37026574624205078</c:v>
                </c:pt>
                <c:pt idx="2394">
                  <c:v>0.37330491307347341</c:v>
                </c:pt>
                <c:pt idx="2395">
                  <c:v>0.37193705557470652</c:v>
                </c:pt>
                <c:pt idx="2396">
                  <c:v>0.37928679184797315</c:v>
                </c:pt>
                <c:pt idx="2397">
                  <c:v>0.38304974351334486</c:v>
                </c:pt>
                <c:pt idx="2398">
                  <c:v>0.36415728991004492</c:v>
                </c:pt>
                <c:pt idx="2399">
                  <c:v>0.36764776721847514</c:v>
                </c:pt>
                <c:pt idx="2400">
                  <c:v>0.37493002347943072</c:v>
                </c:pt>
                <c:pt idx="2401">
                  <c:v>0.38417526297846816</c:v>
                </c:pt>
                <c:pt idx="2402">
                  <c:v>0.38698587970354403</c:v>
                </c:pt>
                <c:pt idx="2403">
                  <c:v>0.39178996255448051</c:v>
                </c:pt>
                <c:pt idx="2404">
                  <c:v>0.39732475868288047</c:v>
                </c:pt>
                <c:pt idx="2405">
                  <c:v>0.38357211426890025</c:v>
                </c:pt>
                <c:pt idx="2406">
                  <c:v>0.36719008983809864</c:v>
                </c:pt>
                <c:pt idx="2407">
                  <c:v>0.37774482267167819</c:v>
                </c:pt>
                <c:pt idx="2408">
                  <c:v>0.39273852437848894</c:v>
                </c:pt>
                <c:pt idx="2409">
                  <c:v>0.40234798684861989</c:v>
                </c:pt>
                <c:pt idx="2410">
                  <c:v>0.40767733828021957</c:v>
                </c:pt>
                <c:pt idx="2411">
                  <c:v>0.40268861611841072</c:v>
                </c:pt>
                <c:pt idx="2412">
                  <c:v>0.4301902146897556</c:v>
                </c:pt>
                <c:pt idx="2413">
                  <c:v>0.38077725600392393</c:v>
                </c:pt>
                <c:pt idx="2414">
                  <c:v>0.4160377652396729</c:v>
                </c:pt>
                <c:pt idx="2415">
                  <c:v>0.43143469780528171</c:v>
                </c:pt>
                <c:pt idx="2416">
                  <c:v>0.4664874378896674</c:v>
                </c:pt>
                <c:pt idx="2417">
                  <c:v>0.11425663148166298</c:v>
                </c:pt>
                <c:pt idx="2418">
                  <c:v>0.14554120915130589</c:v>
                </c:pt>
              </c:numCache>
            </c:numRef>
          </c:val>
          <c:smooth val="0"/>
          <c:extLst>
            <c:ext xmlns:c16="http://schemas.microsoft.com/office/drawing/2014/chart" uri="{C3380CC4-5D6E-409C-BE32-E72D297353CC}">
              <c16:uniqueId val="{00000001-E215-044C-B3CE-16D2B7E29BDB}"/>
            </c:ext>
          </c:extLst>
        </c:ser>
        <c:ser>
          <c:idx val="1"/>
          <c:order val="1"/>
          <c:tx>
            <c:strRef>
              <c:f>'Data Preparation'!$I$1</c:f>
              <c:strCache>
                <c:ptCount val="1"/>
                <c:pt idx="0">
                  <c:v>Pump Efficiency</c:v>
                </c:pt>
              </c:strCache>
            </c:strRef>
          </c:tx>
          <c:spPr>
            <a:ln w="28575" cap="rnd">
              <a:solidFill>
                <a:schemeClr val="accent2"/>
              </a:solidFill>
              <a:round/>
            </a:ln>
            <a:effectLst/>
          </c:spPr>
          <c:marker>
            <c:symbol val="none"/>
          </c:marker>
          <c:val>
            <c:numRef>
              <c:f>'Data Preparation'!$I$2:$I$2420</c:f>
              <c:numCache>
                <c:formatCode>#,##0.00</c:formatCode>
                <c:ptCount val="2419"/>
                <c:pt idx="0" formatCode="0.0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4606179769208705</c:v>
                </c:pt>
                <c:pt idx="43">
                  <c:v>2.453773941212587</c:v>
                </c:pt>
                <c:pt idx="44">
                  <c:v>2.381325656798658</c:v>
                </c:pt>
                <c:pt idx="45">
                  <c:v>2.3517518113360012</c:v>
                </c:pt>
                <c:pt idx="46">
                  <c:v>2.341887642810272</c:v>
                </c:pt>
                <c:pt idx="47">
                  <c:v>2.2773302603811194</c:v>
                </c:pt>
                <c:pt idx="48">
                  <c:v>2.2333541609868908</c:v>
                </c:pt>
                <c:pt idx="49">
                  <c:v>2.1535680670454189</c:v>
                </c:pt>
                <c:pt idx="50">
                  <c:v>2.2015447481363912</c:v>
                </c:pt>
                <c:pt idx="51">
                  <c:v>2.2088121139399677</c:v>
                </c:pt>
                <c:pt idx="52">
                  <c:v>2.1981165024742673</c:v>
                </c:pt>
                <c:pt idx="53">
                  <c:v>2.1866320979086651</c:v>
                </c:pt>
                <c:pt idx="54">
                  <c:v>2.1850377673273984</c:v>
                </c:pt>
                <c:pt idx="55">
                  <c:v>2.2096009748661798</c:v>
                </c:pt>
                <c:pt idx="56">
                  <c:v>2.1466376491020149</c:v>
                </c:pt>
                <c:pt idx="57">
                  <c:v>2.1129878781821576</c:v>
                </c:pt>
                <c:pt idx="58">
                  <c:v>2.0730701470791453</c:v>
                </c:pt>
                <c:pt idx="59">
                  <c:v>2.0794410871937976</c:v>
                </c:pt>
                <c:pt idx="60">
                  <c:v>2.1328162370838299</c:v>
                </c:pt>
                <c:pt idx="61">
                  <c:v>2.0847910127919653</c:v>
                </c:pt>
                <c:pt idx="62">
                  <c:v>2.061541615636429</c:v>
                </c:pt>
                <c:pt idx="63">
                  <c:v>2.1025286155656353</c:v>
                </c:pt>
                <c:pt idx="64">
                  <c:v>2.188725134946925</c:v>
                </c:pt>
                <c:pt idx="65">
                  <c:v>2.141160359034465</c:v>
                </c:pt>
                <c:pt idx="66">
                  <c:v>2.141160359034465</c:v>
                </c:pt>
                <c:pt idx="67">
                  <c:v>2.1428193440282883</c:v>
                </c:pt>
                <c:pt idx="68">
                  <c:v>2.1532103054624558</c:v>
                </c:pt>
                <c:pt idx="69">
                  <c:v>2.1122327335635025</c:v>
                </c:pt>
                <c:pt idx="70">
                  <c:v>2.1979307522136686</c:v>
                </c:pt>
                <c:pt idx="71">
                  <c:v>2.1077965977716282</c:v>
                </c:pt>
                <c:pt idx="72">
                  <c:v>2.2148259898870695</c:v>
                </c:pt>
                <c:pt idx="73">
                  <c:v>2.2515273728275669</c:v>
                </c:pt>
                <c:pt idx="74">
                  <c:v>2.2385671026632732</c:v>
                </c:pt>
                <c:pt idx="75">
                  <c:v>2.2050900985102011</c:v>
                </c:pt>
                <c:pt idx="76">
                  <c:v>2.2131522196228226</c:v>
                </c:pt>
                <c:pt idx="77">
                  <c:v>2.2622778380282837</c:v>
                </c:pt>
                <c:pt idx="78">
                  <c:v>2.2361504770515457</c:v>
                </c:pt>
                <c:pt idx="79">
                  <c:v>2.3478262331949971</c:v>
                </c:pt>
                <c:pt idx="80">
                  <c:v>2.3308561264333019</c:v>
                </c:pt>
                <c:pt idx="81">
                  <c:v>2.2904827853008758</c:v>
                </c:pt>
                <c:pt idx="82">
                  <c:v>2.2673100746979071</c:v>
                </c:pt>
                <c:pt idx="83">
                  <c:v>2.3003616502319959</c:v>
                </c:pt>
                <c:pt idx="84">
                  <c:v>2.2827558053120049</c:v>
                </c:pt>
                <c:pt idx="85">
                  <c:v>2.2671006630822368</c:v>
                </c:pt>
                <c:pt idx="86">
                  <c:v>2.2676479081291925</c:v>
                </c:pt>
                <c:pt idx="87">
                  <c:v>2.2726073949575714</c:v>
                </c:pt>
                <c:pt idx="88">
                  <c:v>2.2744312107807034</c:v>
                </c:pt>
                <c:pt idx="89">
                  <c:v>2.2651917708895346</c:v>
                </c:pt>
                <c:pt idx="90">
                  <c:v>2.2822214233613165</c:v>
                </c:pt>
                <c:pt idx="91">
                  <c:v>2.2870579329764964</c:v>
                </c:pt>
                <c:pt idx="92">
                  <c:v>2.2861907590067521</c:v>
                </c:pt>
                <c:pt idx="93">
                  <c:v>2.1998820317776149</c:v>
                </c:pt>
                <c:pt idx="94">
                  <c:v>2.1297599977351633</c:v>
                </c:pt>
                <c:pt idx="95">
                  <c:v>2.2237144288597461</c:v>
                </c:pt>
                <c:pt idx="96">
                  <c:v>2.1961490341987884</c:v>
                </c:pt>
                <c:pt idx="97">
                  <c:v>2.2136779566919311</c:v>
                </c:pt>
                <c:pt idx="98">
                  <c:v>2.1794509101130211</c:v>
                </c:pt>
                <c:pt idx="99">
                  <c:v>2.1444579978384302</c:v>
                </c:pt>
                <c:pt idx="100">
                  <c:v>2.081613976560357</c:v>
                </c:pt>
                <c:pt idx="101">
                  <c:v>2.0564112444332712</c:v>
                </c:pt>
                <c:pt idx="102">
                  <c:v>1.9602576489703412</c:v>
                </c:pt>
                <c:pt idx="103">
                  <c:v>1.8958368593233923</c:v>
                </c:pt>
                <c:pt idx="104">
                  <c:v>1.9168533039259237</c:v>
                </c:pt>
                <c:pt idx="105">
                  <c:v>1.9229095343333185</c:v>
                </c:pt>
                <c:pt idx="106">
                  <c:v>1.9071647744660123</c:v>
                </c:pt>
                <c:pt idx="107">
                  <c:v>1.9186796067756662</c:v>
                </c:pt>
                <c:pt idx="108">
                  <c:v>1.9369862274892522</c:v>
                </c:pt>
                <c:pt idx="109">
                  <c:v>1.8651464178113766</c:v>
                </c:pt>
                <c:pt idx="110">
                  <c:v>1.9074806365060137</c:v>
                </c:pt>
                <c:pt idx="111">
                  <c:v>1.8825347072763183</c:v>
                </c:pt>
                <c:pt idx="112">
                  <c:v>1.8778551296378765</c:v>
                </c:pt>
                <c:pt idx="113">
                  <c:v>1.8845286614594297</c:v>
                </c:pt>
                <c:pt idx="114">
                  <c:v>1.9397792198282755</c:v>
                </c:pt>
                <c:pt idx="115">
                  <c:v>1.9360926709318496</c:v>
                </c:pt>
                <c:pt idx="116">
                  <c:v>1.9972764775147449</c:v>
                </c:pt>
                <c:pt idx="117">
                  <c:v>2.064947636002409</c:v>
                </c:pt>
                <c:pt idx="118">
                  <c:v>2.0298662017010392</c:v>
                </c:pt>
                <c:pt idx="119">
                  <c:v>2.1235676725553403</c:v>
                </c:pt>
                <c:pt idx="120">
                  <c:v>2.0913519134919176</c:v>
                </c:pt>
                <c:pt idx="121">
                  <c:v>2.0547854050243433</c:v>
                </c:pt>
                <c:pt idx="122">
                  <c:v>2.0433642169407777</c:v>
                </c:pt>
                <c:pt idx="123">
                  <c:v>2.0469570703458562</c:v>
                </c:pt>
                <c:pt idx="124">
                  <c:v>2.0617867414703985</c:v>
                </c:pt>
                <c:pt idx="125">
                  <c:v>2.0110971698879356</c:v>
                </c:pt>
                <c:pt idx="126">
                  <c:v>2.0039683249023508</c:v>
                </c:pt>
                <c:pt idx="127">
                  <c:v>2.0757366922654201</c:v>
                </c:pt>
                <c:pt idx="128">
                  <c:v>2.0742863849622011</c:v>
                </c:pt>
                <c:pt idx="129">
                  <c:v>2.0736696972056929</c:v>
                </c:pt>
                <c:pt idx="130">
                  <c:v>2.0907209946743159</c:v>
                </c:pt>
                <c:pt idx="131">
                  <c:v>2.0819360413448793</c:v>
                </c:pt>
                <c:pt idx="132">
                  <c:v>2.0935800486171301</c:v>
                </c:pt>
                <c:pt idx="133">
                  <c:v>2.0859578832471923</c:v>
                </c:pt>
                <c:pt idx="134">
                  <c:v>2.0669538651386876</c:v>
                </c:pt>
                <c:pt idx="135">
                  <c:v>2.1166101146657743</c:v>
                </c:pt>
                <c:pt idx="136">
                  <c:v>2.1232498646298801</c:v>
                </c:pt>
                <c:pt idx="137">
                  <c:v>2.0648408142292176</c:v>
                </c:pt>
                <c:pt idx="138">
                  <c:v>2.0032268070174628</c:v>
                </c:pt>
                <c:pt idx="139">
                  <c:v>1.8858110885173518</c:v>
                </c:pt>
                <c:pt idx="140">
                  <c:v>1.8775617059187788</c:v>
                </c:pt>
                <c:pt idx="141">
                  <c:v>2.0019354176765867</c:v>
                </c:pt>
                <c:pt idx="142">
                  <c:v>1.9961894924551051</c:v>
                </c:pt>
                <c:pt idx="143">
                  <c:v>1.984400166332057</c:v>
                </c:pt>
                <c:pt idx="144">
                  <c:v>2.0157168148259226</c:v>
                </c:pt>
                <c:pt idx="145">
                  <c:v>2.1146376096167638</c:v>
                </c:pt>
                <c:pt idx="146">
                  <c:v>2.1400183505976869</c:v>
                </c:pt>
                <c:pt idx="147">
                  <c:v>2.0912996772982795</c:v>
                </c:pt>
                <c:pt idx="148">
                  <c:v>2.0438362110698245</c:v>
                </c:pt>
                <c:pt idx="149">
                  <c:v>1.9600727173937371</c:v>
                </c:pt>
                <c:pt idx="150">
                  <c:v>2.0135575440227931</c:v>
                </c:pt>
                <c:pt idx="151">
                  <c:v>2.0715610204073207</c:v>
                </c:pt>
                <c:pt idx="152">
                  <c:v>2.0813804050712625</c:v>
                </c:pt>
                <c:pt idx="153">
                  <c:v>2.1636217872238026</c:v>
                </c:pt>
                <c:pt idx="154">
                  <c:v>2.1962124447121116</c:v>
                </c:pt>
                <c:pt idx="155">
                  <c:v>2.1913893168116063</c:v>
                </c:pt>
                <c:pt idx="156">
                  <c:v>2.2094957294279625</c:v>
                </c:pt>
                <c:pt idx="157">
                  <c:v>2.2315407893809254</c:v>
                </c:pt>
                <c:pt idx="158">
                  <c:v>2.1617084391935353</c:v>
                </c:pt>
                <c:pt idx="159">
                  <c:v>2.149185074680275</c:v>
                </c:pt>
                <c:pt idx="160">
                  <c:v>2.1547609114126676</c:v>
                </c:pt>
                <c:pt idx="161">
                  <c:v>2.1626398484901665</c:v>
                </c:pt>
                <c:pt idx="162">
                  <c:v>2.2150486634298141</c:v>
                </c:pt>
                <c:pt idx="163">
                  <c:v>2.2501744124583705</c:v>
                </c:pt>
                <c:pt idx="164">
                  <c:v>2.2839568757234305</c:v>
                </c:pt>
                <c:pt idx="165">
                  <c:v>2.2611690212040174</c:v>
                </c:pt>
                <c:pt idx="166">
                  <c:v>2.2607102152434244</c:v>
                </c:pt>
                <c:pt idx="167">
                  <c:v>2.2928214306924661</c:v>
                </c:pt>
                <c:pt idx="168">
                  <c:v>2.3658111528486976</c:v>
                </c:pt>
                <c:pt idx="169">
                  <c:v>2.3114191111111868</c:v>
                </c:pt>
                <c:pt idx="170">
                  <c:v>2.252392540679748</c:v>
                </c:pt>
                <c:pt idx="171">
                  <c:v>2.2665501006577533</c:v>
                </c:pt>
                <c:pt idx="172">
                  <c:v>2.2870681506576975</c:v>
                </c:pt>
                <c:pt idx="173">
                  <c:v>2.2870681506576975</c:v>
                </c:pt>
                <c:pt idx="174">
                  <c:v>2.2870681506576975</c:v>
                </c:pt>
                <c:pt idx="175">
                  <c:v>2.2857230115590195</c:v>
                </c:pt>
                <c:pt idx="176">
                  <c:v>2.2712396385196301</c:v>
                </c:pt>
                <c:pt idx="177">
                  <c:v>2.2875054744668422</c:v>
                </c:pt>
                <c:pt idx="178">
                  <c:v>2.2743817593347919</c:v>
                </c:pt>
                <c:pt idx="179">
                  <c:v>2.2999836857851679</c:v>
                </c:pt>
                <c:pt idx="180">
                  <c:v>2.3147977430526319</c:v>
                </c:pt>
                <c:pt idx="181">
                  <c:v>2.2434537725315571</c:v>
                </c:pt>
                <c:pt idx="182">
                  <c:v>2.2790575164515654</c:v>
                </c:pt>
                <c:pt idx="183">
                  <c:v>2.2270839064397148</c:v>
                </c:pt>
                <c:pt idx="184">
                  <c:v>2.2075085388041682</c:v>
                </c:pt>
                <c:pt idx="185">
                  <c:v>2.2975687316302458</c:v>
                </c:pt>
                <c:pt idx="186">
                  <c:v>2.4406254930997</c:v>
                </c:pt>
                <c:pt idx="187">
                  <c:v>2.3985573226379326</c:v>
                </c:pt>
                <c:pt idx="188">
                  <c:v>2.3985104303716289</c:v>
                </c:pt>
                <c:pt idx="189">
                  <c:v>2.3937780721539701</c:v>
                </c:pt>
                <c:pt idx="190">
                  <c:v>2.4355930720494285</c:v>
                </c:pt>
                <c:pt idx="191">
                  <c:v>2.5623251202469546</c:v>
                </c:pt>
                <c:pt idx="192">
                  <c:v>2.5113188055403675</c:v>
                </c:pt>
                <c:pt idx="193">
                  <c:v>2.4964487744250987</c:v>
                </c:pt>
                <c:pt idx="194">
                  <c:v>2.4579863648313767</c:v>
                </c:pt>
                <c:pt idx="195">
                  <c:v>2.5757522158650965</c:v>
                </c:pt>
                <c:pt idx="196">
                  <c:v>2.5721605469639401</c:v>
                </c:pt>
                <c:pt idx="197">
                  <c:v>2.489842116401217</c:v>
                </c:pt>
                <c:pt idx="198">
                  <c:v>2.509878346293827</c:v>
                </c:pt>
                <c:pt idx="199">
                  <c:v>2.4761268044555242</c:v>
                </c:pt>
                <c:pt idx="200">
                  <c:v>2.503244669383744</c:v>
                </c:pt>
                <c:pt idx="201">
                  <c:v>2.3541063404011648</c:v>
                </c:pt>
                <c:pt idx="202">
                  <c:v>2.3694029006150767</c:v>
                </c:pt>
                <c:pt idx="203">
                  <c:v>2.3665941625222811</c:v>
                </c:pt>
                <c:pt idx="204">
                  <c:v>2.1977367738083968</c:v>
                </c:pt>
                <c:pt idx="205">
                  <c:v>2.038804702000697</c:v>
                </c:pt>
                <c:pt idx="206">
                  <c:v>2.0202786888969646</c:v>
                </c:pt>
                <c:pt idx="207">
                  <c:v>2.0130522137666951</c:v>
                </c:pt>
                <c:pt idx="208">
                  <c:v>1.9634443963597872</c:v>
                </c:pt>
                <c:pt idx="209">
                  <c:v>1.7861956549690559</c:v>
                </c:pt>
                <c:pt idx="210">
                  <c:v>1.4871713219716276</c:v>
                </c:pt>
                <c:pt idx="211">
                  <c:v>1.5216756923538834</c:v>
                </c:pt>
                <c:pt idx="212">
                  <c:v>1.6150909157959779</c:v>
                </c:pt>
                <c:pt idx="213">
                  <c:v>1.5828194383348544</c:v>
                </c:pt>
                <c:pt idx="214">
                  <c:v>1.6200904527063069</c:v>
                </c:pt>
                <c:pt idx="215">
                  <c:v>1.61223591487042</c:v>
                </c:pt>
                <c:pt idx="216">
                  <c:v>1.5582957811105069</c:v>
                </c:pt>
                <c:pt idx="217">
                  <c:v>1.6169281184780218</c:v>
                </c:pt>
                <c:pt idx="218">
                  <c:v>1.5516534355825167</c:v>
                </c:pt>
                <c:pt idx="219">
                  <c:v>1.5587510863439045</c:v>
                </c:pt>
                <c:pt idx="220">
                  <c:v>1.5595447182808382</c:v>
                </c:pt>
                <c:pt idx="221">
                  <c:v>1.5430178097619349</c:v>
                </c:pt>
                <c:pt idx="222">
                  <c:v>1.594022747938729</c:v>
                </c:pt>
                <c:pt idx="223">
                  <c:v>1.5869152436411387</c:v>
                </c:pt>
                <c:pt idx="224">
                  <c:v>1.6265658143577673</c:v>
                </c:pt>
                <c:pt idx="225">
                  <c:v>1.8775170812604118</c:v>
                </c:pt>
                <c:pt idx="226">
                  <c:v>1.9282217059945173</c:v>
                </c:pt>
                <c:pt idx="227">
                  <c:v>2.0477333178997728</c:v>
                </c:pt>
                <c:pt idx="228">
                  <c:v>2.0831153642980578</c:v>
                </c:pt>
                <c:pt idx="229">
                  <c:v>2.2051352451960335</c:v>
                </c:pt>
                <c:pt idx="230">
                  <c:v>2.1916618763359197</c:v>
                </c:pt>
                <c:pt idx="231">
                  <c:v>2.2652135776752007</c:v>
                </c:pt>
                <c:pt idx="232">
                  <c:v>2.4420507867808694</c:v>
                </c:pt>
                <c:pt idx="233">
                  <c:v>2.4699416511803651</c:v>
                </c:pt>
                <c:pt idx="234">
                  <c:v>2.6130220985495534</c:v>
                </c:pt>
                <c:pt idx="235">
                  <c:v>2.7126398808203431</c:v>
                </c:pt>
                <c:pt idx="236">
                  <c:v>2.7084595983749256</c:v>
                </c:pt>
                <c:pt idx="237">
                  <c:v>2.815558896707091</c:v>
                </c:pt>
                <c:pt idx="238">
                  <c:v>2.8639430928262999</c:v>
                </c:pt>
                <c:pt idx="239">
                  <c:v>2.8487245724955854</c:v>
                </c:pt>
                <c:pt idx="240">
                  <c:v>2.840251668968738</c:v>
                </c:pt>
                <c:pt idx="241">
                  <c:v>2.7550207369361197</c:v>
                </c:pt>
                <c:pt idx="242">
                  <c:v>2.6473416804091925</c:v>
                </c:pt>
                <c:pt idx="243">
                  <c:v>2.6414832285693119</c:v>
                </c:pt>
                <c:pt idx="244">
                  <c:v>2.4847895601750074</c:v>
                </c:pt>
                <c:pt idx="245">
                  <c:v>2.4963848469487306</c:v>
                </c:pt>
                <c:pt idx="246">
                  <c:v>2.4393204815098106</c:v>
                </c:pt>
                <c:pt idx="247">
                  <c:v>2.3101561649815094</c:v>
                </c:pt>
                <c:pt idx="248">
                  <c:v>2.1941301001881648</c:v>
                </c:pt>
                <c:pt idx="249">
                  <c:v>2.1861176724547429</c:v>
                </c:pt>
                <c:pt idx="250">
                  <c:v>2.159142792095099</c:v>
                </c:pt>
                <c:pt idx="251">
                  <c:v>2.1780580626098875</c:v>
                </c:pt>
                <c:pt idx="252">
                  <c:v>2.2042562694771686</c:v>
                </c:pt>
                <c:pt idx="253">
                  <c:v>2.1158506058920805</c:v>
                </c:pt>
                <c:pt idx="254">
                  <c:v>2.1031336795047535</c:v>
                </c:pt>
                <c:pt idx="255">
                  <c:v>2.0880666700426014</c:v>
                </c:pt>
                <c:pt idx="256">
                  <c:v>2.0931913399760971</c:v>
                </c:pt>
                <c:pt idx="257">
                  <c:v>2.1019321450231816</c:v>
                </c:pt>
                <c:pt idx="258">
                  <c:v>2.1104672481039968</c:v>
                </c:pt>
                <c:pt idx="259">
                  <c:v>2.2130352100419337</c:v>
                </c:pt>
                <c:pt idx="260">
                  <c:v>2.2665859763575629</c:v>
                </c:pt>
                <c:pt idx="261">
                  <c:v>2.274691731980202</c:v>
                </c:pt>
                <c:pt idx="262">
                  <c:v>2.227939891121324</c:v>
                </c:pt>
                <c:pt idx="263">
                  <c:v>2.3275466792783384</c:v>
                </c:pt>
                <c:pt idx="264">
                  <c:v>2.2738885225564927</c:v>
                </c:pt>
                <c:pt idx="265">
                  <c:v>2.2906925475273674</c:v>
                </c:pt>
                <c:pt idx="266">
                  <c:v>2.3441515825492738</c:v>
                </c:pt>
                <c:pt idx="267">
                  <c:v>2.3827540497088657</c:v>
                </c:pt>
                <c:pt idx="268">
                  <c:v>2.3954775160050166</c:v>
                </c:pt>
                <c:pt idx="269">
                  <c:v>2.4026796256450975</c:v>
                </c:pt>
                <c:pt idx="270">
                  <c:v>2.4325349288958371</c:v>
                </c:pt>
                <c:pt idx="271">
                  <c:v>2.5260331639092857</c:v>
                </c:pt>
                <c:pt idx="272">
                  <c:v>2.4408312256873259</c:v>
                </c:pt>
                <c:pt idx="273">
                  <c:v>2.4121053280511213</c:v>
                </c:pt>
                <c:pt idx="274">
                  <c:v>2.4338073584023108</c:v>
                </c:pt>
                <c:pt idx="275">
                  <c:v>2.4572217307334689</c:v>
                </c:pt>
                <c:pt idx="276">
                  <c:v>2.5057419383741375</c:v>
                </c:pt>
                <c:pt idx="277">
                  <c:v>2.456713775805504</c:v>
                </c:pt>
                <c:pt idx="278">
                  <c:v>2.4569225688952581</c:v>
                </c:pt>
                <c:pt idx="279">
                  <c:v>2.4434125793187</c:v>
                </c:pt>
                <c:pt idx="280">
                  <c:v>2.3946799113927355</c:v>
                </c:pt>
                <c:pt idx="281">
                  <c:v>2.3545017606480636</c:v>
                </c:pt>
                <c:pt idx="282">
                  <c:v>2.3711399263232495</c:v>
                </c:pt>
                <c:pt idx="283">
                  <c:v>2.4053039773239622</c:v>
                </c:pt>
                <c:pt idx="284">
                  <c:v>2.4840774602145861</c:v>
                </c:pt>
                <c:pt idx="285">
                  <c:v>2.4407782957665778</c:v>
                </c:pt>
                <c:pt idx="286">
                  <c:v>2.5115101235309507</c:v>
                </c:pt>
                <c:pt idx="287">
                  <c:v>2.4794560853822025</c:v>
                </c:pt>
                <c:pt idx="288">
                  <c:v>2.5381462483248338</c:v>
                </c:pt>
                <c:pt idx="289">
                  <c:v>2.4997862547554393</c:v>
                </c:pt>
                <c:pt idx="290">
                  <c:v>2.4608961537126741</c:v>
                </c:pt>
                <c:pt idx="291">
                  <c:v>2.4507632921915485</c:v>
                </c:pt>
                <c:pt idx="292">
                  <c:v>2.4372400519769033</c:v>
                </c:pt>
                <c:pt idx="293">
                  <c:v>2.4373151185630113</c:v>
                </c:pt>
                <c:pt idx="294">
                  <c:v>2.433662158918581</c:v>
                </c:pt>
                <c:pt idx="295">
                  <c:v>2.3701939417997173</c:v>
                </c:pt>
                <c:pt idx="296">
                  <c:v>2.3245060128265442</c:v>
                </c:pt>
                <c:pt idx="297">
                  <c:v>2.3100842037062543</c:v>
                </c:pt>
                <c:pt idx="298">
                  <c:v>2.2913602746896755</c:v>
                </c:pt>
                <c:pt idx="299">
                  <c:v>2.247631898199804</c:v>
                </c:pt>
                <c:pt idx="300">
                  <c:v>2.2843165330944122</c:v>
                </c:pt>
                <c:pt idx="301">
                  <c:v>2.2195911722605173</c:v>
                </c:pt>
                <c:pt idx="302">
                  <c:v>2.2486447371238971</c:v>
                </c:pt>
                <c:pt idx="303">
                  <c:v>2.1671065311154822</c:v>
                </c:pt>
                <c:pt idx="304">
                  <c:v>2.1195486237371512</c:v>
                </c:pt>
                <c:pt idx="305">
                  <c:v>2.1429044583068477</c:v>
                </c:pt>
                <c:pt idx="306">
                  <c:v>2.108307514942366</c:v>
                </c:pt>
                <c:pt idx="307">
                  <c:v>2.1803983537638767</c:v>
                </c:pt>
                <c:pt idx="308">
                  <c:v>2.1848920353284282</c:v>
                </c:pt>
                <c:pt idx="309">
                  <c:v>2.1881813341355367</c:v>
                </c:pt>
                <c:pt idx="310">
                  <c:v>2.2449119190028215</c:v>
                </c:pt>
                <c:pt idx="311">
                  <c:v>2.2205223446823461</c:v>
                </c:pt>
                <c:pt idx="312">
                  <c:v>2.1475023434654288</c:v>
                </c:pt>
                <c:pt idx="313">
                  <c:v>2.1279697703216263</c:v>
                </c:pt>
                <c:pt idx="314">
                  <c:v>2.0280547760350673</c:v>
                </c:pt>
                <c:pt idx="315">
                  <c:v>2.0106379949571864</c:v>
                </c:pt>
                <c:pt idx="316">
                  <c:v>1.8831062381629513</c:v>
                </c:pt>
                <c:pt idx="317">
                  <c:v>1.920444519645139</c:v>
                </c:pt>
                <c:pt idx="318">
                  <c:v>1.8801058848163366</c:v>
                </c:pt>
                <c:pt idx="319">
                  <c:v>1.8853507245130705</c:v>
                </c:pt>
                <c:pt idx="320">
                  <c:v>1.8754217663122863</c:v>
                </c:pt>
                <c:pt idx="321">
                  <c:v>1.8942455092217585</c:v>
                </c:pt>
                <c:pt idx="322">
                  <c:v>1.8795334415787144</c:v>
                </c:pt>
                <c:pt idx="323">
                  <c:v>1.7966762638372527</c:v>
                </c:pt>
                <c:pt idx="324">
                  <c:v>1.7971744602729454</c:v>
                </c:pt>
                <c:pt idx="325">
                  <c:v>1.8797823909114002</c:v>
                </c:pt>
                <c:pt idx="326">
                  <c:v>1.9211515339740708</c:v>
                </c:pt>
                <c:pt idx="327">
                  <c:v>1.928996685628604</c:v>
                </c:pt>
                <c:pt idx="328">
                  <c:v>1.8807439172175082</c:v>
                </c:pt>
                <c:pt idx="329">
                  <c:v>1.992536277448141</c:v>
                </c:pt>
                <c:pt idx="330">
                  <c:v>1.9798686642817216</c:v>
                </c:pt>
                <c:pt idx="331">
                  <c:v>1.9879669361397714</c:v>
                </c:pt>
                <c:pt idx="332">
                  <c:v>2.0107589400899131</c:v>
                </c:pt>
                <c:pt idx="333">
                  <c:v>2.1029927513894791</c:v>
                </c:pt>
                <c:pt idx="334">
                  <c:v>2.1446698173470296</c:v>
                </c:pt>
                <c:pt idx="335">
                  <c:v>2.0474326902879159</c:v>
                </c:pt>
                <c:pt idx="336">
                  <c:v>2.041799358066259</c:v>
                </c:pt>
                <c:pt idx="337">
                  <c:v>1.9457090234836589</c:v>
                </c:pt>
                <c:pt idx="338">
                  <c:v>1.9443223690232396</c:v>
                </c:pt>
                <c:pt idx="339">
                  <c:v>1.9235374184681155</c:v>
                </c:pt>
                <c:pt idx="340">
                  <c:v>1.8562702246589651</c:v>
                </c:pt>
                <c:pt idx="341">
                  <c:v>1.8373906932668449</c:v>
                </c:pt>
                <c:pt idx="342">
                  <c:v>1.8479502455945174</c:v>
                </c:pt>
                <c:pt idx="343">
                  <c:v>1.8336628286686183</c:v>
                </c:pt>
                <c:pt idx="344">
                  <c:v>1.8497177312715714</c:v>
                </c:pt>
                <c:pt idx="345">
                  <c:v>1.8899785709803907</c:v>
                </c:pt>
                <c:pt idx="346">
                  <c:v>1.9054043122750721</c:v>
                </c:pt>
                <c:pt idx="347">
                  <c:v>1.9839673716509145</c:v>
                </c:pt>
                <c:pt idx="348">
                  <c:v>1.9451195524042342</c:v>
                </c:pt>
                <c:pt idx="349">
                  <c:v>1.954583120338879</c:v>
                </c:pt>
                <c:pt idx="350">
                  <c:v>1.9486326447032138</c:v>
                </c:pt>
                <c:pt idx="351">
                  <c:v>1.896637993840897</c:v>
                </c:pt>
                <c:pt idx="352">
                  <c:v>1.974505408031487</c:v>
                </c:pt>
                <c:pt idx="353">
                  <c:v>2.0347927401096189</c:v>
                </c:pt>
                <c:pt idx="354">
                  <c:v>2.019344088117351</c:v>
                </c:pt>
                <c:pt idx="355">
                  <c:v>2.0333805026709926</c:v>
                </c:pt>
                <c:pt idx="356">
                  <c:v>2.0153528705743962</c:v>
                </c:pt>
                <c:pt idx="357">
                  <c:v>1.9784054094857113</c:v>
                </c:pt>
                <c:pt idx="358">
                  <c:v>2.018098127742193</c:v>
                </c:pt>
                <c:pt idx="359">
                  <c:v>1.9584916543551034</c:v>
                </c:pt>
                <c:pt idx="360">
                  <c:v>1.8993225732598913</c:v>
                </c:pt>
                <c:pt idx="361">
                  <c:v>1.8928220570362457</c:v>
                </c:pt>
                <c:pt idx="362">
                  <c:v>1.8205319190087197</c:v>
                </c:pt>
                <c:pt idx="363">
                  <c:v>1.7402281558427231</c:v>
                </c:pt>
                <c:pt idx="364">
                  <c:v>1.7150039998446756</c:v>
                </c:pt>
                <c:pt idx="365">
                  <c:v>1.7639989285727189</c:v>
                </c:pt>
                <c:pt idx="366">
                  <c:v>1.8705747944805602</c:v>
                </c:pt>
                <c:pt idx="367">
                  <c:v>1.902528802665042</c:v>
                </c:pt>
                <c:pt idx="368">
                  <c:v>2.0121961185085167</c:v>
                </c:pt>
                <c:pt idx="369">
                  <c:v>2.0480361277627055</c:v>
                </c:pt>
                <c:pt idx="370">
                  <c:v>2.0244768946729645</c:v>
                </c:pt>
                <c:pt idx="371">
                  <c:v>2.0270091342191909</c:v>
                </c:pt>
                <c:pt idx="372">
                  <c:v>2.096669091348677</c:v>
                </c:pt>
                <c:pt idx="373">
                  <c:v>2.1277327155864558</c:v>
                </c:pt>
                <c:pt idx="374">
                  <c:v>2.0681020458394492</c:v>
                </c:pt>
                <c:pt idx="375">
                  <c:v>2.1052323006743006</c:v>
                </c:pt>
                <c:pt idx="376">
                  <c:v>2.0512684123155447</c:v>
                </c:pt>
                <c:pt idx="377">
                  <c:v>2.0134938539172418</c:v>
                </c:pt>
                <c:pt idx="378">
                  <c:v>2.0123567172170951</c:v>
                </c:pt>
                <c:pt idx="379">
                  <c:v>2.0120001914984758</c:v>
                </c:pt>
                <c:pt idx="380">
                  <c:v>2.06364994310549</c:v>
                </c:pt>
                <c:pt idx="381">
                  <c:v>2.0508501922073159</c:v>
                </c:pt>
                <c:pt idx="382">
                  <c:v>2.0847623065467502</c:v>
                </c:pt>
                <c:pt idx="383">
                  <c:v>2.0486292789753384</c:v>
                </c:pt>
                <c:pt idx="384">
                  <c:v>2.0607459538228836</c:v>
                </c:pt>
                <c:pt idx="385">
                  <c:v>2.0091758730385489</c:v>
                </c:pt>
                <c:pt idx="386">
                  <c:v>2.0252491880685186</c:v>
                </c:pt>
                <c:pt idx="387">
                  <c:v>2.0983617126410734</c:v>
                </c:pt>
                <c:pt idx="388">
                  <c:v>2.1016374622656762</c:v>
                </c:pt>
                <c:pt idx="389">
                  <c:v>2.164276048496836</c:v>
                </c:pt>
                <c:pt idx="390">
                  <c:v>2.1633510520243044</c:v>
                </c:pt>
                <c:pt idx="391">
                  <c:v>2.2155528556458193</c:v>
                </c:pt>
                <c:pt idx="392">
                  <c:v>2.225759620807505</c:v>
                </c:pt>
                <c:pt idx="393">
                  <c:v>2.2211395735150607</c:v>
                </c:pt>
                <c:pt idx="394">
                  <c:v>2.1692918017754348</c:v>
                </c:pt>
                <c:pt idx="395">
                  <c:v>2.2054674412397839</c:v>
                </c:pt>
                <c:pt idx="396">
                  <c:v>2.2250394194199843</c:v>
                </c:pt>
                <c:pt idx="397">
                  <c:v>2.214389841704905</c:v>
                </c:pt>
                <c:pt idx="398">
                  <c:v>2.1896082629131564</c:v>
                </c:pt>
                <c:pt idx="399">
                  <c:v>2.1821469623403589</c:v>
                </c:pt>
                <c:pt idx="400">
                  <c:v>2.2190018526356772</c:v>
                </c:pt>
                <c:pt idx="401">
                  <c:v>2.2073484534237746</c:v>
                </c:pt>
                <c:pt idx="402">
                  <c:v>2.1327560193009742</c:v>
                </c:pt>
                <c:pt idx="403">
                  <c:v>2.1189164170771653</c:v>
                </c:pt>
                <c:pt idx="404">
                  <c:v>2.1744682889612159</c:v>
                </c:pt>
                <c:pt idx="405">
                  <c:v>2.119251280596671</c:v>
                </c:pt>
                <c:pt idx="406">
                  <c:v>2.1837564535689067</c:v>
                </c:pt>
                <c:pt idx="407">
                  <c:v>2.2307631788732269</c:v>
                </c:pt>
                <c:pt idx="408">
                  <c:v>2.2297439215598001</c:v>
                </c:pt>
                <c:pt idx="409">
                  <c:v>2.2600848791720258</c:v>
                </c:pt>
                <c:pt idx="410">
                  <c:v>2.209592978452485</c:v>
                </c:pt>
                <c:pt idx="411">
                  <c:v>2.2652035130309813</c:v>
                </c:pt>
                <c:pt idx="412">
                  <c:v>2.2402249374772452</c:v>
                </c:pt>
                <c:pt idx="413">
                  <c:v>2.234623954858117</c:v>
                </c:pt>
                <c:pt idx="414">
                  <c:v>2.2245372919327293</c:v>
                </c:pt>
                <c:pt idx="415">
                  <c:v>2.2108153200155267</c:v>
                </c:pt>
                <c:pt idx="416">
                  <c:v>2.179826328682287</c:v>
                </c:pt>
                <c:pt idx="417">
                  <c:v>2.1445058384523179</c:v>
                </c:pt>
                <c:pt idx="418">
                  <c:v>2.0775540967646013</c:v>
                </c:pt>
                <c:pt idx="419">
                  <c:v>2.0799924004800854</c:v>
                </c:pt>
                <c:pt idx="420">
                  <c:v>2.0915860064598215</c:v>
                </c:pt>
                <c:pt idx="421">
                  <c:v>1.994400444706705</c:v>
                </c:pt>
                <c:pt idx="422">
                  <c:v>1.9660169786959039</c:v>
                </c:pt>
                <c:pt idx="423">
                  <c:v>2.0802453070888194</c:v>
                </c:pt>
                <c:pt idx="424">
                  <c:v>2.1077645993672047</c:v>
                </c:pt>
                <c:pt idx="425">
                  <c:v>2.1412348919149333</c:v>
                </c:pt>
                <c:pt idx="426">
                  <c:v>2.1274540197288907</c:v>
                </c:pt>
                <c:pt idx="427">
                  <c:v>2.1357718560528971</c:v>
                </c:pt>
                <c:pt idx="428">
                  <c:v>2.0951516632616416</c:v>
                </c:pt>
                <c:pt idx="429">
                  <c:v>2.0967412188815708</c:v>
                </c:pt>
                <c:pt idx="430">
                  <c:v>2.0549947262180255</c:v>
                </c:pt>
                <c:pt idx="431">
                  <c:v>2.1448346694968454</c:v>
                </c:pt>
                <c:pt idx="432">
                  <c:v>2.1505952085681268</c:v>
                </c:pt>
                <c:pt idx="433">
                  <c:v>2.2337042746833937</c:v>
                </c:pt>
                <c:pt idx="434">
                  <c:v>2.2026564098397459</c:v>
                </c:pt>
                <c:pt idx="435">
                  <c:v>2.2755966004341133</c:v>
                </c:pt>
                <c:pt idx="436">
                  <c:v>2.2284910407715994</c:v>
                </c:pt>
                <c:pt idx="437">
                  <c:v>2.2451640186196706</c:v>
                </c:pt>
                <c:pt idx="438">
                  <c:v>2.31580934594361</c:v>
                </c:pt>
                <c:pt idx="439">
                  <c:v>2.3061759301748097</c:v>
                </c:pt>
                <c:pt idx="440">
                  <c:v>2.3053550110531251</c:v>
                </c:pt>
                <c:pt idx="441">
                  <c:v>2.2488318743490066</c:v>
                </c:pt>
                <c:pt idx="442">
                  <c:v>2.2036274144474142</c:v>
                </c:pt>
                <c:pt idx="443">
                  <c:v>2.2167449137709054</c:v>
                </c:pt>
                <c:pt idx="444">
                  <c:v>2.2013945854894206</c:v>
                </c:pt>
                <c:pt idx="445">
                  <c:v>2.1991454077359052</c:v>
                </c:pt>
                <c:pt idx="446">
                  <c:v>2.2042146386998542</c:v>
                </c:pt>
                <c:pt idx="447">
                  <c:v>2.1896086099846217</c:v>
                </c:pt>
                <c:pt idx="448">
                  <c:v>2.164190018991289</c:v>
                </c:pt>
                <c:pt idx="449">
                  <c:v>2.0651588710616018</c:v>
                </c:pt>
                <c:pt idx="450">
                  <c:v>2.0304568946205053</c:v>
                </c:pt>
                <c:pt idx="451">
                  <c:v>2.0145899862669761</c:v>
                </c:pt>
                <c:pt idx="452">
                  <c:v>1.9691165449769856</c:v>
                </c:pt>
                <c:pt idx="453">
                  <c:v>1.9326519437472915</c:v>
                </c:pt>
                <c:pt idx="454">
                  <c:v>1.8768192402892867</c:v>
                </c:pt>
                <c:pt idx="455">
                  <c:v>1.8790117842782272</c:v>
                </c:pt>
                <c:pt idx="456">
                  <c:v>1.8521903008116705</c:v>
                </c:pt>
                <c:pt idx="457">
                  <c:v>1.9159228900365921</c:v>
                </c:pt>
                <c:pt idx="458">
                  <c:v>1.9500147727017632</c:v>
                </c:pt>
                <c:pt idx="459">
                  <c:v>1.953822470838616</c:v>
                </c:pt>
                <c:pt idx="460">
                  <c:v>1.982795671239526</c:v>
                </c:pt>
                <c:pt idx="461">
                  <c:v>1.8485716272005925</c:v>
                </c:pt>
                <c:pt idx="462">
                  <c:v>1.8633731750850868</c:v>
                </c:pt>
                <c:pt idx="463">
                  <c:v>1.7884750789982997</c:v>
                </c:pt>
                <c:pt idx="464">
                  <c:v>1.7356459862672684</c:v>
                </c:pt>
                <c:pt idx="465">
                  <c:v>1.6718239576290801</c:v>
                </c:pt>
                <c:pt idx="466">
                  <c:v>1.7171256698806885</c:v>
                </c:pt>
                <c:pt idx="467">
                  <c:v>1.5967413619952644</c:v>
                </c:pt>
                <c:pt idx="468">
                  <c:v>1.5221999898066672</c:v>
                </c:pt>
                <c:pt idx="469">
                  <c:v>1.6478778693836187</c:v>
                </c:pt>
                <c:pt idx="470">
                  <c:v>1.6610844866807131</c:v>
                </c:pt>
                <c:pt idx="471">
                  <c:v>1.7459599581744676</c:v>
                </c:pt>
                <c:pt idx="472">
                  <c:v>1.8324175195604879</c:v>
                </c:pt>
                <c:pt idx="473">
                  <c:v>1.804698279261066</c:v>
                </c:pt>
                <c:pt idx="474">
                  <c:v>1.8852403776353572</c:v>
                </c:pt>
                <c:pt idx="475">
                  <c:v>1.8860596121660784</c:v>
                </c:pt>
                <c:pt idx="476">
                  <c:v>1.9374919814320315</c:v>
                </c:pt>
                <c:pt idx="477">
                  <c:v>1.9849860122893848</c:v>
                </c:pt>
                <c:pt idx="478">
                  <c:v>2.0863200743068138</c:v>
                </c:pt>
                <c:pt idx="479">
                  <c:v>2.1664239219230348</c:v>
                </c:pt>
                <c:pt idx="480">
                  <c:v>2.1790062862585526</c:v>
                </c:pt>
                <c:pt idx="481">
                  <c:v>2.1734300617031246</c:v>
                </c:pt>
                <c:pt idx="482">
                  <c:v>2.1620403656719085</c:v>
                </c:pt>
                <c:pt idx="483">
                  <c:v>2.1245071288453863</c:v>
                </c:pt>
                <c:pt idx="484">
                  <c:v>2.1717760014064478</c:v>
                </c:pt>
                <c:pt idx="485">
                  <c:v>2.1743064699897636</c:v>
                </c:pt>
                <c:pt idx="486">
                  <c:v>2.1747612275567638</c:v>
                </c:pt>
                <c:pt idx="487">
                  <c:v>2.1980414782000604</c:v>
                </c:pt>
                <c:pt idx="488">
                  <c:v>2.1438436826707248</c:v>
                </c:pt>
                <c:pt idx="489">
                  <c:v>2.0741764718744706</c:v>
                </c:pt>
                <c:pt idx="490">
                  <c:v>2.0866954954243098</c:v>
                </c:pt>
                <c:pt idx="491">
                  <c:v>2.0748070190813359</c:v>
                </c:pt>
                <c:pt idx="492">
                  <c:v>2.1562434393929073</c:v>
                </c:pt>
                <c:pt idx="493">
                  <c:v>2.1183866239374831</c:v>
                </c:pt>
                <c:pt idx="494">
                  <c:v>2.1004999246618223</c:v>
                </c:pt>
                <c:pt idx="495">
                  <c:v>2.0878598455553101</c:v>
                </c:pt>
                <c:pt idx="496">
                  <c:v>2.0285111323993443</c:v>
                </c:pt>
                <c:pt idx="497">
                  <c:v>2.0552010679388695</c:v>
                </c:pt>
                <c:pt idx="498">
                  <c:v>2.1180727029357675</c:v>
                </c:pt>
                <c:pt idx="499">
                  <c:v>2.0742299636380159</c:v>
                </c:pt>
                <c:pt idx="500">
                  <c:v>2.0526839848719489</c:v>
                </c:pt>
                <c:pt idx="501">
                  <c:v>1.8893506961404896</c:v>
                </c:pt>
                <c:pt idx="502">
                  <c:v>1.9198204730671622</c:v>
                </c:pt>
                <c:pt idx="503">
                  <c:v>1.9255074622981383</c:v>
                </c:pt>
                <c:pt idx="504">
                  <c:v>1.9207694739090424</c:v>
                </c:pt>
                <c:pt idx="505">
                  <c:v>2.0461327100558817</c:v>
                </c:pt>
                <c:pt idx="506">
                  <c:v>2.0542949329882831</c:v>
                </c:pt>
                <c:pt idx="507">
                  <c:v>2.0519630342920117</c:v>
                </c:pt>
                <c:pt idx="508">
                  <c:v>1.9971972381834155</c:v>
                </c:pt>
                <c:pt idx="509">
                  <c:v>2.0908664754187019</c:v>
                </c:pt>
                <c:pt idx="510">
                  <c:v>2.1601826091146061</c:v>
                </c:pt>
                <c:pt idx="511">
                  <c:v>2.187854415643014</c:v>
                </c:pt>
                <c:pt idx="512">
                  <c:v>2.3025189719989125</c:v>
                </c:pt>
                <c:pt idx="513">
                  <c:v>2.303890918778758</c:v>
                </c:pt>
                <c:pt idx="514">
                  <c:v>2.2893029814707431</c:v>
                </c:pt>
                <c:pt idx="515">
                  <c:v>2.2934589647492056</c:v>
                </c:pt>
                <c:pt idx="516">
                  <c:v>2.291085644454836</c:v>
                </c:pt>
                <c:pt idx="517">
                  <c:v>2.2684252701029415</c:v>
                </c:pt>
                <c:pt idx="518">
                  <c:v>2.2795846391616466</c:v>
                </c:pt>
                <c:pt idx="519">
                  <c:v>2.2795332992338464</c:v>
                </c:pt>
                <c:pt idx="520">
                  <c:v>2.2514385171705702</c:v>
                </c:pt>
                <c:pt idx="521">
                  <c:v>2.2747870290113354</c:v>
                </c:pt>
                <c:pt idx="522">
                  <c:v>2.25333241712051</c:v>
                </c:pt>
                <c:pt idx="523">
                  <c:v>2.2958849447001555</c:v>
                </c:pt>
                <c:pt idx="524">
                  <c:v>2.3401362918725046</c:v>
                </c:pt>
                <c:pt idx="525">
                  <c:v>2.3180085988513524</c:v>
                </c:pt>
                <c:pt idx="526">
                  <c:v>2.289953193284572</c:v>
                </c:pt>
                <c:pt idx="527">
                  <c:v>2.3510127494419018</c:v>
                </c:pt>
                <c:pt idx="528">
                  <c:v>2.3548400746833034</c:v>
                </c:pt>
                <c:pt idx="529">
                  <c:v>2.4026773325201862</c:v>
                </c:pt>
                <c:pt idx="530">
                  <c:v>2.4797739043892477</c:v>
                </c:pt>
                <c:pt idx="531">
                  <c:v>2.5422706614151971</c:v>
                </c:pt>
                <c:pt idx="532">
                  <c:v>2.4729620639651873</c:v>
                </c:pt>
                <c:pt idx="533">
                  <c:v>2.4823661173968365</c:v>
                </c:pt>
                <c:pt idx="534">
                  <c:v>2.4483275863294827</c:v>
                </c:pt>
                <c:pt idx="535">
                  <c:v>2.3892832515548146</c:v>
                </c:pt>
                <c:pt idx="536">
                  <c:v>2.3861399606573221</c:v>
                </c:pt>
                <c:pt idx="537">
                  <c:v>2.3556214887118694</c:v>
                </c:pt>
                <c:pt idx="538">
                  <c:v>2.34782429109833</c:v>
                </c:pt>
                <c:pt idx="539">
                  <c:v>2.3281755204276364</c:v>
                </c:pt>
                <c:pt idx="540">
                  <c:v>2.2895974915509139</c:v>
                </c:pt>
                <c:pt idx="541">
                  <c:v>2.3132706392966029</c:v>
                </c:pt>
                <c:pt idx="542">
                  <c:v>2.3287250562431816</c:v>
                </c:pt>
                <c:pt idx="543">
                  <c:v>2.3611440119001812</c:v>
                </c:pt>
                <c:pt idx="544">
                  <c:v>2.3434177445694231</c:v>
                </c:pt>
                <c:pt idx="545">
                  <c:v>2.298676851040125</c:v>
                </c:pt>
                <c:pt idx="546">
                  <c:v>2.3081263258184483</c:v>
                </c:pt>
                <c:pt idx="547">
                  <c:v>2.2730654711795366</c:v>
                </c:pt>
                <c:pt idx="548">
                  <c:v>2.276949807850893</c:v>
                </c:pt>
                <c:pt idx="549">
                  <c:v>2.2693788499887573</c:v>
                </c:pt>
                <c:pt idx="550">
                  <c:v>2.2873665200479341</c:v>
                </c:pt>
                <c:pt idx="551">
                  <c:v>2.2802126262641917</c:v>
                </c:pt>
                <c:pt idx="552">
                  <c:v>2.2353597665334379</c:v>
                </c:pt>
                <c:pt idx="553">
                  <c:v>2.2168552142488567</c:v>
                </c:pt>
                <c:pt idx="554">
                  <c:v>2.1067460751982803</c:v>
                </c:pt>
                <c:pt idx="555">
                  <c:v>2.044698199882478</c:v>
                </c:pt>
                <c:pt idx="556">
                  <c:v>2.0281278449185365</c:v>
                </c:pt>
                <c:pt idx="557">
                  <c:v>2.0394428316922393</c:v>
                </c:pt>
                <c:pt idx="558">
                  <c:v>1.9502805404294756</c:v>
                </c:pt>
                <c:pt idx="559">
                  <c:v>1.820934175888097</c:v>
                </c:pt>
                <c:pt idx="560">
                  <c:v>1.7537988460266765</c:v>
                </c:pt>
                <c:pt idx="561">
                  <c:v>1.6964387510934928</c:v>
                </c:pt>
                <c:pt idx="562">
                  <c:v>1.7556785421983352</c:v>
                </c:pt>
                <c:pt idx="563">
                  <c:v>1.8523786181757149</c:v>
                </c:pt>
                <c:pt idx="564">
                  <c:v>1.9513415942086811</c:v>
                </c:pt>
                <c:pt idx="565">
                  <c:v>2.0373351914316045</c:v>
                </c:pt>
                <c:pt idx="566">
                  <c:v>2.0202264958461593</c:v>
                </c:pt>
                <c:pt idx="567">
                  <c:v>2.0265108145540944</c:v>
                </c:pt>
                <c:pt idx="568">
                  <c:v>2.0750541486352136</c:v>
                </c:pt>
                <c:pt idx="569">
                  <c:v>1.9994281504119196</c:v>
                </c:pt>
                <c:pt idx="570">
                  <c:v>2.1620986255070966</c:v>
                </c:pt>
                <c:pt idx="571">
                  <c:v>2.1172091801812281</c:v>
                </c:pt>
                <c:pt idx="572">
                  <c:v>2.0946915948088778</c:v>
                </c:pt>
                <c:pt idx="573">
                  <c:v>2.1460467985120917</c:v>
                </c:pt>
                <c:pt idx="574">
                  <c:v>2.1869505118051529</c:v>
                </c:pt>
                <c:pt idx="575">
                  <c:v>2.1908417546245542</c:v>
                </c:pt>
                <c:pt idx="576">
                  <c:v>2.2159829449418589</c:v>
                </c:pt>
                <c:pt idx="577">
                  <c:v>2.2238159257855235</c:v>
                </c:pt>
                <c:pt idx="578">
                  <c:v>2.2345069643236086</c:v>
                </c:pt>
                <c:pt idx="579">
                  <c:v>2.2234089703461621</c:v>
                </c:pt>
                <c:pt idx="580">
                  <c:v>2.1566874705077321</c:v>
                </c:pt>
                <c:pt idx="581">
                  <c:v>2.1507425577970154</c:v>
                </c:pt>
                <c:pt idx="582">
                  <c:v>2.0365857656129407</c:v>
                </c:pt>
                <c:pt idx="583">
                  <c:v>1.9987940697949154</c:v>
                </c:pt>
                <c:pt idx="584">
                  <c:v>1.9825196959973861</c:v>
                </c:pt>
                <c:pt idx="585">
                  <c:v>1.9431627434947112</c:v>
                </c:pt>
                <c:pt idx="586">
                  <c:v>1.8226537481555376</c:v>
                </c:pt>
                <c:pt idx="587">
                  <c:v>1.8823025742176094</c:v>
                </c:pt>
                <c:pt idx="588">
                  <c:v>1.896012424510344</c:v>
                </c:pt>
                <c:pt idx="589">
                  <c:v>1.9313051995773982</c:v>
                </c:pt>
                <c:pt idx="590">
                  <c:v>1.9186088061708084</c:v>
                </c:pt>
                <c:pt idx="591">
                  <c:v>1.8064395119845054</c:v>
                </c:pt>
                <c:pt idx="592">
                  <c:v>1.8600161080230084</c:v>
                </c:pt>
                <c:pt idx="593">
                  <c:v>1.8648163555421227</c:v>
                </c:pt>
                <c:pt idx="594">
                  <c:v>1.8643928938246714</c:v>
                </c:pt>
                <c:pt idx="595">
                  <c:v>1.8848775478478497</c:v>
                </c:pt>
                <c:pt idx="596">
                  <c:v>1.8846985260898552</c:v>
                </c:pt>
                <c:pt idx="597">
                  <c:v>1.9011562230195642</c:v>
                </c:pt>
                <c:pt idx="598">
                  <c:v>1.633034579509582</c:v>
                </c:pt>
                <c:pt idx="599">
                  <c:v>1.526949386083966</c:v>
                </c:pt>
                <c:pt idx="600">
                  <c:v>1.491304710871274</c:v>
                </c:pt>
                <c:pt idx="601">
                  <c:v>1.520875415991719</c:v>
                </c:pt>
                <c:pt idx="602">
                  <c:v>1.5160101224480855</c:v>
                </c:pt>
                <c:pt idx="603">
                  <c:v>1.5446491232123229</c:v>
                </c:pt>
                <c:pt idx="604">
                  <c:v>1.5560410656062829</c:v>
                </c:pt>
                <c:pt idx="605">
                  <c:v>1.6023090586304622</c:v>
                </c:pt>
                <c:pt idx="606">
                  <c:v>1.6026604650278227</c:v>
                </c:pt>
                <c:pt idx="607">
                  <c:v>1.6590554812209157</c:v>
                </c:pt>
                <c:pt idx="608">
                  <c:v>1.6349865330446578</c:v>
                </c:pt>
                <c:pt idx="609">
                  <c:v>1.6494629528055109</c:v>
                </c:pt>
                <c:pt idx="610">
                  <c:v>1.6567981036634611</c:v>
                </c:pt>
                <c:pt idx="611">
                  <c:v>1.6429011403397957</c:v>
                </c:pt>
                <c:pt idx="612">
                  <c:v>1.6427000273574934</c:v>
                </c:pt>
                <c:pt idx="613">
                  <c:v>1.6785651840872842</c:v>
                </c:pt>
                <c:pt idx="614">
                  <c:v>1.9437791006136775</c:v>
                </c:pt>
                <c:pt idx="615">
                  <c:v>1.9519992649656712</c:v>
                </c:pt>
                <c:pt idx="616">
                  <c:v>1.9226513469079316</c:v>
                </c:pt>
                <c:pt idx="617">
                  <c:v>2.0487639314506088</c:v>
                </c:pt>
                <c:pt idx="618">
                  <c:v>2.0941498668580962</c:v>
                </c:pt>
                <c:pt idx="619">
                  <c:v>2.265891580106508</c:v>
                </c:pt>
                <c:pt idx="620">
                  <c:v>2.2426713976026789</c:v>
                </c:pt>
                <c:pt idx="621">
                  <c:v>2.2657861822871652</c:v>
                </c:pt>
                <c:pt idx="622">
                  <c:v>2.2201324995953451</c:v>
                </c:pt>
                <c:pt idx="623">
                  <c:v>2.3864034131132867</c:v>
                </c:pt>
                <c:pt idx="624">
                  <c:v>2.3774349259666883</c:v>
                </c:pt>
                <c:pt idx="625">
                  <c:v>2.3341480210016767</c:v>
                </c:pt>
                <c:pt idx="626">
                  <c:v>2.359275456205975</c:v>
                </c:pt>
                <c:pt idx="627">
                  <c:v>2.3163061233753806</c:v>
                </c:pt>
                <c:pt idx="628">
                  <c:v>2.3967318871657231</c:v>
                </c:pt>
                <c:pt idx="629">
                  <c:v>2.4003691809400256</c:v>
                </c:pt>
                <c:pt idx="630">
                  <c:v>2.3980725137356096</c:v>
                </c:pt>
                <c:pt idx="631">
                  <c:v>2.441212598539539</c:v>
                </c:pt>
                <c:pt idx="632">
                  <c:v>2.4009684249882266</c:v>
                </c:pt>
                <c:pt idx="633">
                  <c:v>2.4627110586761289</c:v>
                </c:pt>
                <c:pt idx="634">
                  <c:v>2.4892793026809916</c:v>
                </c:pt>
                <c:pt idx="635">
                  <c:v>2.4076771546236726</c:v>
                </c:pt>
                <c:pt idx="636">
                  <c:v>2.4774833632038851</c:v>
                </c:pt>
                <c:pt idx="637">
                  <c:v>2.5481060976920626</c:v>
                </c:pt>
                <c:pt idx="638">
                  <c:v>2.4880431078856065</c:v>
                </c:pt>
                <c:pt idx="639">
                  <c:v>2.3577508107776004</c:v>
                </c:pt>
                <c:pt idx="640">
                  <c:v>2.3198516738648891</c:v>
                </c:pt>
                <c:pt idx="641">
                  <c:v>2.3708281393440749</c:v>
                </c:pt>
                <c:pt idx="642">
                  <c:v>2.3539536419917737</c:v>
                </c:pt>
                <c:pt idx="643">
                  <c:v>2.4325508618032639</c:v>
                </c:pt>
                <c:pt idx="644">
                  <c:v>2.3932599064782529</c:v>
                </c:pt>
                <c:pt idx="645">
                  <c:v>2.3960691821003084</c:v>
                </c:pt>
                <c:pt idx="646">
                  <c:v>2.3575087359151818</c:v>
                </c:pt>
                <c:pt idx="647">
                  <c:v>2.4062364745992504</c:v>
                </c:pt>
                <c:pt idx="648">
                  <c:v>2.4457589552332482</c:v>
                </c:pt>
                <c:pt idx="649">
                  <c:v>2.364206988430904</c:v>
                </c:pt>
                <c:pt idx="650">
                  <c:v>2.3509603833418651</c:v>
                </c:pt>
                <c:pt idx="651">
                  <c:v>2.3881733397780067</c:v>
                </c:pt>
                <c:pt idx="652">
                  <c:v>2.3891203960333716</c:v>
                </c:pt>
                <c:pt idx="653">
                  <c:v>2.3952241040447406</c:v>
                </c:pt>
                <c:pt idx="654">
                  <c:v>2.3622573744421431</c:v>
                </c:pt>
                <c:pt idx="655">
                  <c:v>2.3620217940247477</c:v>
                </c:pt>
                <c:pt idx="656">
                  <c:v>2.2708712170342262</c:v>
                </c:pt>
                <c:pt idx="657">
                  <c:v>2.2979475066723496</c:v>
                </c:pt>
                <c:pt idx="658">
                  <c:v>2.3171679303906405</c:v>
                </c:pt>
                <c:pt idx="659">
                  <c:v>2.4135428197400421</c:v>
                </c:pt>
                <c:pt idx="660">
                  <c:v>2.4656337648278064</c:v>
                </c:pt>
                <c:pt idx="661">
                  <c:v>2.4054642365284562</c:v>
                </c:pt>
                <c:pt idx="662">
                  <c:v>2.3926063243403579</c:v>
                </c:pt>
                <c:pt idx="663">
                  <c:v>2.3630560335721689</c:v>
                </c:pt>
                <c:pt idx="664">
                  <c:v>2.3755279994849623</c:v>
                </c:pt>
                <c:pt idx="665">
                  <c:v>2.3350305814040091</c:v>
                </c:pt>
                <c:pt idx="666">
                  <c:v>2.2775243834862362</c:v>
                </c:pt>
                <c:pt idx="667">
                  <c:v>2.2063941553163233</c:v>
                </c:pt>
                <c:pt idx="668">
                  <c:v>2.1538656123560833</c:v>
                </c:pt>
                <c:pt idx="669">
                  <c:v>2.1731506694315765</c:v>
                </c:pt>
                <c:pt idx="670">
                  <c:v>2.0891705097544744</c:v>
                </c:pt>
                <c:pt idx="671">
                  <c:v>2.0223210586204714</c:v>
                </c:pt>
                <c:pt idx="672">
                  <c:v>2.0099254048325648</c:v>
                </c:pt>
                <c:pt idx="673">
                  <c:v>1.9362014934002862</c:v>
                </c:pt>
                <c:pt idx="674">
                  <c:v>1.9192206747740337</c:v>
                </c:pt>
                <c:pt idx="675">
                  <c:v>1.957073381645569</c:v>
                </c:pt>
                <c:pt idx="676">
                  <c:v>1.9516901211177509</c:v>
                </c:pt>
                <c:pt idx="677">
                  <c:v>1.932950470307286</c:v>
                </c:pt>
                <c:pt idx="678">
                  <c:v>1.8857219263277065</c:v>
                </c:pt>
                <c:pt idx="679">
                  <c:v>1.8813018539609019</c:v>
                </c:pt>
                <c:pt idx="680">
                  <c:v>1.8889971042450302</c:v>
                </c:pt>
                <c:pt idx="681">
                  <c:v>1.8428241261581644</c:v>
                </c:pt>
                <c:pt idx="682">
                  <c:v>1.9183785623645675</c:v>
                </c:pt>
                <c:pt idx="683">
                  <c:v>1.9338147283126106</c:v>
                </c:pt>
                <c:pt idx="684">
                  <c:v>1.9329374961237999</c:v>
                </c:pt>
                <c:pt idx="685">
                  <c:v>1.9290404148695421</c:v>
                </c:pt>
                <c:pt idx="686">
                  <c:v>1.9273125525744661</c:v>
                </c:pt>
                <c:pt idx="687">
                  <c:v>1.9049296340812156</c:v>
                </c:pt>
                <c:pt idx="688">
                  <c:v>1.9235175656102956</c:v>
                </c:pt>
                <c:pt idx="689">
                  <c:v>1.8974275756820544</c:v>
                </c:pt>
                <c:pt idx="690">
                  <c:v>1.8565093991777424</c:v>
                </c:pt>
                <c:pt idx="691">
                  <c:v>1.9437583793307704</c:v>
                </c:pt>
                <c:pt idx="692">
                  <c:v>1.9700098778864714</c:v>
                </c:pt>
                <c:pt idx="693">
                  <c:v>2.0146679757075616</c:v>
                </c:pt>
                <c:pt idx="694">
                  <c:v>2.0097960908457257</c:v>
                </c:pt>
                <c:pt idx="695">
                  <c:v>2.1397356611353961</c:v>
                </c:pt>
                <c:pt idx="696">
                  <c:v>2.0687688833446272</c:v>
                </c:pt>
                <c:pt idx="697">
                  <c:v>2.146442221695307</c:v>
                </c:pt>
                <c:pt idx="698">
                  <c:v>2.1607682754589601</c:v>
                </c:pt>
                <c:pt idx="699">
                  <c:v>2.2845228696801803</c:v>
                </c:pt>
                <c:pt idx="700">
                  <c:v>2.3321168238368335</c:v>
                </c:pt>
                <c:pt idx="701">
                  <c:v>2.3245121427547728</c:v>
                </c:pt>
                <c:pt idx="702">
                  <c:v>2.3048257863830277</c:v>
                </c:pt>
                <c:pt idx="703">
                  <c:v>2.3275408838456979</c:v>
                </c:pt>
                <c:pt idx="704">
                  <c:v>2.3381063153385013</c:v>
                </c:pt>
                <c:pt idx="705">
                  <c:v>2.334906904703808</c:v>
                </c:pt>
                <c:pt idx="706">
                  <c:v>2.3318584816282084</c:v>
                </c:pt>
                <c:pt idx="707">
                  <c:v>2.3059173182154442</c:v>
                </c:pt>
                <c:pt idx="708">
                  <c:v>2.312145602871114</c:v>
                </c:pt>
                <c:pt idx="709">
                  <c:v>2.3401509054103964</c:v>
                </c:pt>
                <c:pt idx="710">
                  <c:v>2.3863088315346865</c:v>
                </c:pt>
                <c:pt idx="711">
                  <c:v>2.3906282936214738</c:v>
                </c:pt>
                <c:pt idx="712">
                  <c:v>2.3533399236889339</c:v>
                </c:pt>
                <c:pt idx="713">
                  <c:v>2.2533859559255918</c:v>
                </c:pt>
                <c:pt idx="714">
                  <c:v>2.2524182670580459</c:v>
                </c:pt>
                <c:pt idx="715">
                  <c:v>2.3360955572794064</c:v>
                </c:pt>
                <c:pt idx="716">
                  <c:v>2.3349020225944015</c:v>
                </c:pt>
                <c:pt idx="717">
                  <c:v>2.3546264253031368</c:v>
                </c:pt>
                <c:pt idx="718">
                  <c:v>2.293596473224786</c:v>
                </c:pt>
                <c:pt idx="719">
                  <c:v>2.2089676208657418</c:v>
                </c:pt>
                <c:pt idx="720">
                  <c:v>2.1652036331624234</c:v>
                </c:pt>
                <c:pt idx="721">
                  <c:v>2.1548790574545267</c:v>
                </c:pt>
                <c:pt idx="722">
                  <c:v>2.0689661378676139</c:v>
                </c:pt>
                <c:pt idx="723">
                  <c:v>2.0846710818546978</c:v>
                </c:pt>
                <c:pt idx="724">
                  <c:v>2.0097892846159402</c:v>
                </c:pt>
                <c:pt idx="725">
                  <c:v>1.9677730335340398</c:v>
                </c:pt>
                <c:pt idx="726">
                  <c:v>2.0296066429968294</c:v>
                </c:pt>
                <c:pt idx="727">
                  <c:v>1.9936585129286055</c:v>
                </c:pt>
                <c:pt idx="728">
                  <c:v>1.9276422626345835</c:v>
                </c:pt>
                <c:pt idx="729">
                  <c:v>1.7969185069034637</c:v>
                </c:pt>
                <c:pt idx="730">
                  <c:v>1.7072055453868691</c:v>
                </c:pt>
                <c:pt idx="731">
                  <c:v>1.7628841753104454</c:v>
                </c:pt>
                <c:pt idx="732">
                  <c:v>1.7670722437465733</c:v>
                </c:pt>
                <c:pt idx="733">
                  <c:v>1.7741613576126645</c:v>
                </c:pt>
                <c:pt idx="734">
                  <c:v>1.7969194584704908</c:v>
                </c:pt>
                <c:pt idx="735">
                  <c:v>1.7406443864881711</c:v>
                </c:pt>
                <c:pt idx="736">
                  <c:v>1.7448741851248384</c:v>
                </c:pt>
                <c:pt idx="737">
                  <c:v>1.7750783113159432</c:v>
                </c:pt>
                <c:pt idx="738">
                  <c:v>1.7859127032215394</c:v>
                </c:pt>
                <c:pt idx="739">
                  <c:v>1.7079321979793154</c:v>
                </c:pt>
                <c:pt idx="740">
                  <c:v>1.6876189606205061</c:v>
                </c:pt>
                <c:pt idx="741">
                  <c:v>1.7163678205145303</c:v>
                </c:pt>
                <c:pt idx="742">
                  <c:v>1.7375877449135801</c:v>
                </c:pt>
                <c:pt idx="743">
                  <c:v>1.811382899328432</c:v>
                </c:pt>
                <c:pt idx="744">
                  <c:v>1.8057085207995114</c:v>
                </c:pt>
                <c:pt idx="745">
                  <c:v>1.7579456606387245</c:v>
                </c:pt>
                <c:pt idx="746">
                  <c:v>1.7568170091417492</c:v>
                </c:pt>
                <c:pt idx="747">
                  <c:v>1.7618185376773672</c:v>
                </c:pt>
                <c:pt idx="748">
                  <c:v>1.8213870389627589</c:v>
                </c:pt>
                <c:pt idx="749">
                  <c:v>1.8444678761058722</c:v>
                </c:pt>
                <c:pt idx="750">
                  <c:v>1.8538282055961837</c:v>
                </c:pt>
                <c:pt idx="751">
                  <c:v>1.7819172343610796</c:v>
                </c:pt>
                <c:pt idx="752">
                  <c:v>1.8718638380435602</c:v>
                </c:pt>
                <c:pt idx="753">
                  <c:v>1.8640004231913283</c:v>
                </c:pt>
                <c:pt idx="754">
                  <c:v>1.8816686041947339</c:v>
                </c:pt>
                <c:pt idx="755">
                  <c:v>1.8333146626336696</c:v>
                </c:pt>
                <c:pt idx="756">
                  <c:v>1.8687461106898122</c:v>
                </c:pt>
                <c:pt idx="757">
                  <c:v>1.8582886803741578</c:v>
                </c:pt>
                <c:pt idx="758">
                  <c:v>1.9772780720330372</c:v>
                </c:pt>
                <c:pt idx="759">
                  <c:v>2.0089607375429419</c:v>
                </c:pt>
                <c:pt idx="760">
                  <c:v>2.0073645163996487</c:v>
                </c:pt>
                <c:pt idx="761">
                  <c:v>1.9637157962184004</c:v>
                </c:pt>
                <c:pt idx="762">
                  <c:v>1.9780827200268789</c:v>
                </c:pt>
                <c:pt idx="763">
                  <c:v>1.9995538592355226</c:v>
                </c:pt>
                <c:pt idx="764">
                  <c:v>1.9944333093200592</c:v>
                </c:pt>
                <c:pt idx="765">
                  <c:v>2.026563314499108</c:v>
                </c:pt>
                <c:pt idx="766">
                  <c:v>2.0128440997282855</c:v>
                </c:pt>
                <c:pt idx="767">
                  <c:v>2.0191127226947629</c:v>
                </c:pt>
                <c:pt idx="768">
                  <c:v>2.0286277340898651</c:v>
                </c:pt>
                <c:pt idx="769">
                  <c:v>2.0983223269607079</c:v>
                </c:pt>
                <c:pt idx="770">
                  <c:v>2.1513013860574075</c:v>
                </c:pt>
                <c:pt idx="771">
                  <c:v>2.1405043577790583</c:v>
                </c:pt>
                <c:pt idx="772">
                  <c:v>2.1204347582909353</c:v>
                </c:pt>
                <c:pt idx="773">
                  <c:v>2.0592053755658726</c:v>
                </c:pt>
                <c:pt idx="774">
                  <c:v>2.0589747984083426</c:v>
                </c:pt>
                <c:pt idx="775">
                  <c:v>2.0662922345026877</c:v>
                </c:pt>
                <c:pt idx="776">
                  <c:v>2.1141326256435948</c:v>
                </c:pt>
                <c:pt idx="777">
                  <c:v>2.1049391630217733</c:v>
                </c:pt>
                <c:pt idx="778">
                  <c:v>2.0548274743791235</c:v>
                </c:pt>
                <c:pt idx="779">
                  <c:v>2.1085940574282112</c:v>
                </c:pt>
                <c:pt idx="780">
                  <c:v>2.0639993880629413</c:v>
                </c:pt>
                <c:pt idx="781">
                  <c:v>2.0632760377563351</c:v>
                </c:pt>
                <c:pt idx="782">
                  <c:v>2.0666121823931296</c:v>
                </c:pt>
                <c:pt idx="783">
                  <c:v>2.1019646841444146</c:v>
                </c:pt>
                <c:pt idx="784">
                  <c:v>2.0783385703660384</c:v>
                </c:pt>
                <c:pt idx="785">
                  <c:v>2.1379217955471952</c:v>
                </c:pt>
                <c:pt idx="786">
                  <c:v>2.1076080255224627</c:v>
                </c:pt>
                <c:pt idx="787">
                  <c:v>2.081269771209167</c:v>
                </c:pt>
                <c:pt idx="788">
                  <c:v>1.9710164537920583</c:v>
                </c:pt>
                <c:pt idx="789">
                  <c:v>2.0386020128066096</c:v>
                </c:pt>
                <c:pt idx="790">
                  <c:v>2.0486637775601961</c:v>
                </c:pt>
                <c:pt idx="791">
                  <c:v>2.0579248337705618</c:v>
                </c:pt>
                <c:pt idx="792">
                  <c:v>2.0883893772325073</c:v>
                </c:pt>
                <c:pt idx="793">
                  <c:v>2.0517277540793497</c:v>
                </c:pt>
                <c:pt idx="794">
                  <c:v>2.0630057635569665</c:v>
                </c:pt>
                <c:pt idx="795">
                  <c:v>2.0578287263911514</c:v>
                </c:pt>
                <c:pt idx="796">
                  <c:v>2.0505569704466162</c:v>
                </c:pt>
                <c:pt idx="797">
                  <c:v>2.0271707149690172</c:v>
                </c:pt>
                <c:pt idx="798">
                  <c:v>1.9851839355355032</c:v>
                </c:pt>
                <c:pt idx="799">
                  <c:v>1.9076384981170902</c:v>
                </c:pt>
                <c:pt idx="800">
                  <c:v>1.8400189160645193</c:v>
                </c:pt>
                <c:pt idx="801">
                  <c:v>1.883665492405783</c:v>
                </c:pt>
                <c:pt idx="802">
                  <c:v>1.9175390524990183</c:v>
                </c:pt>
                <c:pt idx="803">
                  <c:v>1.9549330130210198</c:v>
                </c:pt>
                <c:pt idx="804">
                  <c:v>2.0437970760518933</c:v>
                </c:pt>
                <c:pt idx="805">
                  <c:v>2.0564112444332694</c:v>
                </c:pt>
                <c:pt idx="806">
                  <c:v>2.0771579073283792</c:v>
                </c:pt>
                <c:pt idx="807">
                  <c:v>2.0666886683452397</c:v>
                </c:pt>
                <c:pt idx="808">
                  <c:v>2.1490365577908985</c:v>
                </c:pt>
                <c:pt idx="809">
                  <c:v>2.0693210200893239</c:v>
                </c:pt>
                <c:pt idx="810">
                  <c:v>2.0888944908222142</c:v>
                </c:pt>
                <c:pt idx="811">
                  <c:v>2.089327374114224</c:v>
                </c:pt>
                <c:pt idx="812">
                  <c:v>1.9776600708771603</c:v>
                </c:pt>
                <c:pt idx="813">
                  <c:v>1.8970622696839483</c:v>
                </c:pt>
                <c:pt idx="814">
                  <c:v>1.9452098987767934</c:v>
                </c:pt>
                <c:pt idx="815">
                  <c:v>1.9031096030705927</c:v>
                </c:pt>
                <c:pt idx="816">
                  <c:v>1.8650980327066835</c:v>
                </c:pt>
                <c:pt idx="817">
                  <c:v>1.8863506061414967</c:v>
                </c:pt>
                <c:pt idx="818">
                  <c:v>1.8899423820996499</c:v>
                </c:pt>
                <c:pt idx="819">
                  <c:v>1.8272688282682701</c:v>
                </c:pt>
                <c:pt idx="820">
                  <c:v>1.9236950488131803</c:v>
                </c:pt>
                <c:pt idx="821">
                  <c:v>1.9288364350951146</c:v>
                </c:pt>
                <c:pt idx="822">
                  <c:v>1.9257797691320384</c:v>
                </c:pt>
                <c:pt idx="823">
                  <c:v>1.9743636703318668</c:v>
                </c:pt>
                <c:pt idx="824">
                  <c:v>2.0329670134886424</c:v>
                </c:pt>
                <c:pt idx="825">
                  <c:v>2.0279795498060271</c:v>
                </c:pt>
                <c:pt idx="826">
                  <c:v>2.0324601525915145</c:v>
                </c:pt>
                <c:pt idx="827">
                  <c:v>2.0583142950596911</c:v>
                </c:pt>
                <c:pt idx="828">
                  <c:v>2.1254065709997731</c:v>
                </c:pt>
                <c:pt idx="829">
                  <c:v>2.1656892520290469</c:v>
                </c:pt>
                <c:pt idx="830">
                  <c:v>2.2114752066282981</c:v>
                </c:pt>
                <c:pt idx="831">
                  <c:v>2.1493526742720235</c:v>
                </c:pt>
                <c:pt idx="832">
                  <c:v>2.2160516177403857</c:v>
                </c:pt>
                <c:pt idx="833">
                  <c:v>2.2834914163078976</c:v>
                </c:pt>
                <c:pt idx="834">
                  <c:v>2.2153985827820586</c:v>
                </c:pt>
                <c:pt idx="835">
                  <c:v>2.2015310268024759</c:v>
                </c:pt>
                <c:pt idx="836">
                  <c:v>2.120279926530257</c:v>
                </c:pt>
                <c:pt idx="837">
                  <c:v>2.1020873340264923</c:v>
                </c:pt>
                <c:pt idx="838">
                  <c:v>2.0683101111930609</c:v>
                </c:pt>
                <c:pt idx="839">
                  <c:v>2.061833183081291</c:v>
                </c:pt>
                <c:pt idx="840">
                  <c:v>2.1151837910308067</c:v>
                </c:pt>
                <c:pt idx="841">
                  <c:v>2.0968933490972681</c:v>
                </c:pt>
                <c:pt idx="842">
                  <c:v>2.0895401452063078</c:v>
                </c:pt>
                <c:pt idx="843">
                  <c:v>2.1256805301710866</c:v>
                </c:pt>
                <c:pt idx="844">
                  <c:v>2.033021215729895</c:v>
                </c:pt>
                <c:pt idx="845">
                  <c:v>2.0734403620382293</c:v>
                </c:pt>
                <c:pt idx="846">
                  <c:v>2.0869268333761686</c:v>
                </c:pt>
                <c:pt idx="847">
                  <c:v>2.082577558362801</c:v>
                </c:pt>
                <c:pt idx="848">
                  <c:v>2.1353031895304153</c:v>
                </c:pt>
                <c:pt idx="849">
                  <c:v>2.1651537051934979</c:v>
                </c:pt>
                <c:pt idx="850">
                  <c:v>2.121551935760694</c:v>
                </c:pt>
                <c:pt idx="851">
                  <c:v>2.110483181868084</c:v>
                </c:pt>
                <c:pt idx="852">
                  <c:v>2.0946673778806595</c:v>
                </c:pt>
                <c:pt idx="853">
                  <c:v>2.0490087314624095</c:v>
                </c:pt>
                <c:pt idx="854">
                  <c:v>1.9943388101890205</c:v>
                </c:pt>
                <c:pt idx="855">
                  <c:v>1.970102843803087</c:v>
                </c:pt>
                <c:pt idx="856">
                  <c:v>1.9596286358937007</c:v>
                </c:pt>
                <c:pt idx="857">
                  <c:v>1.9676015540164884</c:v>
                </c:pt>
                <c:pt idx="858">
                  <c:v>1.9000351473903085</c:v>
                </c:pt>
                <c:pt idx="859">
                  <c:v>1.9304754445981056</c:v>
                </c:pt>
                <c:pt idx="860">
                  <c:v>1.8804206341096981</c:v>
                </c:pt>
                <c:pt idx="861">
                  <c:v>1.9325791973285311</c:v>
                </c:pt>
                <c:pt idx="862">
                  <c:v>1.8615036347732845</c:v>
                </c:pt>
                <c:pt idx="863">
                  <c:v>1.804673855547833</c:v>
                </c:pt>
                <c:pt idx="864">
                  <c:v>1.7289563372592582</c:v>
                </c:pt>
                <c:pt idx="865">
                  <c:v>1.7495086365232659</c:v>
                </c:pt>
                <c:pt idx="866">
                  <c:v>1.737506284786956</c:v>
                </c:pt>
                <c:pt idx="867">
                  <c:v>1.8446347351102095</c:v>
                </c:pt>
                <c:pt idx="868">
                  <c:v>1.8427560815939652</c:v>
                </c:pt>
                <c:pt idx="869">
                  <c:v>1.8269153879451412</c:v>
                </c:pt>
                <c:pt idx="870">
                  <c:v>1.8017016960681635</c:v>
                </c:pt>
                <c:pt idx="871">
                  <c:v>1.8599368433554446</c:v>
                </c:pt>
                <c:pt idx="872">
                  <c:v>1.8601616561228891</c:v>
                </c:pt>
                <c:pt idx="873">
                  <c:v>1.9260271797808775</c:v>
                </c:pt>
                <c:pt idx="874">
                  <c:v>1.9473721737780616</c:v>
                </c:pt>
                <c:pt idx="875">
                  <c:v>1.9611018319236544</c:v>
                </c:pt>
                <c:pt idx="876">
                  <c:v>1.9806066489398246</c:v>
                </c:pt>
                <c:pt idx="877">
                  <c:v>2.0539804662352279</c:v>
                </c:pt>
                <c:pt idx="878">
                  <c:v>1.9739965291131343</c:v>
                </c:pt>
                <c:pt idx="879">
                  <c:v>2.0118604343103761</c:v>
                </c:pt>
                <c:pt idx="880">
                  <c:v>1.9983144792676466</c:v>
                </c:pt>
                <c:pt idx="881">
                  <c:v>1.9949265944922308</c:v>
                </c:pt>
                <c:pt idx="882">
                  <c:v>1.957848682573516</c:v>
                </c:pt>
                <c:pt idx="883">
                  <c:v>1.9953836720941851</c:v>
                </c:pt>
                <c:pt idx="884">
                  <c:v>1.9685668971066632</c:v>
                </c:pt>
                <c:pt idx="885">
                  <c:v>2.0283226824056486</c:v>
                </c:pt>
                <c:pt idx="886">
                  <c:v>2.032187556278418</c:v>
                </c:pt>
                <c:pt idx="887">
                  <c:v>2.0243852995836353</c:v>
                </c:pt>
                <c:pt idx="888">
                  <c:v>2.0324866997985467</c:v>
                </c:pt>
                <c:pt idx="889">
                  <c:v>2.0020664730321629</c:v>
                </c:pt>
                <c:pt idx="890">
                  <c:v>2.0775105671788565</c:v>
                </c:pt>
                <c:pt idx="891">
                  <c:v>1.9933527799677486</c:v>
                </c:pt>
                <c:pt idx="892">
                  <c:v>1.9573261549448031</c:v>
                </c:pt>
                <c:pt idx="893">
                  <c:v>1.9429676778009457</c:v>
                </c:pt>
                <c:pt idx="894">
                  <c:v>2.022805758518627</c:v>
                </c:pt>
                <c:pt idx="895">
                  <c:v>1.9847470999176977</c:v>
                </c:pt>
                <c:pt idx="896">
                  <c:v>2.0184372926123397</c:v>
                </c:pt>
                <c:pt idx="897">
                  <c:v>1.9931464218358819</c:v>
                </c:pt>
                <c:pt idx="898">
                  <c:v>1.9892796183113672</c:v>
                </c:pt>
                <c:pt idx="899">
                  <c:v>1.989279618311367</c:v>
                </c:pt>
                <c:pt idx="900">
                  <c:v>2.011087722900498</c:v>
                </c:pt>
                <c:pt idx="901">
                  <c:v>1.9799086790823133</c:v>
                </c:pt>
                <c:pt idx="902">
                  <c:v>1.9805920684428702</c:v>
                </c:pt>
                <c:pt idx="903">
                  <c:v>1.8802205748497567</c:v>
                </c:pt>
                <c:pt idx="904">
                  <c:v>1.9411601153257396</c:v>
                </c:pt>
                <c:pt idx="905">
                  <c:v>1.917336425452524</c:v>
                </c:pt>
                <c:pt idx="906">
                  <c:v>1.9644691333707855</c:v>
                </c:pt>
                <c:pt idx="907">
                  <c:v>1.9101083023241832</c:v>
                </c:pt>
                <c:pt idx="908">
                  <c:v>1.9293012923786714</c:v>
                </c:pt>
                <c:pt idx="909">
                  <c:v>1.9028148817499768</c:v>
                </c:pt>
                <c:pt idx="910">
                  <c:v>1.8996451399254166</c:v>
                </c:pt>
                <c:pt idx="911">
                  <c:v>1.8869572280545386</c:v>
                </c:pt>
                <c:pt idx="912">
                  <c:v>1.8823757496843994</c:v>
                </c:pt>
                <c:pt idx="913">
                  <c:v>1.7988371110326018</c:v>
                </c:pt>
                <c:pt idx="914">
                  <c:v>1.911954264099426</c:v>
                </c:pt>
                <c:pt idx="915">
                  <c:v>1.8704621538904502</c:v>
                </c:pt>
                <c:pt idx="916">
                  <c:v>1.8642511410481688</c:v>
                </c:pt>
                <c:pt idx="917">
                  <c:v>1.8610933027555865</c:v>
                </c:pt>
                <c:pt idx="918">
                  <c:v>1.9061364410375845</c:v>
                </c:pt>
                <c:pt idx="919">
                  <c:v>1.8840519506202789</c:v>
                </c:pt>
                <c:pt idx="920">
                  <c:v>1.8214295966697653</c:v>
                </c:pt>
                <c:pt idx="921">
                  <c:v>1.8556790642750369</c:v>
                </c:pt>
                <c:pt idx="922">
                  <c:v>1.9364569911905816</c:v>
                </c:pt>
                <c:pt idx="923">
                  <c:v>2.0451017924085861</c:v>
                </c:pt>
                <c:pt idx="924">
                  <c:v>1.9964658619831255</c:v>
                </c:pt>
                <c:pt idx="925">
                  <c:v>2.0744597610186353</c:v>
                </c:pt>
                <c:pt idx="926">
                  <c:v>2.0377667206874976</c:v>
                </c:pt>
                <c:pt idx="927">
                  <c:v>2.085640903087469</c:v>
                </c:pt>
                <c:pt idx="928">
                  <c:v>2.1332290750623479</c:v>
                </c:pt>
                <c:pt idx="929">
                  <c:v>2.1953523971814612</c:v>
                </c:pt>
                <c:pt idx="930">
                  <c:v>2.2279948075666449</c:v>
                </c:pt>
                <c:pt idx="931">
                  <c:v>2.2033922050060464</c:v>
                </c:pt>
                <c:pt idx="932">
                  <c:v>2.2033922050060464</c:v>
                </c:pt>
                <c:pt idx="933">
                  <c:v>2.2018727402300811</c:v>
                </c:pt>
                <c:pt idx="934">
                  <c:v>2.1587393983233958</c:v>
                </c:pt>
                <c:pt idx="935">
                  <c:v>2.25382231298827</c:v>
                </c:pt>
                <c:pt idx="936">
                  <c:v>2.2757088905850735</c:v>
                </c:pt>
                <c:pt idx="937">
                  <c:v>2.2725596594410074</c:v>
                </c:pt>
                <c:pt idx="938">
                  <c:v>2.2430383524656259</c:v>
                </c:pt>
                <c:pt idx="939">
                  <c:v>2.2368857016515742</c:v>
                </c:pt>
                <c:pt idx="940">
                  <c:v>2.2559139844830405</c:v>
                </c:pt>
                <c:pt idx="941">
                  <c:v>2.2699731693166965</c:v>
                </c:pt>
                <c:pt idx="942">
                  <c:v>2.3266162867311251</c:v>
                </c:pt>
                <c:pt idx="943">
                  <c:v>2.3480625096362542</c:v>
                </c:pt>
                <c:pt idx="944">
                  <c:v>2.2909572733816206</c:v>
                </c:pt>
                <c:pt idx="945">
                  <c:v>2.2661182065456797</c:v>
                </c:pt>
                <c:pt idx="946">
                  <c:v>2.2757438705485549</c:v>
                </c:pt>
                <c:pt idx="947">
                  <c:v>2.2794126125120973</c:v>
                </c:pt>
                <c:pt idx="948">
                  <c:v>2.2638245694820762</c:v>
                </c:pt>
                <c:pt idx="949">
                  <c:v>2.2521202447995958</c:v>
                </c:pt>
                <c:pt idx="950">
                  <c:v>2.295218782185747</c:v>
                </c:pt>
                <c:pt idx="951">
                  <c:v>2.3213266516730156</c:v>
                </c:pt>
                <c:pt idx="952">
                  <c:v>2.2435452308370833</c:v>
                </c:pt>
                <c:pt idx="953">
                  <c:v>2.1571877769814494</c:v>
                </c:pt>
                <c:pt idx="954">
                  <c:v>2.1553064451530535</c:v>
                </c:pt>
                <c:pt idx="955">
                  <c:v>2.0684027004351639</c:v>
                </c:pt>
                <c:pt idx="956">
                  <c:v>2.0703331789435082</c:v>
                </c:pt>
                <c:pt idx="957">
                  <c:v>1.9800721843961644</c:v>
                </c:pt>
                <c:pt idx="958">
                  <c:v>1.9624618183125908</c:v>
                </c:pt>
                <c:pt idx="959">
                  <c:v>2.0040877765437219</c:v>
                </c:pt>
                <c:pt idx="960">
                  <c:v>1.9500264641258853</c:v>
                </c:pt>
                <c:pt idx="961">
                  <c:v>1.9158931410638971</c:v>
                </c:pt>
                <c:pt idx="962">
                  <c:v>1.9296813678527889</c:v>
                </c:pt>
                <c:pt idx="963">
                  <c:v>1.965910289862586</c:v>
                </c:pt>
                <c:pt idx="964">
                  <c:v>1.9851413473350012</c:v>
                </c:pt>
                <c:pt idx="965">
                  <c:v>1.881644371803497</c:v>
                </c:pt>
                <c:pt idx="966">
                  <c:v>1.7817679603951793</c:v>
                </c:pt>
                <c:pt idx="967">
                  <c:v>1.7855871468805886</c:v>
                </c:pt>
                <c:pt idx="968">
                  <c:v>1.7787020926018717</c:v>
                </c:pt>
                <c:pt idx="969">
                  <c:v>1.7573178566232133</c:v>
                </c:pt>
                <c:pt idx="970">
                  <c:v>1.8241699718651208</c:v>
                </c:pt>
                <c:pt idx="971">
                  <c:v>1.8140107851709801</c:v>
                </c:pt>
                <c:pt idx="972">
                  <c:v>1.8013685518619236</c:v>
                </c:pt>
                <c:pt idx="973">
                  <c:v>1.8181550677237992</c:v>
                </c:pt>
                <c:pt idx="974">
                  <c:v>1.8277409112359144</c:v>
                </c:pt>
                <c:pt idx="975">
                  <c:v>1.830406551772199</c:v>
                </c:pt>
                <c:pt idx="976">
                  <c:v>1.9402971708085808</c:v>
                </c:pt>
                <c:pt idx="977">
                  <c:v>1.8954676383832227</c:v>
                </c:pt>
                <c:pt idx="978">
                  <c:v>1.8510452144815124</c:v>
                </c:pt>
                <c:pt idx="979">
                  <c:v>1.9232885021459833</c:v>
                </c:pt>
                <c:pt idx="980">
                  <c:v>1.8823939169457053</c:v>
                </c:pt>
                <c:pt idx="981">
                  <c:v>1.9270843345551554</c:v>
                </c:pt>
                <c:pt idx="982">
                  <c:v>1.9765480722086382</c:v>
                </c:pt>
                <c:pt idx="983">
                  <c:v>1.9609684263608123</c:v>
                </c:pt>
                <c:pt idx="984">
                  <c:v>1.9292787415067678</c:v>
                </c:pt>
                <c:pt idx="985">
                  <c:v>1.9268551035071766</c:v>
                </c:pt>
                <c:pt idx="986">
                  <c:v>1.9724987708890773</c:v>
                </c:pt>
                <c:pt idx="987">
                  <c:v>2.0654679565991376</c:v>
                </c:pt>
                <c:pt idx="988">
                  <c:v>2.0452749485765982</c:v>
                </c:pt>
                <c:pt idx="989">
                  <c:v>2.0236376498506425</c:v>
                </c:pt>
                <c:pt idx="990">
                  <c:v>2.0386433909963451</c:v>
                </c:pt>
                <c:pt idx="991">
                  <c:v>2.0425329186705765</c:v>
                </c:pt>
                <c:pt idx="992">
                  <c:v>2.0265363146972555</c:v>
                </c:pt>
                <c:pt idx="993">
                  <c:v>1.9987510111656461</c:v>
                </c:pt>
                <c:pt idx="994">
                  <c:v>2.0220147735999827</c:v>
                </c:pt>
                <c:pt idx="995">
                  <c:v>2.0254822913066133</c:v>
                </c:pt>
                <c:pt idx="996">
                  <c:v>2.0546063926010603</c:v>
                </c:pt>
                <c:pt idx="997">
                  <c:v>2.055063786439288</c:v>
                </c:pt>
                <c:pt idx="998">
                  <c:v>2.101900690060496</c:v>
                </c:pt>
                <c:pt idx="999">
                  <c:v>2.0673691951365898</c:v>
                </c:pt>
                <c:pt idx="1000">
                  <c:v>2.0927345627272573</c:v>
                </c:pt>
                <c:pt idx="1001">
                  <c:v>2.1685946365848645</c:v>
                </c:pt>
                <c:pt idx="1002">
                  <c:v>2.1437022403183281</c:v>
                </c:pt>
                <c:pt idx="1003">
                  <c:v>2.1266522865182731</c:v>
                </c:pt>
                <c:pt idx="1004">
                  <c:v>2.1162643295778718</c:v>
                </c:pt>
                <c:pt idx="1005">
                  <c:v>2.1414731135456169</c:v>
                </c:pt>
                <c:pt idx="1006">
                  <c:v>2.0384458118904414</c:v>
                </c:pt>
                <c:pt idx="1007">
                  <c:v>2.0364517073058348</c:v>
                </c:pt>
                <c:pt idx="1008">
                  <c:v>2.0349073013033996</c:v>
                </c:pt>
                <c:pt idx="1009">
                  <c:v>2.0023815022219846</c:v>
                </c:pt>
                <c:pt idx="1010">
                  <c:v>2.0788292186926203</c:v>
                </c:pt>
                <c:pt idx="1011">
                  <c:v>2.0684688330706442</c:v>
                </c:pt>
                <c:pt idx="1012">
                  <c:v>2.0136572739631982</c:v>
                </c:pt>
                <c:pt idx="1013">
                  <c:v>2.0418068950317569</c:v>
                </c:pt>
                <c:pt idx="1014">
                  <c:v>2.1664261143327557</c:v>
                </c:pt>
                <c:pt idx="1015">
                  <c:v>2.1815304582141168</c:v>
                </c:pt>
                <c:pt idx="1016">
                  <c:v>2.1919695053831583</c:v>
                </c:pt>
                <c:pt idx="1017">
                  <c:v>2.1266841794060696</c:v>
                </c:pt>
                <c:pt idx="1018">
                  <c:v>2.0886954799174267</c:v>
                </c:pt>
                <c:pt idx="1019">
                  <c:v>2.0410128483980503</c:v>
                </c:pt>
                <c:pt idx="1020">
                  <c:v>2.1302063384475498</c:v>
                </c:pt>
                <c:pt idx="1021">
                  <c:v>2.127239771467254</c:v>
                </c:pt>
                <c:pt idx="1022">
                  <c:v>2.2034110882158284</c:v>
                </c:pt>
                <c:pt idx="1023">
                  <c:v>2.2742524454044117</c:v>
                </c:pt>
                <c:pt idx="1024">
                  <c:v>2.1744480185619395</c:v>
                </c:pt>
                <c:pt idx="1025">
                  <c:v>2.1584640018204917</c:v>
                </c:pt>
                <c:pt idx="1026">
                  <c:v>2.0959069794019221</c:v>
                </c:pt>
                <c:pt idx="1027">
                  <c:v>2.1440180799425961</c:v>
                </c:pt>
                <c:pt idx="1028">
                  <c:v>2.1532582163174245</c:v>
                </c:pt>
                <c:pt idx="1029">
                  <c:v>2.186805862944321</c:v>
                </c:pt>
                <c:pt idx="1030">
                  <c:v>1.9908452965449974</c:v>
                </c:pt>
                <c:pt idx="1031">
                  <c:v>1.9969080307541922</c:v>
                </c:pt>
                <c:pt idx="1032">
                  <c:v>1.8040231366404251</c:v>
                </c:pt>
                <c:pt idx="1033">
                  <c:v>1.7879625575897893</c:v>
                </c:pt>
                <c:pt idx="1034">
                  <c:v>1.7256632219581207</c:v>
                </c:pt>
                <c:pt idx="1035">
                  <c:v>1.5765259359706894</c:v>
                </c:pt>
                <c:pt idx="1036">
                  <c:v>1.5434191526366887</c:v>
                </c:pt>
                <c:pt idx="1037">
                  <c:v>1.5300373048001101</c:v>
                </c:pt>
                <c:pt idx="1038">
                  <c:v>1.4903025246221087</c:v>
                </c:pt>
                <c:pt idx="1039">
                  <c:v>1.4994885293725211</c:v>
                </c:pt>
                <c:pt idx="1040">
                  <c:v>1.5054917990938326</c:v>
                </c:pt>
                <c:pt idx="1041">
                  <c:v>1.580830472687087</c:v>
                </c:pt>
                <c:pt idx="1042">
                  <c:v>1.5987504620178878</c:v>
                </c:pt>
                <c:pt idx="1043">
                  <c:v>1.5966442676001364</c:v>
                </c:pt>
                <c:pt idx="1044">
                  <c:v>1.589402660418969</c:v>
                </c:pt>
                <c:pt idx="1045">
                  <c:v>1.5784317394049263</c:v>
                </c:pt>
                <c:pt idx="1046">
                  <c:v>1.6440050307358636</c:v>
                </c:pt>
                <c:pt idx="1047">
                  <c:v>1.6410308455829359</c:v>
                </c:pt>
                <c:pt idx="1048">
                  <c:v>1.6176879243462445</c:v>
                </c:pt>
                <c:pt idx="1049">
                  <c:v>1.6205815041253711</c:v>
                </c:pt>
                <c:pt idx="1050">
                  <c:v>1.5949670295060521</c:v>
                </c:pt>
                <c:pt idx="1051">
                  <c:v>1.608809697427956</c:v>
                </c:pt>
                <c:pt idx="1052">
                  <c:v>1.5993116216522323</c:v>
                </c:pt>
                <c:pt idx="1053">
                  <c:v>1.6524440362281452</c:v>
                </c:pt>
                <c:pt idx="1054">
                  <c:v>1.6799132367323637</c:v>
                </c:pt>
                <c:pt idx="1055">
                  <c:v>1.7263589949660909</c:v>
                </c:pt>
                <c:pt idx="1056">
                  <c:v>1.915131112413311</c:v>
                </c:pt>
                <c:pt idx="1057">
                  <c:v>2.1121229961508372</c:v>
                </c:pt>
                <c:pt idx="1058">
                  <c:v>2.1261762484202582</c:v>
                </c:pt>
                <c:pt idx="1059">
                  <c:v>2.1589892403054995</c:v>
                </c:pt>
                <c:pt idx="1060">
                  <c:v>2.2953784503769792</c:v>
                </c:pt>
                <c:pt idx="1061">
                  <c:v>2.2884463716369385</c:v>
                </c:pt>
                <c:pt idx="1062">
                  <c:v>2.3880408794552226</c:v>
                </c:pt>
                <c:pt idx="1063">
                  <c:v>2.5051713210042958</c:v>
                </c:pt>
                <c:pt idx="1064">
                  <c:v>2.6108078556937397</c:v>
                </c:pt>
                <c:pt idx="1065">
                  <c:v>2.696906530672821</c:v>
                </c:pt>
                <c:pt idx="1066">
                  <c:v>2.63363603360084</c:v>
                </c:pt>
                <c:pt idx="1067">
                  <c:v>2.5514197903732865</c:v>
                </c:pt>
                <c:pt idx="1068">
                  <c:v>2.5686834568012507</c:v>
                </c:pt>
                <c:pt idx="1069">
                  <c:v>2.5640995750104976</c:v>
                </c:pt>
                <c:pt idx="1070">
                  <c:v>2.5334034028097294</c:v>
                </c:pt>
                <c:pt idx="1071">
                  <c:v>2.3774322888404806</c:v>
                </c:pt>
                <c:pt idx="1072">
                  <c:v>2.4196030581208317</c:v>
                </c:pt>
                <c:pt idx="1073">
                  <c:v>2.348932319927965</c:v>
                </c:pt>
                <c:pt idx="1074">
                  <c:v>2.3392885504764158</c:v>
                </c:pt>
                <c:pt idx="1075">
                  <c:v>2.3311142537232818</c:v>
                </c:pt>
                <c:pt idx="1076">
                  <c:v>2.0871215525300948</c:v>
                </c:pt>
                <c:pt idx="1077">
                  <c:v>2.0481673871227031</c:v>
                </c:pt>
                <c:pt idx="1078">
                  <c:v>1.9254687837115398</c:v>
                </c:pt>
                <c:pt idx="1079">
                  <c:v>1.835267268441704</c:v>
                </c:pt>
                <c:pt idx="1080">
                  <c:v>1.6999065123294885</c:v>
                </c:pt>
                <c:pt idx="1081">
                  <c:v>1.7008852795830378</c:v>
                </c:pt>
                <c:pt idx="1082">
                  <c:v>1.7099383167857045</c:v>
                </c:pt>
                <c:pt idx="1083">
                  <c:v>1.9158705315357072</c:v>
                </c:pt>
                <c:pt idx="1084">
                  <c:v>1.8896290177284523</c:v>
                </c:pt>
                <c:pt idx="1085">
                  <c:v>1.9921689567115313</c:v>
                </c:pt>
                <c:pt idx="1086">
                  <c:v>1.981351646217175</c:v>
                </c:pt>
                <c:pt idx="1087">
                  <c:v>1.9473277829997855</c:v>
                </c:pt>
                <c:pt idx="1088">
                  <c:v>1.9795558108629971</c:v>
                </c:pt>
                <c:pt idx="1089">
                  <c:v>2.1332085018574003</c:v>
                </c:pt>
                <c:pt idx="1090">
                  <c:v>2.2209969802336289</c:v>
                </c:pt>
                <c:pt idx="1091">
                  <c:v>2.3020920928971824</c:v>
                </c:pt>
                <c:pt idx="1092">
                  <c:v>2.268610189412795</c:v>
                </c:pt>
                <c:pt idx="1093">
                  <c:v>2.2183292172277906</c:v>
                </c:pt>
                <c:pt idx="1094">
                  <c:v>2.1630063271372726</c:v>
                </c:pt>
                <c:pt idx="1095">
                  <c:v>2.0986984979267427</c:v>
                </c:pt>
                <c:pt idx="1096">
                  <c:v>2.1194399822407131</c:v>
                </c:pt>
                <c:pt idx="1097">
                  <c:v>2.1385540694876011</c:v>
                </c:pt>
                <c:pt idx="1098">
                  <c:v>2.1450422004257401</c:v>
                </c:pt>
                <c:pt idx="1099">
                  <c:v>2.15717896977233</c:v>
                </c:pt>
                <c:pt idx="1100">
                  <c:v>2.1434111729333112</c:v>
                </c:pt>
                <c:pt idx="1101">
                  <c:v>2.2218056289161709</c:v>
                </c:pt>
                <c:pt idx="1102">
                  <c:v>2.2326969116278539</c:v>
                </c:pt>
                <c:pt idx="1103">
                  <c:v>2.2301975975715536</c:v>
                </c:pt>
                <c:pt idx="1104">
                  <c:v>2.2301975975715536</c:v>
                </c:pt>
                <c:pt idx="1105">
                  <c:v>2.1701237445340933</c:v>
                </c:pt>
                <c:pt idx="1106">
                  <c:v>2.200742035710229</c:v>
                </c:pt>
                <c:pt idx="1107">
                  <c:v>2.2161238890614952</c:v>
                </c:pt>
                <c:pt idx="1108">
                  <c:v>2.1965684784795036</c:v>
                </c:pt>
                <c:pt idx="1109">
                  <c:v>2.1027596572405884</c:v>
                </c:pt>
                <c:pt idx="1110">
                  <c:v>2.0504546803853638</c:v>
                </c:pt>
                <c:pt idx="1111">
                  <c:v>2.0458043588022203</c:v>
                </c:pt>
                <c:pt idx="1112">
                  <c:v>2.0986604764881083</c:v>
                </c:pt>
                <c:pt idx="1113">
                  <c:v>1.9985617513127305</c:v>
                </c:pt>
                <c:pt idx="1114">
                  <c:v>1.9963756463847453</c:v>
                </c:pt>
                <c:pt idx="1115">
                  <c:v>2.0399916368009747</c:v>
                </c:pt>
                <c:pt idx="1116">
                  <c:v>2.0804706046311052</c:v>
                </c:pt>
                <c:pt idx="1117">
                  <c:v>2.1426512333952035</c:v>
                </c:pt>
                <c:pt idx="1118">
                  <c:v>2.1344353333089092</c:v>
                </c:pt>
                <c:pt idx="1119">
                  <c:v>2.1178742808661886</c:v>
                </c:pt>
                <c:pt idx="1120">
                  <c:v>2.0260378787385491</c:v>
                </c:pt>
                <c:pt idx="1121">
                  <c:v>2.017752408966234</c:v>
                </c:pt>
                <c:pt idx="1122">
                  <c:v>2.0599733185517808</c:v>
                </c:pt>
                <c:pt idx="1123">
                  <c:v>2.0942864005886799</c:v>
                </c:pt>
                <c:pt idx="1124">
                  <c:v>2.1277808429592722</c:v>
                </c:pt>
                <c:pt idx="1125">
                  <c:v>2.1553127918564372</c:v>
                </c:pt>
                <c:pt idx="1126">
                  <c:v>2.1454316099583415</c:v>
                </c:pt>
                <c:pt idx="1127">
                  <c:v>2.1521596161958114</c:v>
                </c:pt>
                <c:pt idx="1128">
                  <c:v>2.1767146860248832</c:v>
                </c:pt>
                <c:pt idx="1129">
                  <c:v>2.2698694676168025</c:v>
                </c:pt>
                <c:pt idx="1130">
                  <c:v>2.2515522652840572</c:v>
                </c:pt>
                <c:pt idx="1131">
                  <c:v>2.2125752672382983</c:v>
                </c:pt>
                <c:pt idx="1132">
                  <c:v>2.1955883813815964</c:v>
                </c:pt>
                <c:pt idx="1133">
                  <c:v>2.2171110182437004</c:v>
                </c:pt>
                <c:pt idx="1134">
                  <c:v>2.251761266681672</c:v>
                </c:pt>
                <c:pt idx="1135">
                  <c:v>2.2543519652705237</c:v>
                </c:pt>
                <c:pt idx="1136">
                  <c:v>2.3169920523404679</c:v>
                </c:pt>
                <c:pt idx="1137">
                  <c:v>2.3338146852494419</c:v>
                </c:pt>
                <c:pt idx="1138">
                  <c:v>2.4200096799299531</c:v>
                </c:pt>
                <c:pt idx="1139">
                  <c:v>2.4594956855549088</c:v>
                </c:pt>
                <c:pt idx="1140">
                  <c:v>2.4582006918086052</c:v>
                </c:pt>
                <c:pt idx="1141">
                  <c:v>2.4454404446575762</c:v>
                </c:pt>
                <c:pt idx="1142">
                  <c:v>2.4291883454888441</c:v>
                </c:pt>
                <c:pt idx="1143">
                  <c:v>2.4736629245842687</c:v>
                </c:pt>
                <c:pt idx="1144">
                  <c:v>2.472871715001864</c:v>
                </c:pt>
                <c:pt idx="1145">
                  <c:v>2.4300887706947685</c:v>
                </c:pt>
                <c:pt idx="1146">
                  <c:v>2.3827603487243159</c:v>
                </c:pt>
                <c:pt idx="1147">
                  <c:v>2.4180254661468967</c:v>
                </c:pt>
                <c:pt idx="1148">
                  <c:v>2.4050784589789145</c:v>
                </c:pt>
                <c:pt idx="1149">
                  <c:v>2.3344739846545655</c:v>
                </c:pt>
                <c:pt idx="1150">
                  <c:v>2.3346226675642887</c:v>
                </c:pt>
                <c:pt idx="1151">
                  <c:v>2.294637956493824</c:v>
                </c:pt>
                <c:pt idx="1152">
                  <c:v>2.266423776792891</c:v>
                </c:pt>
                <c:pt idx="1153">
                  <c:v>2.2870033548330375</c:v>
                </c:pt>
                <c:pt idx="1154">
                  <c:v>2.3192413830305512</c:v>
                </c:pt>
                <c:pt idx="1155">
                  <c:v>2.2903899662278397</c:v>
                </c:pt>
                <c:pt idx="1156">
                  <c:v>2.3241067970929641</c:v>
                </c:pt>
                <c:pt idx="1157">
                  <c:v>2.2965174091450544</c:v>
                </c:pt>
                <c:pt idx="1158">
                  <c:v>2.2827258432797137</c:v>
                </c:pt>
                <c:pt idx="1159">
                  <c:v>2.1929267884921551</c:v>
                </c:pt>
                <c:pt idx="1160">
                  <c:v>2.2589323450698826</c:v>
                </c:pt>
                <c:pt idx="1161">
                  <c:v>2.2334766559854082</c:v>
                </c:pt>
                <c:pt idx="1162">
                  <c:v>2.2227833115786906</c:v>
                </c:pt>
                <c:pt idx="1163">
                  <c:v>2.200611243532137</c:v>
                </c:pt>
                <c:pt idx="1164">
                  <c:v>2.2495631232028264</c:v>
                </c:pt>
                <c:pt idx="1165">
                  <c:v>2.3190555036053202</c:v>
                </c:pt>
                <c:pt idx="1166">
                  <c:v>2.217811435922417</c:v>
                </c:pt>
                <c:pt idx="1167">
                  <c:v>2.1831108152739147</c:v>
                </c:pt>
                <c:pt idx="1168">
                  <c:v>2.1030934798191891</c:v>
                </c:pt>
                <c:pt idx="1169">
                  <c:v>2.0853577662823541</c:v>
                </c:pt>
                <c:pt idx="1170">
                  <c:v>2.1180048001877418</c:v>
                </c:pt>
                <c:pt idx="1171">
                  <c:v>2.0377765101571255</c:v>
                </c:pt>
                <c:pt idx="1172">
                  <c:v>2.1340023411914291</c:v>
                </c:pt>
                <c:pt idx="1173">
                  <c:v>2.1458834560554636</c:v>
                </c:pt>
                <c:pt idx="1174">
                  <c:v>2.1820302927198565</c:v>
                </c:pt>
                <c:pt idx="1175">
                  <c:v>2.1856845748851859</c:v>
                </c:pt>
                <c:pt idx="1176">
                  <c:v>2.1613878009696208</c:v>
                </c:pt>
                <c:pt idx="1177">
                  <c:v>2.1468763331712077</c:v>
                </c:pt>
                <c:pt idx="1178">
                  <c:v>2.1118829931519651</c:v>
                </c:pt>
                <c:pt idx="1179">
                  <c:v>2.1220804910123747</c:v>
                </c:pt>
                <c:pt idx="1180">
                  <c:v>2.142966518670435</c:v>
                </c:pt>
                <c:pt idx="1181">
                  <c:v>2.1031411773386082</c:v>
                </c:pt>
                <c:pt idx="1182">
                  <c:v>2.0771370531594808</c:v>
                </c:pt>
                <c:pt idx="1183">
                  <c:v>2.0385120775833325</c:v>
                </c:pt>
                <c:pt idx="1184">
                  <c:v>2.0376646277015809</c:v>
                </c:pt>
                <c:pt idx="1185">
                  <c:v>2.0081548385070795</c:v>
                </c:pt>
                <c:pt idx="1186">
                  <c:v>2.0660131590398265</c:v>
                </c:pt>
                <c:pt idx="1187">
                  <c:v>2.0845110416813823</c:v>
                </c:pt>
                <c:pt idx="1188">
                  <c:v>2.0799025194364558</c:v>
                </c:pt>
                <c:pt idx="1189">
                  <c:v>2.1411504211210408</c:v>
                </c:pt>
                <c:pt idx="1190">
                  <c:v>2.0627784663954825</c:v>
                </c:pt>
                <c:pt idx="1191">
                  <c:v>2.020632719675147</c:v>
                </c:pt>
                <c:pt idx="1192">
                  <c:v>2.0408132644314305</c:v>
                </c:pt>
                <c:pt idx="1193">
                  <c:v>2.0718589722821208</c:v>
                </c:pt>
                <c:pt idx="1194">
                  <c:v>1.9859371650388298</c:v>
                </c:pt>
                <c:pt idx="1195">
                  <c:v>2.0214900352394567</c:v>
                </c:pt>
                <c:pt idx="1196">
                  <c:v>2.0445321500868263</c:v>
                </c:pt>
                <c:pt idx="1197">
                  <c:v>2.0174091736469038</c:v>
                </c:pt>
                <c:pt idx="1198">
                  <c:v>2.0499698450309523</c:v>
                </c:pt>
                <c:pt idx="1199">
                  <c:v>2.0774457283527195</c:v>
                </c:pt>
                <c:pt idx="1200">
                  <c:v>2.0595906281634879</c:v>
                </c:pt>
                <c:pt idx="1201">
                  <c:v>2.1710672077037731</c:v>
                </c:pt>
                <c:pt idx="1202">
                  <c:v>2.1766605706148598</c:v>
                </c:pt>
                <c:pt idx="1203">
                  <c:v>2.285642218191041</c:v>
                </c:pt>
                <c:pt idx="1204">
                  <c:v>2.2983875547766321</c:v>
                </c:pt>
                <c:pt idx="1205">
                  <c:v>2.3922546880794204</c:v>
                </c:pt>
                <c:pt idx="1206">
                  <c:v>2.5107455964664611</c:v>
                </c:pt>
                <c:pt idx="1207">
                  <c:v>2.450950577772272</c:v>
                </c:pt>
                <c:pt idx="1208">
                  <c:v>2.4444322017247098</c:v>
                </c:pt>
                <c:pt idx="1209">
                  <c:v>2.4405615824734945</c:v>
                </c:pt>
                <c:pt idx="1210">
                  <c:v>2.4312431570466626</c:v>
                </c:pt>
                <c:pt idx="1211">
                  <c:v>2.5448565501485612</c:v>
                </c:pt>
                <c:pt idx="1212">
                  <c:v>2.5388016507008939</c:v>
                </c:pt>
                <c:pt idx="1213">
                  <c:v>2.5305415514005434</c:v>
                </c:pt>
                <c:pt idx="1214">
                  <c:v>2.4943840027447726</c:v>
                </c:pt>
                <c:pt idx="1215">
                  <c:v>2.483004336447125</c:v>
                </c:pt>
                <c:pt idx="1216">
                  <c:v>2.3141180600272473</c:v>
                </c:pt>
                <c:pt idx="1217">
                  <c:v>2.3773050640044322</c:v>
                </c:pt>
                <c:pt idx="1218">
                  <c:v>2.34055030678193</c:v>
                </c:pt>
                <c:pt idx="1219">
                  <c:v>2.2136823337335776</c:v>
                </c:pt>
                <c:pt idx="1220">
                  <c:v>2.2831332100161044</c:v>
                </c:pt>
                <c:pt idx="1221">
                  <c:v>2.2754300334619342</c:v>
                </c:pt>
                <c:pt idx="1222">
                  <c:v>2.1924177395719058</c:v>
                </c:pt>
                <c:pt idx="1223">
                  <c:v>2.0470049621567878</c:v>
                </c:pt>
                <c:pt idx="1224">
                  <c:v>2.0539041545437433</c:v>
                </c:pt>
                <c:pt idx="1225">
                  <c:v>2.0503143012065981</c:v>
                </c:pt>
                <c:pt idx="1226">
                  <c:v>1.988010419476512</c:v>
                </c:pt>
                <c:pt idx="1227">
                  <c:v>1.9576285857819922</c:v>
                </c:pt>
                <c:pt idx="1228">
                  <c:v>1.6904332989775159</c:v>
                </c:pt>
                <c:pt idx="1229">
                  <c:v>1.7112217979552737</c:v>
                </c:pt>
                <c:pt idx="1230">
                  <c:v>1.6460205011096134</c:v>
                </c:pt>
                <c:pt idx="1231">
                  <c:v>1.647200157101971</c:v>
                </c:pt>
                <c:pt idx="1232">
                  <c:v>1.6644861959688109</c:v>
                </c:pt>
                <c:pt idx="1233">
                  <c:v>1.6605504952224222</c:v>
                </c:pt>
                <c:pt idx="1234">
                  <c:v>1.7280831844425188</c:v>
                </c:pt>
                <c:pt idx="1235">
                  <c:v>1.7361657444935947</c:v>
                </c:pt>
                <c:pt idx="1236">
                  <c:v>1.7045967947684495</c:v>
                </c:pt>
                <c:pt idx="1237">
                  <c:v>1.7675869529852375</c:v>
                </c:pt>
                <c:pt idx="1238">
                  <c:v>1.7065032991535189</c:v>
                </c:pt>
                <c:pt idx="1239">
                  <c:v>1.643241091354678</c:v>
                </c:pt>
                <c:pt idx="1240">
                  <c:v>1.6019490361286663</c:v>
                </c:pt>
                <c:pt idx="1241">
                  <c:v>1.5660009823304748</c:v>
                </c:pt>
                <c:pt idx="1242">
                  <c:v>1.5939160715204539</c:v>
                </c:pt>
                <c:pt idx="1243">
                  <c:v>1.6471558660433254</c:v>
                </c:pt>
                <c:pt idx="1244">
                  <c:v>2.0036656822057921</c:v>
                </c:pt>
                <c:pt idx="1245">
                  <c:v>2.1500990232597097</c:v>
                </c:pt>
                <c:pt idx="1246">
                  <c:v>2.3089410757795568</c:v>
                </c:pt>
                <c:pt idx="1247">
                  <c:v>2.4744207889351295</c:v>
                </c:pt>
                <c:pt idx="1248">
                  <c:v>2.4890439134185249</c:v>
                </c:pt>
                <c:pt idx="1249">
                  <c:v>2.6941764032590778</c:v>
                </c:pt>
                <c:pt idx="1250">
                  <c:v>2.7470909335042393</c:v>
                </c:pt>
                <c:pt idx="1251">
                  <c:v>2.7240064034969498</c:v>
                </c:pt>
                <c:pt idx="1252">
                  <c:v>2.7630223290799845</c:v>
                </c:pt>
                <c:pt idx="1253">
                  <c:v>2.7588902903312018</c:v>
                </c:pt>
                <c:pt idx="1254">
                  <c:v>2.7553500726747058</c:v>
                </c:pt>
                <c:pt idx="1255">
                  <c:v>2.8144090430520214</c:v>
                </c:pt>
                <c:pt idx="1256">
                  <c:v>2.7655666827361109</c:v>
                </c:pt>
                <c:pt idx="1257">
                  <c:v>2.7253689628490778</c:v>
                </c:pt>
                <c:pt idx="1258">
                  <c:v>2.7342195747261435</c:v>
                </c:pt>
                <c:pt idx="1259">
                  <c:v>2.6933469145945246</c:v>
                </c:pt>
                <c:pt idx="1260">
                  <c:v>2.6611920625337078</c:v>
                </c:pt>
                <c:pt idx="1261">
                  <c:v>2.6894638724037803</c:v>
                </c:pt>
                <c:pt idx="1262">
                  <c:v>2.6175327187946076</c:v>
                </c:pt>
                <c:pt idx="1263">
                  <c:v>2.6202346677480213</c:v>
                </c:pt>
                <c:pt idx="1264">
                  <c:v>2.5756796349385489</c:v>
                </c:pt>
                <c:pt idx="1265">
                  <c:v>2.5384109144407478</c:v>
                </c:pt>
                <c:pt idx="1266">
                  <c:v>2.504708968751423</c:v>
                </c:pt>
                <c:pt idx="1267">
                  <c:v>2.4237905273695088</c:v>
                </c:pt>
                <c:pt idx="1268">
                  <c:v>2.4473792210794847</c:v>
                </c:pt>
                <c:pt idx="1269">
                  <c:v>2.4622697455397744</c:v>
                </c:pt>
                <c:pt idx="1270">
                  <c:v>2.4408067068226202</c:v>
                </c:pt>
                <c:pt idx="1271">
                  <c:v>2.3187819412937594</c:v>
                </c:pt>
                <c:pt idx="1272">
                  <c:v>2.1267774432579762</c:v>
                </c:pt>
                <c:pt idx="1273">
                  <c:v>2.1295555274661404</c:v>
                </c:pt>
                <c:pt idx="1274">
                  <c:v>2.1495549962412377</c:v>
                </c:pt>
                <c:pt idx="1275">
                  <c:v>2.1407266859180414</c:v>
                </c:pt>
                <c:pt idx="1276">
                  <c:v>2.2007327121687026</c:v>
                </c:pt>
                <c:pt idx="1277">
                  <c:v>2.1651589700599874</c:v>
                </c:pt>
                <c:pt idx="1278">
                  <c:v>2.2328459901929998</c:v>
                </c:pt>
                <c:pt idx="1279">
                  <c:v>2.1473947623161318</c:v>
                </c:pt>
                <c:pt idx="1280">
                  <c:v>2.1305341662528705</c:v>
                </c:pt>
                <c:pt idx="1281">
                  <c:v>2.1173473674879486</c:v>
                </c:pt>
                <c:pt idx="1282">
                  <c:v>2.2011820101605122</c:v>
                </c:pt>
                <c:pt idx="1283">
                  <c:v>2.197948126449341</c:v>
                </c:pt>
                <c:pt idx="1284">
                  <c:v>2.2031097135624784</c:v>
                </c:pt>
                <c:pt idx="1285">
                  <c:v>2.1827766094146615</c:v>
                </c:pt>
                <c:pt idx="1286">
                  <c:v>2.2038694091020439</c:v>
                </c:pt>
                <c:pt idx="1287">
                  <c:v>2.1851750560649208</c:v>
                </c:pt>
                <c:pt idx="1288">
                  <c:v>2.1449930431856656</c:v>
                </c:pt>
                <c:pt idx="1289">
                  <c:v>2.1483964916917548</c:v>
                </c:pt>
                <c:pt idx="1290">
                  <c:v>2.1546141015213784</c:v>
                </c:pt>
                <c:pt idx="1291">
                  <c:v>2.2124211302390551</c:v>
                </c:pt>
                <c:pt idx="1292">
                  <c:v>2.2201283064205311</c:v>
                </c:pt>
                <c:pt idx="1293">
                  <c:v>2.2031037632616259</c:v>
                </c:pt>
                <c:pt idx="1294">
                  <c:v>2.1596242315520078</c:v>
                </c:pt>
                <c:pt idx="1295">
                  <c:v>2.0831263087030565</c:v>
                </c:pt>
                <c:pt idx="1296">
                  <c:v>2.1145722919686207</c:v>
                </c:pt>
                <c:pt idx="1297">
                  <c:v>2.0852939914273474</c:v>
                </c:pt>
                <c:pt idx="1298">
                  <c:v>2.1008241585055547</c:v>
                </c:pt>
                <c:pt idx="1299">
                  <c:v>2.0703031710140185</c:v>
                </c:pt>
                <c:pt idx="1300">
                  <c:v>2.0285898041549499</c:v>
                </c:pt>
                <c:pt idx="1301">
                  <c:v>2.0707945305246485</c:v>
                </c:pt>
                <c:pt idx="1302">
                  <c:v>1.9966899558768014</c:v>
                </c:pt>
                <c:pt idx="1303">
                  <c:v>2.0142345161016921</c:v>
                </c:pt>
                <c:pt idx="1304">
                  <c:v>1.98971622270814</c:v>
                </c:pt>
                <c:pt idx="1305">
                  <c:v>2.0010208281067325</c:v>
                </c:pt>
                <c:pt idx="1306">
                  <c:v>1.9463885100783207</c:v>
                </c:pt>
                <c:pt idx="1307">
                  <c:v>2.0542260318917296</c:v>
                </c:pt>
                <c:pt idx="1308">
                  <c:v>2.0321056580622567</c:v>
                </c:pt>
                <c:pt idx="1309">
                  <c:v>2.1205006121232333</c:v>
                </c:pt>
                <c:pt idx="1310">
                  <c:v>2.1693320884292602</c:v>
                </c:pt>
                <c:pt idx="1311">
                  <c:v>2.213590414041434</c:v>
                </c:pt>
                <c:pt idx="1312">
                  <c:v>2.1729678561118342</c:v>
                </c:pt>
                <c:pt idx="1313">
                  <c:v>2.1711183997926313</c:v>
                </c:pt>
                <c:pt idx="1314">
                  <c:v>2.1594014735669091</c:v>
                </c:pt>
                <c:pt idx="1315">
                  <c:v>2.1792322711303753</c:v>
                </c:pt>
                <c:pt idx="1316">
                  <c:v>2.1741908651531321</c:v>
                </c:pt>
                <c:pt idx="1317">
                  <c:v>2.1546528991017295</c:v>
                </c:pt>
                <c:pt idx="1318">
                  <c:v>2.177094852497294</c:v>
                </c:pt>
                <c:pt idx="1319">
                  <c:v>2.193483617655998</c:v>
                </c:pt>
                <c:pt idx="1320">
                  <c:v>2.2641854948662927</c:v>
                </c:pt>
                <c:pt idx="1321">
                  <c:v>2.2259814566671592</c:v>
                </c:pt>
                <c:pt idx="1322">
                  <c:v>2.2399219849623297</c:v>
                </c:pt>
                <c:pt idx="1323">
                  <c:v>2.3139538554476551</c:v>
                </c:pt>
                <c:pt idx="1324">
                  <c:v>2.3130225950519514</c:v>
                </c:pt>
                <c:pt idx="1325">
                  <c:v>2.3257052094350059</c:v>
                </c:pt>
                <c:pt idx="1326">
                  <c:v>2.2959739007118687</c:v>
                </c:pt>
                <c:pt idx="1327">
                  <c:v>2.2429710141388228</c:v>
                </c:pt>
                <c:pt idx="1328">
                  <c:v>2.2030313235276973</c:v>
                </c:pt>
                <c:pt idx="1329">
                  <c:v>2.1983072496674234</c:v>
                </c:pt>
                <c:pt idx="1330">
                  <c:v>2.1992235907278452</c:v>
                </c:pt>
                <c:pt idx="1331">
                  <c:v>2.1636689406853558</c:v>
                </c:pt>
                <c:pt idx="1332">
                  <c:v>2.1604105629955992</c:v>
                </c:pt>
                <c:pt idx="1333">
                  <c:v>2.1717528189989905</c:v>
                </c:pt>
                <c:pt idx="1334">
                  <c:v>2.2008702304008945</c:v>
                </c:pt>
                <c:pt idx="1335">
                  <c:v>2.2295875629933084</c:v>
                </c:pt>
                <c:pt idx="1336">
                  <c:v>2.2801576343041683</c:v>
                </c:pt>
                <c:pt idx="1337">
                  <c:v>2.1545863255517932</c:v>
                </c:pt>
                <c:pt idx="1338">
                  <c:v>2.1445348080830269</c:v>
                </c:pt>
                <c:pt idx="1339">
                  <c:v>2.1147946512209894</c:v>
                </c:pt>
                <c:pt idx="1340">
                  <c:v>2.0970575177459665</c:v>
                </c:pt>
                <c:pt idx="1341">
                  <c:v>2.0241243810180887</c:v>
                </c:pt>
                <c:pt idx="1342">
                  <c:v>2.0095680695988598</c:v>
                </c:pt>
                <c:pt idx="1343">
                  <c:v>2.0082607967485688</c:v>
                </c:pt>
                <c:pt idx="1344">
                  <c:v>2.118285725831845</c:v>
                </c:pt>
                <c:pt idx="1345">
                  <c:v>2.2045376660173313</c:v>
                </c:pt>
                <c:pt idx="1346">
                  <c:v>2.1857996587497142</c:v>
                </c:pt>
                <c:pt idx="1347">
                  <c:v>2.2643075805258328</c:v>
                </c:pt>
                <c:pt idx="1348">
                  <c:v>2.2603895840165142</c:v>
                </c:pt>
                <c:pt idx="1349">
                  <c:v>2.2938914259480958</c:v>
                </c:pt>
                <c:pt idx="1350">
                  <c:v>2.280902412746308</c:v>
                </c:pt>
                <c:pt idx="1351">
                  <c:v>2.2083686698574976</c:v>
                </c:pt>
                <c:pt idx="1352">
                  <c:v>2.2333592650793008</c:v>
                </c:pt>
                <c:pt idx="1353">
                  <c:v>2.2126862048840819</c:v>
                </c:pt>
                <c:pt idx="1354">
                  <c:v>2.2742464306240504</c:v>
                </c:pt>
                <c:pt idx="1355">
                  <c:v>2.3154159335178988</c:v>
                </c:pt>
                <c:pt idx="1356">
                  <c:v>2.2861459664422807</c:v>
                </c:pt>
                <c:pt idx="1357">
                  <c:v>2.2971278650158258</c:v>
                </c:pt>
                <c:pt idx="1358">
                  <c:v>2.2994734674301456</c:v>
                </c:pt>
                <c:pt idx="1359">
                  <c:v>2.3287217928646493</c:v>
                </c:pt>
                <c:pt idx="1360">
                  <c:v>2.3376128703860339</c:v>
                </c:pt>
                <c:pt idx="1361">
                  <c:v>2.3053401769442741</c:v>
                </c:pt>
                <c:pt idx="1362">
                  <c:v>2.303683347987977</c:v>
                </c:pt>
                <c:pt idx="1363">
                  <c:v>2.3528945689649112</c:v>
                </c:pt>
                <c:pt idx="1364">
                  <c:v>2.2845079003009534</c:v>
                </c:pt>
                <c:pt idx="1365">
                  <c:v>2.2020249409578345</c:v>
                </c:pt>
                <c:pt idx="1366">
                  <c:v>2.2162700533911193</c:v>
                </c:pt>
                <c:pt idx="1367">
                  <c:v>2.2461690891576893</c:v>
                </c:pt>
                <c:pt idx="1368">
                  <c:v>2.2406608051075385</c:v>
                </c:pt>
                <c:pt idx="1369">
                  <c:v>2.1906703044125839</c:v>
                </c:pt>
                <c:pt idx="1370">
                  <c:v>2.1558839186501664</c:v>
                </c:pt>
                <c:pt idx="1371">
                  <c:v>2.1657292547988689</c:v>
                </c:pt>
                <c:pt idx="1372">
                  <c:v>2.1907990884510626</c:v>
                </c:pt>
                <c:pt idx="1373">
                  <c:v>2.1935717029098831</c:v>
                </c:pt>
                <c:pt idx="1374">
                  <c:v>2.1727100903033798</c:v>
                </c:pt>
                <c:pt idx="1375">
                  <c:v>2.1207637382499303</c:v>
                </c:pt>
                <c:pt idx="1376">
                  <c:v>2.1214124998654431</c:v>
                </c:pt>
                <c:pt idx="1377">
                  <c:v>2.0946941343956191</c:v>
                </c:pt>
                <c:pt idx="1378">
                  <c:v>2.1377894706101563</c:v>
                </c:pt>
                <c:pt idx="1379">
                  <c:v>2.1205575941970607</c:v>
                </c:pt>
                <c:pt idx="1380">
                  <c:v>2.0418775178382118</c:v>
                </c:pt>
                <c:pt idx="1381">
                  <c:v>2.0559707838315311</c:v>
                </c:pt>
                <c:pt idx="1382">
                  <c:v>1.9765826754427098</c:v>
                </c:pt>
                <c:pt idx="1383">
                  <c:v>1.9838902821622066</c:v>
                </c:pt>
                <c:pt idx="1384">
                  <c:v>1.930861586256186</c:v>
                </c:pt>
                <c:pt idx="1385">
                  <c:v>1.9442423395534132</c:v>
                </c:pt>
                <c:pt idx="1386">
                  <c:v>2.019380215989627</c:v>
                </c:pt>
                <c:pt idx="1387">
                  <c:v>1.9948493570800696</c:v>
                </c:pt>
                <c:pt idx="1388">
                  <c:v>2.0019654064801506</c:v>
                </c:pt>
                <c:pt idx="1389">
                  <c:v>1.9857189377702762</c:v>
                </c:pt>
                <c:pt idx="1390">
                  <c:v>2.0088694753076988</c:v>
                </c:pt>
                <c:pt idx="1391">
                  <c:v>2.0098327684650248</c:v>
                </c:pt>
                <c:pt idx="1392">
                  <c:v>2.0094149064746905</c:v>
                </c:pt>
                <c:pt idx="1393">
                  <c:v>1.9159744538283918</c:v>
                </c:pt>
                <c:pt idx="1394">
                  <c:v>1.9985825698232382</c:v>
                </c:pt>
                <c:pt idx="1395">
                  <c:v>1.9713002075805093</c:v>
                </c:pt>
                <c:pt idx="1396">
                  <c:v>2.036899186928665</c:v>
                </c:pt>
                <c:pt idx="1397">
                  <c:v>2.0102880634932956</c:v>
                </c:pt>
                <c:pt idx="1398">
                  <c:v>2.0426330011231792</c:v>
                </c:pt>
                <c:pt idx="1399">
                  <c:v>2.044666979461768</c:v>
                </c:pt>
                <c:pt idx="1400">
                  <c:v>2.0616411439255371</c:v>
                </c:pt>
                <c:pt idx="1401">
                  <c:v>2.0827486934966948</c:v>
                </c:pt>
                <c:pt idx="1402">
                  <c:v>2.0718174321629577</c:v>
                </c:pt>
                <c:pt idx="1403">
                  <c:v>2.0728960132234562</c:v>
                </c:pt>
                <c:pt idx="1404">
                  <c:v>2.0512884180506386</c:v>
                </c:pt>
                <c:pt idx="1405">
                  <c:v>2.0450627745099035</c:v>
                </c:pt>
                <c:pt idx="1406">
                  <c:v>2.0337089914250237</c:v>
                </c:pt>
                <c:pt idx="1407">
                  <c:v>2.0178834727280175</c:v>
                </c:pt>
                <c:pt idx="1408">
                  <c:v>1.9294344257791667</c:v>
                </c:pt>
                <c:pt idx="1409">
                  <c:v>1.9313949133695476</c:v>
                </c:pt>
                <c:pt idx="1410">
                  <c:v>1.9331081193365607</c:v>
                </c:pt>
                <c:pt idx="1411">
                  <c:v>2.0121341793088474</c:v>
                </c:pt>
                <c:pt idx="1412">
                  <c:v>2.0399905192216696</c:v>
                </c:pt>
                <c:pt idx="1413">
                  <c:v>2.0534989613415986</c:v>
                </c:pt>
                <c:pt idx="1414">
                  <c:v>2.1199024767372654</c:v>
                </c:pt>
                <c:pt idx="1415">
                  <c:v>2.0525461647733279</c:v>
                </c:pt>
                <c:pt idx="1416">
                  <c:v>2.0115011760116444</c:v>
                </c:pt>
                <c:pt idx="1417">
                  <c:v>2.0235411345665755</c:v>
                </c:pt>
                <c:pt idx="1418">
                  <c:v>2.0619427405941075</c:v>
                </c:pt>
                <c:pt idx="1419">
                  <c:v>2.0104547681198008</c:v>
                </c:pt>
                <c:pt idx="1420">
                  <c:v>1.9638437910489919</c:v>
                </c:pt>
                <c:pt idx="1421">
                  <c:v>1.9825395329992792</c:v>
                </c:pt>
                <c:pt idx="1422">
                  <c:v>1.9981752861571407</c:v>
                </c:pt>
                <c:pt idx="1423">
                  <c:v>1.9738755452146861</c:v>
                </c:pt>
                <c:pt idx="1424">
                  <c:v>1.8983677549387923</c:v>
                </c:pt>
                <c:pt idx="1425">
                  <c:v>1.9998457240772813</c:v>
                </c:pt>
                <c:pt idx="1426">
                  <c:v>1.9227979834383173</c:v>
                </c:pt>
                <c:pt idx="1427">
                  <c:v>1.9290905446942004</c:v>
                </c:pt>
                <c:pt idx="1428">
                  <c:v>1.869543712356035</c:v>
                </c:pt>
                <c:pt idx="1429">
                  <c:v>1.9062165753119222</c:v>
                </c:pt>
                <c:pt idx="1430">
                  <c:v>1.8468630190959643</c:v>
                </c:pt>
                <c:pt idx="1431">
                  <c:v>1.8725181731881575</c:v>
                </c:pt>
                <c:pt idx="1432">
                  <c:v>1.9062357113567618</c:v>
                </c:pt>
                <c:pt idx="1433">
                  <c:v>1.9572693711596161</c:v>
                </c:pt>
                <c:pt idx="1434">
                  <c:v>1.9132805696590891</c:v>
                </c:pt>
                <c:pt idx="1435">
                  <c:v>2.0031343350944555</c:v>
                </c:pt>
                <c:pt idx="1436">
                  <c:v>2.0382217414669617</c:v>
                </c:pt>
                <c:pt idx="1437">
                  <c:v>2.0489784112297436</c:v>
                </c:pt>
                <c:pt idx="1438">
                  <c:v>2.0344310877637728</c:v>
                </c:pt>
                <c:pt idx="1439">
                  <c:v>2.0051023544187547</c:v>
                </c:pt>
                <c:pt idx="1440">
                  <c:v>1.9855188670631789</c:v>
                </c:pt>
                <c:pt idx="1441">
                  <c:v>1.9400985854167621</c:v>
                </c:pt>
                <c:pt idx="1442">
                  <c:v>1.9576346999158964</c:v>
                </c:pt>
                <c:pt idx="1443">
                  <c:v>1.9397499346726126</c:v>
                </c:pt>
                <c:pt idx="1444">
                  <c:v>1.8356060595279207</c:v>
                </c:pt>
                <c:pt idx="1445">
                  <c:v>1.9294949826812868</c:v>
                </c:pt>
                <c:pt idx="1446">
                  <c:v>1.8988444737071535</c:v>
                </c:pt>
                <c:pt idx="1447">
                  <c:v>1.8892320350212819</c:v>
                </c:pt>
                <c:pt idx="1448">
                  <c:v>1.8229476723197389</c:v>
                </c:pt>
                <c:pt idx="1449">
                  <c:v>1.9142023427293198</c:v>
                </c:pt>
                <c:pt idx="1450">
                  <c:v>1.9669054408878239</c:v>
                </c:pt>
                <c:pt idx="1451">
                  <c:v>1.9540327873736605</c:v>
                </c:pt>
                <c:pt idx="1452">
                  <c:v>2.062114114094979</c:v>
                </c:pt>
                <c:pt idx="1453">
                  <c:v>2.1411313437472632</c:v>
                </c:pt>
                <c:pt idx="1454">
                  <c:v>2.1415294488648215</c:v>
                </c:pt>
                <c:pt idx="1455">
                  <c:v>2.1331226444360714</c:v>
                </c:pt>
                <c:pt idx="1456">
                  <c:v>2.1163069722778713</c:v>
                </c:pt>
                <c:pt idx="1457">
                  <c:v>2.1204106561730409</c:v>
                </c:pt>
                <c:pt idx="1458">
                  <c:v>2.1412387959466841</c:v>
                </c:pt>
                <c:pt idx="1459">
                  <c:v>2.1921580141063428</c:v>
                </c:pt>
                <c:pt idx="1460">
                  <c:v>2.2010031651565933</c:v>
                </c:pt>
                <c:pt idx="1461">
                  <c:v>2.1354922520895903</c:v>
                </c:pt>
                <c:pt idx="1462">
                  <c:v>2.115999925657003</c:v>
                </c:pt>
                <c:pt idx="1463">
                  <c:v>2.0524595249708057</c:v>
                </c:pt>
                <c:pt idx="1464">
                  <c:v>2.1478526526239792</c:v>
                </c:pt>
                <c:pt idx="1465">
                  <c:v>2.1449345844607568</c:v>
                </c:pt>
                <c:pt idx="1466">
                  <c:v>2.1186969115521923</c:v>
                </c:pt>
                <c:pt idx="1467">
                  <c:v>2.1497363538779743</c:v>
                </c:pt>
                <c:pt idx="1468">
                  <c:v>2.1890511422945926</c:v>
                </c:pt>
                <c:pt idx="1469">
                  <c:v>2.1832256867222974</c:v>
                </c:pt>
                <c:pt idx="1470">
                  <c:v>2.1807507838336813</c:v>
                </c:pt>
                <c:pt idx="1471">
                  <c:v>2.1651544071764364</c:v>
                </c:pt>
                <c:pt idx="1472">
                  <c:v>2.1963588096025335</c:v>
                </c:pt>
                <c:pt idx="1473">
                  <c:v>2.2279010053662978</c:v>
                </c:pt>
                <c:pt idx="1474">
                  <c:v>2.2282401242879204</c:v>
                </c:pt>
                <c:pt idx="1475">
                  <c:v>2.1278720051843854</c:v>
                </c:pt>
                <c:pt idx="1476">
                  <c:v>2.0896656154382725</c:v>
                </c:pt>
                <c:pt idx="1477">
                  <c:v>2.150111305581476</c:v>
                </c:pt>
                <c:pt idx="1478">
                  <c:v>2.2384689905552819</c:v>
                </c:pt>
                <c:pt idx="1479">
                  <c:v>2.1786964780133276</c:v>
                </c:pt>
                <c:pt idx="1480">
                  <c:v>2.1314803568052767</c:v>
                </c:pt>
                <c:pt idx="1481">
                  <c:v>2.222379501099653</c:v>
                </c:pt>
                <c:pt idx="1482">
                  <c:v>2.1118380120439406</c:v>
                </c:pt>
                <c:pt idx="1483">
                  <c:v>2.0220688935914919</c:v>
                </c:pt>
                <c:pt idx="1484">
                  <c:v>2.0255182158986393</c:v>
                </c:pt>
                <c:pt idx="1485">
                  <c:v>1.9553936095653617</c:v>
                </c:pt>
                <c:pt idx="1486">
                  <c:v>1.9599098701125426</c:v>
                </c:pt>
                <c:pt idx="1487">
                  <c:v>1.912723716776396</c:v>
                </c:pt>
                <c:pt idx="1488">
                  <c:v>1.9240164917263751</c:v>
                </c:pt>
                <c:pt idx="1489">
                  <c:v>1.8272621739481163</c:v>
                </c:pt>
                <c:pt idx="1490">
                  <c:v>1.8027353270647175</c:v>
                </c:pt>
                <c:pt idx="1491">
                  <c:v>1.8025067248190647</c:v>
                </c:pt>
                <c:pt idx="1492">
                  <c:v>1.7774749274989321</c:v>
                </c:pt>
                <c:pt idx="1493">
                  <c:v>1.8087050832252671</c:v>
                </c:pt>
                <c:pt idx="1494">
                  <c:v>1.6644865383945353</c:v>
                </c:pt>
                <c:pt idx="1495">
                  <c:v>1.7097804251740465</c:v>
                </c:pt>
                <c:pt idx="1496">
                  <c:v>1.7277111031455339</c:v>
                </c:pt>
                <c:pt idx="1497">
                  <c:v>1.6558621192121448</c:v>
                </c:pt>
                <c:pt idx="1498">
                  <c:v>1.6218372997453379</c:v>
                </c:pt>
                <c:pt idx="1499">
                  <c:v>1.7807925737035206</c:v>
                </c:pt>
                <c:pt idx="1500">
                  <c:v>1.7791194669568828</c:v>
                </c:pt>
                <c:pt idx="1501">
                  <c:v>1.778013552650098</c:v>
                </c:pt>
                <c:pt idx="1502">
                  <c:v>1.7401051124063887</c:v>
                </c:pt>
                <c:pt idx="1503">
                  <c:v>1.7387717112205545</c:v>
                </c:pt>
                <c:pt idx="1504">
                  <c:v>1.7633272736506369</c:v>
                </c:pt>
                <c:pt idx="1505">
                  <c:v>1.7917621782031474</c:v>
                </c:pt>
                <c:pt idx="1506">
                  <c:v>1.9074770508539614</c:v>
                </c:pt>
                <c:pt idx="1507">
                  <c:v>1.844233011931748</c:v>
                </c:pt>
                <c:pt idx="1508">
                  <c:v>1.73236602628221</c:v>
                </c:pt>
                <c:pt idx="1509">
                  <c:v>1.7270099343618814</c:v>
                </c:pt>
                <c:pt idx="1510">
                  <c:v>1.723853625272201</c:v>
                </c:pt>
                <c:pt idx="1511">
                  <c:v>1.6657855370081123</c:v>
                </c:pt>
                <c:pt idx="1512">
                  <c:v>1.7188455259428546</c:v>
                </c:pt>
                <c:pt idx="1513">
                  <c:v>1.7841428121755487</c:v>
                </c:pt>
                <c:pt idx="1514">
                  <c:v>1.8202366653820954</c:v>
                </c:pt>
                <c:pt idx="1515">
                  <c:v>1.8234702608360549</c:v>
                </c:pt>
                <c:pt idx="1516">
                  <c:v>1.8549260985807419</c:v>
                </c:pt>
                <c:pt idx="1517">
                  <c:v>1.9222177946629109</c:v>
                </c:pt>
                <c:pt idx="1518">
                  <c:v>1.9104233793490011</c:v>
                </c:pt>
                <c:pt idx="1519">
                  <c:v>1.915152837849893</c:v>
                </c:pt>
                <c:pt idx="1520">
                  <c:v>1.9232401967940598</c:v>
                </c:pt>
                <c:pt idx="1521">
                  <c:v>1.9552644785688778</c:v>
                </c:pt>
                <c:pt idx="1522">
                  <c:v>1.9581229925703054</c:v>
                </c:pt>
                <c:pt idx="1523">
                  <c:v>1.9896379236335024</c:v>
                </c:pt>
                <c:pt idx="1524">
                  <c:v>1.9500712806023368</c:v>
                </c:pt>
                <c:pt idx="1525">
                  <c:v>1.9252093605578779</c:v>
                </c:pt>
                <c:pt idx="1526">
                  <c:v>1.91008244142219</c:v>
                </c:pt>
                <c:pt idx="1527">
                  <c:v>1.8883629671079636</c:v>
                </c:pt>
                <c:pt idx="1528">
                  <c:v>1.9021484955233028</c:v>
                </c:pt>
                <c:pt idx="1529">
                  <c:v>1.8344409894315652</c:v>
                </c:pt>
                <c:pt idx="1530">
                  <c:v>1.8941239450313847</c:v>
                </c:pt>
                <c:pt idx="1531">
                  <c:v>1.8938194988173727</c:v>
                </c:pt>
                <c:pt idx="1532">
                  <c:v>1.9453325677832167</c:v>
                </c:pt>
                <c:pt idx="1533">
                  <c:v>1.9303337218631242</c:v>
                </c:pt>
                <c:pt idx="1534">
                  <c:v>1.8763677067341809</c:v>
                </c:pt>
                <c:pt idx="1535">
                  <c:v>1.8866769011326749</c:v>
                </c:pt>
                <c:pt idx="1536">
                  <c:v>1.8388629442945676</c:v>
                </c:pt>
                <c:pt idx="1537">
                  <c:v>1.8940742940462929</c:v>
                </c:pt>
                <c:pt idx="1538">
                  <c:v>1.937529537491993</c:v>
                </c:pt>
                <c:pt idx="1539">
                  <c:v>2.0182863086847846</c:v>
                </c:pt>
                <c:pt idx="1540">
                  <c:v>2.0686066026040426</c:v>
                </c:pt>
                <c:pt idx="1541">
                  <c:v>2.0463689120801072</c:v>
                </c:pt>
                <c:pt idx="1542">
                  <c:v>2.0041018069041781</c:v>
                </c:pt>
                <c:pt idx="1543">
                  <c:v>2.0430387684814941</c:v>
                </c:pt>
                <c:pt idx="1544">
                  <c:v>2.0221534531785088</c:v>
                </c:pt>
                <c:pt idx="1545">
                  <c:v>2.0042622010722324</c:v>
                </c:pt>
                <c:pt idx="1546">
                  <c:v>2.0648074140394521</c:v>
                </c:pt>
                <c:pt idx="1547">
                  <c:v>2.0729138855296201</c:v>
                </c:pt>
                <c:pt idx="1548">
                  <c:v>2.1544857118197935</c:v>
                </c:pt>
                <c:pt idx="1549">
                  <c:v>2.2243233409441334</c:v>
                </c:pt>
                <c:pt idx="1550">
                  <c:v>2.2800863094228263</c:v>
                </c:pt>
                <c:pt idx="1551">
                  <c:v>2.2380348183193846</c:v>
                </c:pt>
                <c:pt idx="1552">
                  <c:v>2.2857383054553586</c:v>
                </c:pt>
                <c:pt idx="1553">
                  <c:v>2.325183231272574</c:v>
                </c:pt>
                <c:pt idx="1554">
                  <c:v>2.3302606211652455</c:v>
                </c:pt>
                <c:pt idx="1555">
                  <c:v>2.3012211725022196</c:v>
                </c:pt>
                <c:pt idx="1556">
                  <c:v>2.3924348009135001</c:v>
                </c:pt>
                <c:pt idx="1557">
                  <c:v>2.4381338412234874</c:v>
                </c:pt>
                <c:pt idx="1558">
                  <c:v>2.5229896876518021</c:v>
                </c:pt>
                <c:pt idx="1559">
                  <c:v>2.5169606868361214</c:v>
                </c:pt>
                <c:pt idx="1560">
                  <c:v>2.4395633942324522</c:v>
                </c:pt>
                <c:pt idx="1561">
                  <c:v>2.4393690036823368</c:v>
                </c:pt>
                <c:pt idx="1562">
                  <c:v>2.491098696915349</c:v>
                </c:pt>
                <c:pt idx="1563">
                  <c:v>2.5471664641902079</c:v>
                </c:pt>
                <c:pt idx="1564">
                  <c:v>2.5474621878187147</c:v>
                </c:pt>
                <c:pt idx="1565">
                  <c:v>2.5421854660997183</c:v>
                </c:pt>
                <c:pt idx="1566">
                  <c:v>2.5524475520071186</c:v>
                </c:pt>
                <c:pt idx="1567">
                  <c:v>2.577873861695517</c:v>
                </c:pt>
                <c:pt idx="1568">
                  <c:v>2.5907054861428134</c:v>
                </c:pt>
                <c:pt idx="1569">
                  <c:v>2.5396193005443837</c:v>
                </c:pt>
                <c:pt idx="1570">
                  <c:v>2.4773149555899638</c:v>
                </c:pt>
                <c:pt idx="1571">
                  <c:v>2.5382249923721751</c:v>
                </c:pt>
                <c:pt idx="1572">
                  <c:v>2.5460382223778706</c:v>
                </c:pt>
                <c:pt idx="1573">
                  <c:v>2.506699752595587</c:v>
                </c:pt>
                <c:pt idx="1574">
                  <c:v>2.5304967295196472</c:v>
                </c:pt>
                <c:pt idx="1575">
                  <c:v>2.5666675425836094</c:v>
                </c:pt>
                <c:pt idx="1576">
                  <c:v>2.505403678433185</c:v>
                </c:pt>
                <c:pt idx="1577">
                  <c:v>2.5086747190150076</c:v>
                </c:pt>
                <c:pt idx="1578">
                  <c:v>2.5043430310739954</c:v>
                </c:pt>
                <c:pt idx="1579">
                  <c:v>2.4452716949271665</c:v>
                </c:pt>
                <c:pt idx="1580">
                  <c:v>2.4666090791970423</c:v>
                </c:pt>
                <c:pt idx="1581">
                  <c:v>2.4741541153476847</c:v>
                </c:pt>
                <c:pt idx="1582">
                  <c:v>2.4533803496636839</c:v>
                </c:pt>
                <c:pt idx="1583">
                  <c:v>2.4036627002068203</c:v>
                </c:pt>
                <c:pt idx="1584">
                  <c:v>2.3900914009931031</c:v>
                </c:pt>
                <c:pt idx="1585">
                  <c:v>2.3810898086246177</c:v>
                </c:pt>
                <c:pt idx="1586">
                  <c:v>2.3683046897809144</c:v>
                </c:pt>
                <c:pt idx="1587">
                  <c:v>2.3683046897809144</c:v>
                </c:pt>
                <c:pt idx="1588">
                  <c:v>2.3423674531243925</c:v>
                </c:pt>
                <c:pt idx="1589">
                  <c:v>2.3350106471155687</c:v>
                </c:pt>
                <c:pt idx="1590">
                  <c:v>2.3574006645110117</c:v>
                </c:pt>
                <c:pt idx="1591">
                  <c:v>2.3372897830544157</c:v>
                </c:pt>
                <c:pt idx="1592">
                  <c:v>2.3464851566719154</c:v>
                </c:pt>
                <c:pt idx="1593">
                  <c:v>2.2443667488098513</c:v>
                </c:pt>
                <c:pt idx="1594">
                  <c:v>2.3192255727997373</c:v>
                </c:pt>
                <c:pt idx="1595">
                  <c:v>2.3246393964137733</c:v>
                </c:pt>
                <c:pt idx="1596">
                  <c:v>2.3148223655028177</c:v>
                </c:pt>
                <c:pt idx="1597">
                  <c:v>2.2562188315803877</c:v>
                </c:pt>
                <c:pt idx="1598">
                  <c:v>2.1985572615894942</c:v>
                </c:pt>
                <c:pt idx="1599">
                  <c:v>2.2162946560576842</c:v>
                </c:pt>
                <c:pt idx="1600">
                  <c:v>2.2009634582133852</c:v>
                </c:pt>
                <c:pt idx="1601">
                  <c:v>2.1432682837361177</c:v>
                </c:pt>
                <c:pt idx="1602">
                  <c:v>2.1557414155301</c:v>
                </c:pt>
                <c:pt idx="1603">
                  <c:v>2.1077518900069974</c:v>
                </c:pt>
                <c:pt idx="1604">
                  <c:v>1.9947033502015816</c:v>
                </c:pt>
                <c:pt idx="1605">
                  <c:v>1.9455262245215657</c:v>
                </c:pt>
                <c:pt idx="1606">
                  <c:v>1.9496190740899346</c:v>
                </c:pt>
                <c:pt idx="1607">
                  <c:v>1.8417759611269477</c:v>
                </c:pt>
                <c:pt idx="1608">
                  <c:v>1.8525632244588752</c:v>
                </c:pt>
                <c:pt idx="1609">
                  <c:v>1.881655276418174</c:v>
                </c:pt>
                <c:pt idx="1610">
                  <c:v>1.8227136833479525</c:v>
                </c:pt>
                <c:pt idx="1611">
                  <c:v>1.8759350032480178</c:v>
                </c:pt>
                <c:pt idx="1612">
                  <c:v>1.85582034569753</c:v>
                </c:pt>
                <c:pt idx="1613">
                  <c:v>1.9682078447822</c:v>
                </c:pt>
                <c:pt idx="1614">
                  <c:v>1.981187862912646</c:v>
                </c:pt>
                <c:pt idx="1615">
                  <c:v>1.9598675082152295</c:v>
                </c:pt>
                <c:pt idx="1616">
                  <c:v>1.9394583322643304</c:v>
                </c:pt>
                <c:pt idx="1617">
                  <c:v>1.922594922460183</c:v>
                </c:pt>
                <c:pt idx="1618">
                  <c:v>1.8809039217962231</c:v>
                </c:pt>
                <c:pt idx="1619">
                  <c:v>1.9251822222251427</c:v>
                </c:pt>
                <c:pt idx="1620">
                  <c:v>1.9015059552580016</c:v>
                </c:pt>
                <c:pt idx="1621">
                  <c:v>1.9097549723292977</c:v>
                </c:pt>
                <c:pt idx="1622">
                  <c:v>1.8414915419514057</c:v>
                </c:pt>
                <c:pt idx="1623">
                  <c:v>1.9280798175993927</c:v>
                </c:pt>
                <c:pt idx="1624">
                  <c:v>1.8742595510824505</c:v>
                </c:pt>
                <c:pt idx="1625">
                  <c:v>1.8854430279905663</c:v>
                </c:pt>
                <c:pt idx="1626">
                  <c:v>1.9460652953951203</c:v>
                </c:pt>
                <c:pt idx="1627">
                  <c:v>1.9452786568796678</c:v>
                </c:pt>
                <c:pt idx="1628">
                  <c:v>1.9065087777343774</c:v>
                </c:pt>
                <c:pt idx="1629">
                  <c:v>1.9439186702928741</c:v>
                </c:pt>
                <c:pt idx="1630">
                  <c:v>1.9423608444963918</c:v>
                </c:pt>
                <c:pt idx="1631">
                  <c:v>1.9518872351789114</c:v>
                </c:pt>
                <c:pt idx="1632">
                  <c:v>1.8923356888424019</c:v>
                </c:pt>
                <c:pt idx="1633">
                  <c:v>1.8740320702290509</c:v>
                </c:pt>
                <c:pt idx="1634">
                  <c:v>1.8718869791052912</c:v>
                </c:pt>
                <c:pt idx="1635">
                  <c:v>1.9140966368535863</c:v>
                </c:pt>
                <c:pt idx="1636">
                  <c:v>1.9174974389115003</c:v>
                </c:pt>
                <c:pt idx="1637">
                  <c:v>1.8836485477470728</c:v>
                </c:pt>
                <c:pt idx="1638">
                  <c:v>1.8781913975444096</c:v>
                </c:pt>
                <c:pt idx="1639">
                  <c:v>1.8441572927633287</c:v>
                </c:pt>
                <c:pt idx="1640">
                  <c:v>1.8386620831227702</c:v>
                </c:pt>
                <c:pt idx="1641">
                  <c:v>1.8596492762876007</c:v>
                </c:pt>
                <c:pt idx="1642">
                  <c:v>1.8508522449098648</c:v>
                </c:pt>
                <c:pt idx="1643">
                  <c:v>1.7955671961803201</c:v>
                </c:pt>
                <c:pt idx="1644">
                  <c:v>1.8009786980756843</c:v>
                </c:pt>
                <c:pt idx="1645">
                  <c:v>1.8601754442996941</c:v>
                </c:pt>
                <c:pt idx="1646">
                  <c:v>1.8850931376330071</c:v>
                </c:pt>
                <c:pt idx="1647">
                  <c:v>1.832906830533342</c:v>
                </c:pt>
                <c:pt idx="1648">
                  <c:v>1.9123398735981807</c:v>
                </c:pt>
                <c:pt idx="1649">
                  <c:v>1.8944634426499727</c:v>
                </c:pt>
                <c:pt idx="1650">
                  <c:v>1.9111945418513794</c:v>
                </c:pt>
                <c:pt idx="1651">
                  <c:v>1.9065873019916741</c:v>
                </c:pt>
                <c:pt idx="1652">
                  <c:v>1.9863181681464748</c:v>
                </c:pt>
                <c:pt idx="1653">
                  <c:v>1.934940288586491</c:v>
                </c:pt>
                <c:pt idx="1654">
                  <c:v>1.929014413818734</c:v>
                </c:pt>
                <c:pt idx="1655">
                  <c:v>1.9305427592525775</c:v>
                </c:pt>
                <c:pt idx="1656">
                  <c:v>1.9812880715187653</c:v>
                </c:pt>
                <c:pt idx="1657">
                  <c:v>2.0217722493899144</c:v>
                </c:pt>
                <c:pt idx="1658">
                  <c:v>2.0170034309131402</c:v>
                </c:pt>
                <c:pt idx="1659">
                  <c:v>1.9524757333967513</c:v>
                </c:pt>
                <c:pt idx="1660">
                  <c:v>2.0326148506287378</c:v>
                </c:pt>
                <c:pt idx="1661">
                  <c:v>2.1181214085860152</c:v>
                </c:pt>
                <c:pt idx="1662">
                  <c:v>2.1707529405850439</c:v>
                </c:pt>
                <c:pt idx="1663">
                  <c:v>2.1985102514939117</c:v>
                </c:pt>
                <c:pt idx="1664">
                  <c:v>2.2069821068483333</c:v>
                </c:pt>
                <c:pt idx="1665">
                  <c:v>2.1601153264618702</c:v>
                </c:pt>
                <c:pt idx="1666">
                  <c:v>2.1543290942425664</c:v>
                </c:pt>
                <c:pt idx="1667">
                  <c:v>2.3537421722347029</c:v>
                </c:pt>
                <c:pt idx="1668">
                  <c:v>2.3535251942023954</c:v>
                </c:pt>
                <c:pt idx="1669">
                  <c:v>2.3335221734166809</c:v>
                </c:pt>
                <c:pt idx="1670">
                  <c:v>2.4403078695807245</c:v>
                </c:pt>
                <c:pt idx="1671">
                  <c:v>2.4302852325169093</c:v>
                </c:pt>
                <c:pt idx="1672">
                  <c:v>2.4787428364408464</c:v>
                </c:pt>
                <c:pt idx="1673">
                  <c:v>2.4996524124282002</c:v>
                </c:pt>
                <c:pt idx="1674">
                  <c:v>2.4982854574758377</c:v>
                </c:pt>
                <c:pt idx="1675">
                  <c:v>2.534644084020258</c:v>
                </c:pt>
                <c:pt idx="1676">
                  <c:v>2.5810431232479925</c:v>
                </c:pt>
                <c:pt idx="1677">
                  <c:v>2.6874752865799487</c:v>
                </c:pt>
                <c:pt idx="1678">
                  <c:v>2.6632788159497434</c:v>
                </c:pt>
                <c:pt idx="1679">
                  <c:v>2.7030942165059102</c:v>
                </c:pt>
                <c:pt idx="1680">
                  <c:v>2.7711905226275388</c:v>
                </c:pt>
                <c:pt idx="1681">
                  <c:v>2.788354577545467</c:v>
                </c:pt>
                <c:pt idx="1682">
                  <c:v>2.7717365343729878</c:v>
                </c:pt>
                <c:pt idx="1683">
                  <c:v>2.766640560409074</c:v>
                </c:pt>
                <c:pt idx="1684">
                  <c:v>2.7090706415405377</c:v>
                </c:pt>
                <c:pt idx="1685">
                  <c:v>2.7386016877143269</c:v>
                </c:pt>
                <c:pt idx="1686">
                  <c:v>2.5838466136526037</c:v>
                </c:pt>
                <c:pt idx="1687">
                  <c:v>2.5824863367849278</c:v>
                </c:pt>
                <c:pt idx="1688">
                  <c:v>2.5882595849915937</c:v>
                </c:pt>
                <c:pt idx="1689">
                  <c:v>2.5324823207012148</c:v>
                </c:pt>
                <c:pt idx="1690">
                  <c:v>2.5827323355488083</c:v>
                </c:pt>
                <c:pt idx="1691">
                  <c:v>2.3830818156053559</c:v>
                </c:pt>
                <c:pt idx="1692">
                  <c:v>2.2351959809891921</c:v>
                </c:pt>
                <c:pt idx="1693">
                  <c:v>1.9718031340643614</c:v>
                </c:pt>
                <c:pt idx="1694">
                  <c:v>1.9760820229660274</c:v>
                </c:pt>
                <c:pt idx="1695">
                  <c:v>1.8404290948983968</c:v>
                </c:pt>
                <c:pt idx="1696">
                  <c:v>1.6833811822658253</c:v>
                </c:pt>
                <c:pt idx="1697">
                  <c:v>1.6613100201907209</c:v>
                </c:pt>
                <c:pt idx="1698">
                  <c:v>1.6103716514222366</c:v>
                </c:pt>
                <c:pt idx="1699">
                  <c:v>1.6042164448178067</c:v>
                </c:pt>
                <c:pt idx="1700">
                  <c:v>1.6025965679096024</c:v>
                </c:pt>
                <c:pt idx="1701">
                  <c:v>1.696155499555948</c:v>
                </c:pt>
                <c:pt idx="1702">
                  <c:v>1.6981400651361911</c:v>
                </c:pt>
                <c:pt idx="1703">
                  <c:v>1.7045901073914445</c:v>
                </c:pt>
                <c:pt idx="1704">
                  <c:v>1.6364453712316687</c:v>
                </c:pt>
                <c:pt idx="1705">
                  <c:v>1.602713216758511</c:v>
                </c:pt>
                <c:pt idx="1706">
                  <c:v>1.6257540650546745</c:v>
                </c:pt>
                <c:pt idx="1707">
                  <c:v>1.6229171202194395</c:v>
                </c:pt>
                <c:pt idx="1708">
                  <c:v>1.5998598779718505</c:v>
                </c:pt>
                <c:pt idx="1709">
                  <c:v>1.5678076121303712</c:v>
                </c:pt>
                <c:pt idx="1710">
                  <c:v>1.603927449134767</c:v>
                </c:pt>
                <c:pt idx="1711">
                  <c:v>1.8553439385802613</c:v>
                </c:pt>
                <c:pt idx="1712">
                  <c:v>1.8443451942091245</c:v>
                </c:pt>
                <c:pt idx="1713">
                  <c:v>1.8243874245028493</c:v>
                </c:pt>
                <c:pt idx="1714">
                  <c:v>1.7947793791588156</c:v>
                </c:pt>
                <c:pt idx="1715">
                  <c:v>1.9364157841497269</c:v>
                </c:pt>
                <c:pt idx="1716">
                  <c:v>1.9366048387604515</c:v>
                </c:pt>
                <c:pt idx="1717">
                  <c:v>2.0774018306784554</c:v>
                </c:pt>
                <c:pt idx="1718">
                  <c:v>2.0595508700354768</c:v>
                </c:pt>
                <c:pt idx="1719">
                  <c:v>2.0613045715092961</c:v>
                </c:pt>
                <c:pt idx="1720">
                  <c:v>2.1645563229528366</c:v>
                </c:pt>
                <c:pt idx="1721">
                  <c:v>2.386756150234068</c:v>
                </c:pt>
                <c:pt idx="1722">
                  <c:v>2.3964417433672547</c:v>
                </c:pt>
                <c:pt idx="1723">
                  <c:v>2.3906123991988295</c:v>
                </c:pt>
                <c:pt idx="1724">
                  <c:v>2.3113813009910946</c:v>
                </c:pt>
                <c:pt idx="1725">
                  <c:v>2.2385891688080366</c:v>
                </c:pt>
                <c:pt idx="1726">
                  <c:v>2.1669416198091387</c:v>
                </c:pt>
                <c:pt idx="1727">
                  <c:v>2.1996605867871257</c:v>
                </c:pt>
                <c:pt idx="1728">
                  <c:v>2.252312576158968</c:v>
                </c:pt>
                <c:pt idx="1729">
                  <c:v>2.4078333895836548</c:v>
                </c:pt>
                <c:pt idx="1730">
                  <c:v>2.3893879726056535</c:v>
                </c:pt>
                <c:pt idx="1731">
                  <c:v>2.4247143480050348</c:v>
                </c:pt>
                <c:pt idx="1732">
                  <c:v>2.3880804194319265</c:v>
                </c:pt>
                <c:pt idx="1733">
                  <c:v>2.374825137428402</c:v>
                </c:pt>
                <c:pt idx="1734">
                  <c:v>2.2905106551729904</c:v>
                </c:pt>
                <c:pt idx="1735">
                  <c:v>2.2653735995105859</c:v>
                </c:pt>
                <c:pt idx="1736">
                  <c:v>2.2776735308673275</c:v>
                </c:pt>
                <c:pt idx="1737">
                  <c:v>2.354159604958006</c:v>
                </c:pt>
                <c:pt idx="1738">
                  <c:v>2.4511788514805426</c:v>
                </c:pt>
                <c:pt idx="1739">
                  <c:v>2.3839956704452749</c:v>
                </c:pt>
                <c:pt idx="1740">
                  <c:v>2.4103778822210051</c:v>
                </c:pt>
                <c:pt idx="1741">
                  <c:v>2.4002466546252705</c:v>
                </c:pt>
                <c:pt idx="1742">
                  <c:v>2.3457363361784025</c:v>
                </c:pt>
                <c:pt idx="1743">
                  <c:v>2.310409533071208</c:v>
                </c:pt>
                <c:pt idx="1744">
                  <c:v>2.2964749689854216</c:v>
                </c:pt>
                <c:pt idx="1745">
                  <c:v>2.2792015620860653</c:v>
                </c:pt>
                <c:pt idx="1746">
                  <c:v>2.2107387501063118</c:v>
                </c:pt>
                <c:pt idx="1747">
                  <c:v>2.1940206488933716</c:v>
                </c:pt>
                <c:pt idx="1748">
                  <c:v>2.1993078179129295</c:v>
                </c:pt>
                <c:pt idx="1749">
                  <c:v>2.1247950632910539</c:v>
                </c:pt>
                <c:pt idx="1750">
                  <c:v>2.1657980297636543</c:v>
                </c:pt>
                <c:pt idx="1751">
                  <c:v>2.0932217458924329</c:v>
                </c:pt>
                <c:pt idx="1752">
                  <c:v>2.1058311745909655</c:v>
                </c:pt>
                <c:pt idx="1753">
                  <c:v>2.1042354841002902</c:v>
                </c:pt>
                <c:pt idx="1754">
                  <c:v>2.0821331434138042</c:v>
                </c:pt>
                <c:pt idx="1755">
                  <c:v>2.0784704754774279</c:v>
                </c:pt>
                <c:pt idx="1756">
                  <c:v>2.0309497558533542</c:v>
                </c:pt>
                <c:pt idx="1757">
                  <c:v>1.9167414005692625</c:v>
                </c:pt>
                <c:pt idx="1758">
                  <c:v>1.8775783007592763</c:v>
                </c:pt>
                <c:pt idx="1759">
                  <c:v>1.8930355377196277</c:v>
                </c:pt>
                <c:pt idx="1760">
                  <c:v>1.8970681784272314</c:v>
                </c:pt>
                <c:pt idx="1761">
                  <c:v>1.9367920111322912</c:v>
                </c:pt>
                <c:pt idx="1762">
                  <c:v>1.8768326024075412</c:v>
                </c:pt>
                <c:pt idx="1763">
                  <c:v>1.910203785698612</c:v>
                </c:pt>
                <c:pt idx="1764">
                  <c:v>1.9169412163298729</c:v>
                </c:pt>
                <c:pt idx="1765">
                  <c:v>1.8308519871265068</c:v>
                </c:pt>
                <c:pt idx="1766">
                  <c:v>1.7748060046486709</c:v>
                </c:pt>
                <c:pt idx="1767">
                  <c:v>1.7662791389727186</c:v>
                </c:pt>
                <c:pt idx="1768">
                  <c:v>1.7531471247118253</c:v>
                </c:pt>
                <c:pt idx="1769">
                  <c:v>1.7058468734382004</c:v>
                </c:pt>
                <c:pt idx="1770">
                  <c:v>1.7118992467616132</c:v>
                </c:pt>
                <c:pt idx="1771">
                  <c:v>1.8272933658644077</c:v>
                </c:pt>
                <c:pt idx="1772">
                  <c:v>1.886700968188832</c:v>
                </c:pt>
                <c:pt idx="1773">
                  <c:v>1.8834775797161569</c:v>
                </c:pt>
                <c:pt idx="1774">
                  <c:v>1.8358867336504112</c:v>
                </c:pt>
                <c:pt idx="1775">
                  <c:v>1.9683913364243735</c:v>
                </c:pt>
                <c:pt idx="1776">
                  <c:v>1.9684399815240849</c:v>
                </c:pt>
                <c:pt idx="1777">
                  <c:v>1.9945045617523545</c:v>
                </c:pt>
                <c:pt idx="1778">
                  <c:v>2.065821876323898</c:v>
                </c:pt>
                <c:pt idx="1779">
                  <c:v>2.0732570955687128</c:v>
                </c:pt>
                <c:pt idx="1780">
                  <c:v>2.0686421456546698</c:v>
                </c:pt>
                <c:pt idx="1781">
                  <c:v>2.0609529181302269</c:v>
                </c:pt>
                <c:pt idx="1782">
                  <c:v>2.0985866042951806</c:v>
                </c:pt>
                <c:pt idx="1783">
                  <c:v>2.1002676393568986</c:v>
                </c:pt>
                <c:pt idx="1784">
                  <c:v>2.1308719295192993</c:v>
                </c:pt>
                <c:pt idx="1785">
                  <c:v>2.1284911085470983</c:v>
                </c:pt>
                <c:pt idx="1786">
                  <c:v>2.2234348611848684</c:v>
                </c:pt>
                <c:pt idx="1787">
                  <c:v>2.2832081009951528</c:v>
                </c:pt>
                <c:pt idx="1788">
                  <c:v>2.2606547488740771</c:v>
                </c:pt>
                <c:pt idx="1789">
                  <c:v>2.2381927088771567</c:v>
                </c:pt>
                <c:pt idx="1790">
                  <c:v>2.26965853428637</c:v>
                </c:pt>
                <c:pt idx="1791">
                  <c:v>2.2417123047318723</c:v>
                </c:pt>
                <c:pt idx="1792">
                  <c:v>2.3089634567710453</c:v>
                </c:pt>
                <c:pt idx="1793">
                  <c:v>2.2660487873141828</c:v>
                </c:pt>
                <c:pt idx="1794">
                  <c:v>2.2723783222186942</c:v>
                </c:pt>
                <c:pt idx="1795">
                  <c:v>2.267695244358932</c:v>
                </c:pt>
                <c:pt idx="1796">
                  <c:v>2.3430095070057342</c:v>
                </c:pt>
                <c:pt idx="1797">
                  <c:v>2.3593997881074733</c:v>
                </c:pt>
                <c:pt idx="1798">
                  <c:v>2.3750315302412242</c:v>
                </c:pt>
                <c:pt idx="1799">
                  <c:v>2.3761556561974926</c:v>
                </c:pt>
                <c:pt idx="1800">
                  <c:v>2.4148431946199844</c:v>
                </c:pt>
                <c:pt idx="1801">
                  <c:v>2.305267900503964</c:v>
                </c:pt>
                <c:pt idx="1802">
                  <c:v>2.2987208208845642</c:v>
                </c:pt>
                <c:pt idx="1803">
                  <c:v>2.2975141550958877</c:v>
                </c:pt>
                <c:pt idx="1804">
                  <c:v>2.3168897171493747</c:v>
                </c:pt>
                <c:pt idx="1805">
                  <c:v>2.2020570363668064</c:v>
                </c:pt>
                <c:pt idx="1806">
                  <c:v>2.241244768744064</c:v>
                </c:pt>
                <c:pt idx="1807">
                  <c:v>2.2785959756009184</c:v>
                </c:pt>
                <c:pt idx="1808">
                  <c:v>2.2725328234476212</c:v>
                </c:pt>
                <c:pt idx="1809">
                  <c:v>2.2652680098511158</c:v>
                </c:pt>
                <c:pt idx="1810">
                  <c:v>2.2221948385001009</c:v>
                </c:pt>
                <c:pt idx="1811">
                  <c:v>2.2257630351475521</c:v>
                </c:pt>
                <c:pt idx="1812">
                  <c:v>2.1524284049365052</c:v>
                </c:pt>
                <c:pt idx="1813">
                  <c:v>2.1687733508690852</c:v>
                </c:pt>
                <c:pt idx="1814">
                  <c:v>2.2281107757367264</c:v>
                </c:pt>
                <c:pt idx="1815">
                  <c:v>2.2829442241913185</c:v>
                </c:pt>
                <c:pt idx="1816">
                  <c:v>2.2092855674908307</c:v>
                </c:pt>
                <c:pt idx="1817">
                  <c:v>2.089145501304261</c:v>
                </c:pt>
                <c:pt idx="1818">
                  <c:v>2.1670370963055774</c:v>
                </c:pt>
                <c:pt idx="1819">
                  <c:v>2.1190551206494646</c:v>
                </c:pt>
                <c:pt idx="1820">
                  <c:v>2.0337103927138958</c:v>
                </c:pt>
                <c:pt idx="1821">
                  <c:v>2.0398184047009993</c:v>
                </c:pt>
                <c:pt idx="1822">
                  <c:v>1.9961029763614409</c:v>
                </c:pt>
                <c:pt idx="1823">
                  <c:v>2.0077146735321554</c:v>
                </c:pt>
                <c:pt idx="1824">
                  <c:v>2.0479458646782622</c:v>
                </c:pt>
                <c:pt idx="1825">
                  <c:v>2.1441839568668866</c:v>
                </c:pt>
                <c:pt idx="1826">
                  <c:v>2.1020785671021787</c:v>
                </c:pt>
                <c:pt idx="1827">
                  <c:v>2.0629750964793128</c:v>
                </c:pt>
                <c:pt idx="1828">
                  <c:v>2.0296052388746251</c:v>
                </c:pt>
                <c:pt idx="1829">
                  <c:v>2.0204183339432764</c:v>
                </c:pt>
                <c:pt idx="1830">
                  <c:v>2.0321777398855079</c:v>
                </c:pt>
                <c:pt idx="1831">
                  <c:v>2.1301946548608179</c:v>
                </c:pt>
                <c:pt idx="1832">
                  <c:v>2.0843328503808989</c:v>
                </c:pt>
                <c:pt idx="1833">
                  <c:v>2.0600923817294232</c:v>
                </c:pt>
                <c:pt idx="1834">
                  <c:v>2.0292719663942553</c:v>
                </c:pt>
                <c:pt idx="1835">
                  <c:v>2.0827340982981757</c:v>
                </c:pt>
                <c:pt idx="1836">
                  <c:v>2.085466452362382</c:v>
                </c:pt>
                <c:pt idx="1837">
                  <c:v>2.0818922383509686</c:v>
                </c:pt>
                <c:pt idx="1838">
                  <c:v>2.001177671701142</c:v>
                </c:pt>
                <c:pt idx="1839">
                  <c:v>2.0051227260159115</c:v>
                </c:pt>
                <c:pt idx="1840">
                  <c:v>1.9747663404472779</c:v>
                </c:pt>
                <c:pt idx="1841">
                  <c:v>2.0387968743783231</c:v>
                </c:pt>
                <c:pt idx="1842">
                  <c:v>2.0336094974470309</c:v>
                </c:pt>
                <c:pt idx="1843">
                  <c:v>2.0612257658107827</c:v>
                </c:pt>
                <c:pt idx="1844">
                  <c:v>2.0362893701937477</c:v>
                </c:pt>
                <c:pt idx="1845">
                  <c:v>2.0067820792676034</c:v>
                </c:pt>
                <c:pt idx="1846">
                  <c:v>1.9026483320377661</c:v>
                </c:pt>
                <c:pt idx="1847">
                  <c:v>1.898377662781094</c:v>
                </c:pt>
                <c:pt idx="1848">
                  <c:v>1.9144452952353441</c:v>
                </c:pt>
                <c:pt idx="1849">
                  <c:v>1.962755810926496</c:v>
                </c:pt>
                <c:pt idx="1850">
                  <c:v>1.9813972883324202</c:v>
                </c:pt>
                <c:pt idx="1851">
                  <c:v>1.964678020088285</c:v>
                </c:pt>
                <c:pt idx="1852">
                  <c:v>1.9980060355695406</c:v>
                </c:pt>
                <c:pt idx="1853">
                  <c:v>1.9583053918118849</c:v>
                </c:pt>
                <c:pt idx="1854">
                  <c:v>1.9636054991962677</c:v>
                </c:pt>
                <c:pt idx="1855">
                  <c:v>1.9312851314482709</c:v>
                </c:pt>
                <c:pt idx="1856">
                  <c:v>1.9863052556047489</c:v>
                </c:pt>
                <c:pt idx="1857">
                  <c:v>1.9996203686437035</c:v>
                </c:pt>
                <c:pt idx="1858">
                  <c:v>1.932331937339818</c:v>
                </c:pt>
                <c:pt idx="1859">
                  <c:v>1.9475700175132973</c:v>
                </c:pt>
                <c:pt idx="1860">
                  <c:v>1.9531983888083422</c:v>
                </c:pt>
                <c:pt idx="1861">
                  <c:v>1.9101130766062635</c:v>
                </c:pt>
                <c:pt idx="1862">
                  <c:v>1.92910827202178</c:v>
                </c:pt>
                <c:pt idx="1863">
                  <c:v>2.1139191842332474</c:v>
                </c:pt>
                <c:pt idx="1864">
                  <c:v>2.1139924307669995</c:v>
                </c:pt>
                <c:pt idx="1865">
                  <c:v>1.9737431955441589</c:v>
                </c:pt>
                <c:pt idx="1866">
                  <c:v>1.9978109992761375</c:v>
                </c:pt>
                <c:pt idx="1867">
                  <c:v>2.1153412411578354</c:v>
                </c:pt>
                <c:pt idx="1868">
                  <c:v>2.1527814425955838</c:v>
                </c:pt>
                <c:pt idx="1869">
                  <c:v>2.196760484399543</c:v>
                </c:pt>
                <c:pt idx="1870">
                  <c:v>2.2094320122289148</c:v>
                </c:pt>
                <c:pt idx="1871">
                  <c:v>2.1898125917194031</c:v>
                </c:pt>
                <c:pt idx="1872">
                  <c:v>2.1899364811755477</c:v>
                </c:pt>
                <c:pt idx="1873">
                  <c:v>2.2563313282806887</c:v>
                </c:pt>
                <c:pt idx="1874">
                  <c:v>2.2527421412436266</c:v>
                </c:pt>
                <c:pt idx="1875">
                  <c:v>2.2458012922954915</c:v>
                </c:pt>
                <c:pt idx="1876">
                  <c:v>2.3502458897691398</c:v>
                </c:pt>
                <c:pt idx="1877">
                  <c:v>2.3476077372432287</c:v>
                </c:pt>
                <c:pt idx="1878">
                  <c:v>2.3095903655198944</c:v>
                </c:pt>
                <c:pt idx="1879">
                  <c:v>2.2478306990773635</c:v>
                </c:pt>
                <c:pt idx="1880">
                  <c:v>2.1936180393571987</c:v>
                </c:pt>
                <c:pt idx="1881">
                  <c:v>2.0874944631893739</c:v>
                </c:pt>
                <c:pt idx="1882">
                  <c:v>1.9673791683985318</c:v>
                </c:pt>
                <c:pt idx="1883">
                  <c:v>1.8974182636560719</c:v>
                </c:pt>
                <c:pt idx="1884">
                  <c:v>1.6164243212123766</c:v>
                </c:pt>
                <c:pt idx="1885">
                  <c:v>1.6205224169881882</c:v>
                </c:pt>
                <c:pt idx="1886">
                  <c:v>1.6798091872802479</c:v>
                </c:pt>
                <c:pt idx="1887">
                  <c:v>1.6844856137806874</c:v>
                </c:pt>
                <c:pt idx="1888">
                  <c:v>1.6189877414962213</c:v>
                </c:pt>
                <c:pt idx="1889">
                  <c:v>1.6457988751649031</c:v>
                </c:pt>
                <c:pt idx="1890">
                  <c:v>1.6616808487459911</c:v>
                </c:pt>
                <c:pt idx="1891">
                  <c:v>1.6763974319824202</c:v>
                </c:pt>
                <c:pt idx="1892">
                  <c:v>1.7698783205343478</c:v>
                </c:pt>
                <c:pt idx="1893">
                  <c:v>1.7285884006434775</c:v>
                </c:pt>
                <c:pt idx="1894">
                  <c:v>1.6917684134586177</c:v>
                </c:pt>
                <c:pt idx="1895">
                  <c:v>1.6600130129585711</c:v>
                </c:pt>
                <c:pt idx="1896">
                  <c:v>1.6674270897549084</c:v>
                </c:pt>
                <c:pt idx="1897">
                  <c:v>1.6545126134970285</c:v>
                </c:pt>
                <c:pt idx="1898">
                  <c:v>1.7434685889407815</c:v>
                </c:pt>
                <c:pt idx="1899">
                  <c:v>1.8354545273403187</c:v>
                </c:pt>
                <c:pt idx="1900">
                  <c:v>1.9772472283634295</c:v>
                </c:pt>
                <c:pt idx="1901">
                  <c:v>1.9750552309224827</c:v>
                </c:pt>
                <c:pt idx="1902">
                  <c:v>2.2693621900638226</c:v>
                </c:pt>
                <c:pt idx="1903">
                  <c:v>2.2141907840893382</c:v>
                </c:pt>
                <c:pt idx="1904">
                  <c:v>2.2723873518003086</c:v>
                </c:pt>
                <c:pt idx="1905">
                  <c:v>2.4093154604442697</c:v>
                </c:pt>
                <c:pt idx="1906">
                  <c:v>2.5009211564079763</c:v>
                </c:pt>
                <c:pt idx="1907">
                  <c:v>2.556129355720596</c:v>
                </c:pt>
                <c:pt idx="1908">
                  <c:v>2.5346655963993432</c:v>
                </c:pt>
                <c:pt idx="1909">
                  <c:v>2.4638389024774074</c:v>
                </c:pt>
                <c:pt idx="1910">
                  <c:v>2.4098370327795831</c:v>
                </c:pt>
                <c:pt idx="1911">
                  <c:v>2.570042833726538</c:v>
                </c:pt>
                <c:pt idx="1912">
                  <c:v>2.5611227737574302</c:v>
                </c:pt>
                <c:pt idx="1913">
                  <c:v>2.5595585523486486</c:v>
                </c:pt>
                <c:pt idx="1914">
                  <c:v>2.4573880362821301</c:v>
                </c:pt>
                <c:pt idx="1915">
                  <c:v>2.56901915312798</c:v>
                </c:pt>
                <c:pt idx="1916">
                  <c:v>2.5560315404313156</c:v>
                </c:pt>
                <c:pt idx="1917">
                  <c:v>2.6395077277651757</c:v>
                </c:pt>
                <c:pt idx="1918">
                  <c:v>2.6139315902499618</c:v>
                </c:pt>
                <c:pt idx="1919">
                  <c:v>2.4870053844481621</c:v>
                </c:pt>
                <c:pt idx="1920">
                  <c:v>2.4907554735292909</c:v>
                </c:pt>
                <c:pt idx="1921">
                  <c:v>2.4080644093705255</c:v>
                </c:pt>
                <c:pt idx="1922">
                  <c:v>2.4488171091691955</c:v>
                </c:pt>
                <c:pt idx="1923">
                  <c:v>2.4720379056273694</c:v>
                </c:pt>
                <c:pt idx="1924">
                  <c:v>2.3596130858035909</c:v>
                </c:pt>
                <c:pt idx="1925">
                  <c:v>2.3111744851292491</c:v>
                </c:pt>
                <c:pt idx="1926">
                  <c:v>2.190349482159065</c:v>
                </c:pt>
                <c:pt idx="1927">
                  <c:v>2.1725827699922009</c:v>
                </c:pt>
                <c:pt idx="1928">
                  <c:v>2.2243487086636042</c:v>
                </c:pt>
                <c:pt idx="1929">
                  <c:v>2.2649509596931141</c:v>
                </c:pt>
                <c:pt idx="1930">
                  <c:v>2.3000662882142189</c:v>
                </c:pt>
                <c:pt idx="1931">
                  <c:v>2.2525865356304213</c:v>
                </c:pt>
                <c:pt idx="1932">
                  <c:v>2.1697686251689037</c:v>
                </c:pt>
                <c:pt idx="1933">
                  <c:v>2.1960543043051111</c:v>
                </c:pt>
                <c:pt idx="1934">
                  <c:v>2.2582694999105546</c:v>
                </c:pt>
                <c:pt idx="1935">
                  <c:v>2.2882803248848362</c:v>
                </c:pt>
                <c:pt idx="1936">
                  <c:v>2.3222218570944104</c:v>
                </c:pt>
                <c:pt idx="1937">
                  <c:v>2.3147327385257008</c:v>
                </c:pt>
                <c:pt idx="1938">
                  <c:v>2.3156544503423486</c:v>
                </c:pt>
                <c:pt idx="1939">
                  <c:v>2.369867279488461</c:v>
                </c:pt>
                <c:pt idx="1940">
                  <c:v>2.31500456349477</c:v>
                </c:pt>
                <c:pt idx="1941">
                  <c:v>2.3117892066521017</c:v>
                </c:pt>
                <c:pt idx="1942">
                  <c:v>2.3033448611007641</c:v>
                </c:pt>
                <c:pt idx="1943">
                  <c:v>2.3208322586834558</c:v>
                </c:pt>
                <c:pt idx="1944">
                  <c:v>2.3264810565708598</c:v>
                </c:pt>
                <c:pt idx="1945">
                  <c:v>2.28444926928786</c:v>
                </c:pt>
                <c:pt idx="1946">
                  <c:v>2.23500829706833</c:v>
                </c:pt>
                <c:pt idx="1947">
                  <c:v>2.1970191469230338</c:v>
                </c:pt>
                <c:pt idx="1948">
                  <c:v>2.0969150940275916</c:v>
                </c:pt>
                <c:pt idx="1949">
                  <c:v>2.0924360423299837</c:v>
                </c:pt>
                <c:pt idx="1950">
                  <c:v>2.0525281151160577</c:v>
                </c:pt>
                <c:pt idx="1951">
                  <c:v>2.0102996879036978</c:v>
                </c:pt>
                <c:pt idx="1952">
                  <c:v>2.0755471294979917</c:v>
                </c:pt>
                <c:pt idx="1953">
                  <c:v>2.0382693724745344</c:v>
                </c:pt>
                <c:pt idx="1954">
                  <c:v>2.0537801998139673</c:v>
                </c:pt>
                <c:pt idx="1955">
                  <c:v>1.9354987005706576</c:v>
                </c:pt>
                <c:pt idx="1956">
                  <c:v>2.0061992836426366</c:v>
                </c:pt>
                <c:pt idx="1957">
                  <c:v>2.0336832075374316</c:v>
                </c:pt>
                <c:pt idx="1958">
                  <c:v>1.960902253059291</c:v>
                </c:pt>
                <c:pt idx="1959">
                  <c:v>1.982237164879227</c:v>
                </c:pt>
                <c:pt idx="1960">
                  <c:v>2.0003314059993396</c:v>
                </c:pt>
                <c:pt idx="1961">
                  <c:v>2.0805736105397279</c:v>
                </c:pt>
                <c:pt idx="1962">
                  <c:v>2.0774446309221699</c:v>
                </c:pt>
                <c:pt idx="1963">
                  <c:v>2.0067847301038682</c:v>
                </c:pt>
                <c:pt idx="1964">
                  <c:v>2.0016233556181953</c:v>
                </c:pt>
                <c:pt idx="1965">
                  <c:v>1.980933530851682</c:v>
                </c:pt>
                <c:pt idx="1966">
                  <c:v>1.895938172040192</c:v>
                </c:pt>
                <c:pt idx="1967">
                  <c:v>1.8963611016753064</c:v>
                </c:pt>
                <c:pt idx="1968">
                  <c:v>1.9024425211578626</c:v>
                </c:pt>
                <c:pt idx="1969">
                  <c:v>1.9006961771973778</c:v>
                </c:pt>
                <c:pt idx="1970">
                  <c:v>1.8996331384259588</c:v>
                </c:pt>
                <c:pt idx="1971">
                  <c:v>1.9726816707864117</c:v>
                </c:pt>
                <c:pt idx="1972">
                  <c:v>1.9978314452221857</c:v>
                </c:pt>
                <c:pt idx="1973">
                  <c:v>1.9769797042031547</c:v>
                </c:pt>
                <c:pt idx="1974">
                  <c:v>1.9626787594982664</c:v>
                </c:pt>
                <c:pt idx="1975">
                  <c:v>2.0028084205180465</c:v>
                </c:pt>
                <c:pt idx="1976">
                  <c:v>2.0179290417541584</c:v>
                </c:pt>
                <c:pt idx="1977">
                  <c:v>1.9956674836340238</c:v>
                </c:pt>
                <c:pt idx="1978">
                  <c:v>1.9957878128737498</c:v>
                </c:pt>
                <c:pt idx="1979">
                  <c:v>2.0519096101806853</c:v>
                </c:pt>
                <c:pt idx="1980">
                  <c:v>2.0491222197268653</c:v>
                </c:pt>
                <c:pt idx="1981">
                  <c:v>2.055516087381692</c:v>
                </c:pt>
                <c:pt idx="1982">
                  <c:v>1.9512408213369543</c:v>
                </c:pt>
                <c:pt idx="1983">
                  <c:v>1.8735332187508926</c:v>
                </c:pt>
                <c:pt idx="1984">
                  <c:v>1.9618704083584488</c:v>
                </c:pt>
                <c:pt idx="1985">
                  <c:v>1.9951213413985989</c:v>
                </c:pt>
                <c:pt idx="1986">
                  <c:v>1.8706454833976158</c:v>
                </c:pt>
                <c:pt idx="1987">
                  <c:v>1.811381640702991</c:v>
                </c:pt>
                <c:pt idx="1988">
                  <c:v>1.8427461839934944</c:v>
                </c:pt>
                <c:pt idx="1989">
                  <c:v>1.8805863236448774</c:v>
                </c:pt>
                <c:pt idx="1990">
                  <c:v>1.876782797665056</c:v>
                </c:pt>
                <c:pt idx="1991">
                  <c:v>1.8776572254320927</c:v>
                </c:pt>
                <c:pt idx="1992">
                  <c:v>1.9425216419974773</c:v>
                </c:pt>
                <c:pt idx="1993">
                  <c:v>1.9474667081293966</c:v>
                </c:pt>
                <c:pt idx="1994">
                  <c:v>1.8841556112078777</c:v>
                </c:pt>
                <c:pt idx="1995">
                  <c:v>1.8675915416972662</c:v>
                </c:pt>
                <c:pt idx="1996">
                  <c:v>1.9066238724645146</c:v>
                </c:pt>
                <c:pt idx="1997">
                  <c:v>1.9136210370771478</c:v>
                </c:pt>
                <c:pt idx="1998">
                  <c:v>1.9977184668667056</c:v>
                </c:pt>
                <c:pt idx="1999">
                  <c:v>1.9974654786899295</c:v>
                </c:pt>
                <c:pt idx="2000">
                  <c:v>1.973852059811724</c:v>
                </c:pt>
                <c:pt idx="2001">
                  <c:v>1.8582404234286716</c:v>
                </c:pt>
                <c:pt idx="2002">
                  <c:v>1.8685605613126017</c:v>
                </c:pt>
                <c:pt idx="2003">
                  <c:v>1.8654940406173879</c:v>
                </c:pt>
                <c:pt idx="2004">
                  <c:v>1.9519802855671233</c:v>
                </c:pt>
                <c:pt idx="2005">
                  <c:v>2.0347535245272672</c:v>
                </c:pt>
                <c:pt idx="2006">
                  <c:v>2.0663650545837675</c:v>
                </c:pt>
                <c:pt idx="2007">
                  <c:v>2.081409157958765</c:v>
                </c:pt>
                <c:pt idx="2008">
                  <c:v>2.1134790224692082</c:v>
                </c:pt>
                <c:pt idx="2009">
                  <c:v>2.0405726951275058</c:v>
                </c:pt>
                <c:pt idx="2010">
                  <c:v>2.0598551708272805</c:v>
                </c:pt>
                <c:pt idx="2011">
                  <c:v>2.0690253656522324</c:v>
                </c:pt>
                <c:pt idx="2012">
                  <c:v>2.1038059392532014</c:v>
                </c:pt>
                <c:pt idx="2013">
                  <c:v>2.1688784700397217</c:v>
                </c:pt>
                <c:pt idx="2014">
                  <c:v>2.1314264299734309</c:v>
                </c:pt>
                <c:pt idx="2015">
                  <c:v>2.1385198660828126</c:v>
                </c:pt>
                <c:pt idx="2016">
                  <c:v>2.226187994230481</c:v>
                </c:pt>
                <c:pt idx="2017">
                  <c:v>2.2489849520026954</c:v>
                </c:pt>
                <c:pt idx="2018">
                  <c:v>2.2382652838646577</c:v>
                </c:pt>
                <c:pt idx="2019">
                  <c:v>2.2768176357790431</c:v>
                </c:pt>
                <c:pt idx="2020">
                  <c:v>2.3024914950200133</c:v>
                </c:pt>
                <c:pt idx="2021">
                  <c:v>2.3019422992349989</c:v>
                </c:pt>
                <c:pt idx="2022">
                  <c:v>2.3360831955422148</c:v>
                </c:pt>
                <c:pt idx="2023">
                  <c:v>2.3541644471306857</c:v>
                </c:pt>
                <c:pt idx="2024">
                  <c:v>2.3383391052336435</c:v>
                </c:pt>
                <c:pt idx="2025">
                  <c:v>2.3632473757564316</c:v>
                </c:pt>
                <c:pt idx="2026">
                  <c:v>2.2417969695118658</c:v>
                </c:pt>
                <c:pt idx="2027">
                  <c:v>2.275987296168148</c:v>
                </c:pt>
                <c:pt idx="2028">
                  <c:v>2.2308479185371834</c:v>
                </c:pt>
                <c:pt idx="2029">
                  <c:v>2.2562978998319734</c:v>
                </c:pt>
                <c:pt idx="2030">
                  <c:v>2.2929221057493656</c:v>
                </c:pt>
                <c:pt idx="2031">
                  <c:v>2.295493000702125</c:v>
                </c:pt>
                <c:pt idx="2032">
                  <c:v>2.3385672412209555</c:v>
                </c:pt>
                <c:pt idx="2033">
                  <c:v>2.3134825235799497</c:v>
                </c:pt>
                <c:pt idx="2034">
                  <c:v>2.1943236181909938</c:v>
                </c:pt>
                <c:pt idx="2035">
                  <c:v>2.1498074079617151</c:v>
                </c:pt>
                <c:pt idx="2036">
                  <c:v>2.1646539233259663</c:v>
                </c:pt>
                <c:pt idx="2037">
                  <c:v>2.2207412816513319</c:v>
                </c:pt>
                <c:pt idx="2038">
                  <c:v>2.1791178866551366</c:v>
                </c:pt>
                <c:pt idx="2039">
                  <c:v>2.3096874306620427</c:v>
                </c:pt>
                <c:pt idx="2040">
                  <c:v>2.3137703430422789</c:v>
                </c:pt>
                <c:pt idx="2041">
                  <c:v>2.2965323002432627</c:v>
                </c:pt>
                <c:pt idx="2042">
                  <c:v>2.1899403851411399</c:v>
                </c:pt>
                <c:pt idx="2043">
                  <c:v>2.0807252792837145</c:v>
                </c:pt>
                <c:pt idx="2044">
                  <c:v>2.0631748387189628</c:v>
                </c:pt>
                <c:pt idx="2045">
                  <c:v>1.9875172339858849</c:v>
                </c:pt>
                <c:pt idx="2046">
                  <c:v>1.9934914520682014</c:v>
                </c:pt>
                <c:pt idx="2047">
                  <c:v>2.0103858765572293</c:v>
                </c:pt>
                <c:pt idx="2048">
                  <c:v>2.0188416178848509</c:v>
                </c:pt>
                <c:pt idx="2049">
                  <c:v>1.998853665969931</c:v>
                </c:pt>
                <c:pt idx="2050">
                  <c:v>2.06479112780056</c:v>
                </c:pt>
                <c:pt idx="2051">
                  <c:v>2.1407245559376427</c:v>
                </c:pt>
                <c:pt idx="2052">
                  <c:v>2.0944782585296986</c:v>
                </c:pt>
                <c:pt idx="2053">
                  <c:v>2.1665628286200542</c:v>
                </c:pt>
                <c:pt idx="2054">
                  <c:v>2.1736602098957372</c:v>
                </c:pt>
                <c:pt idx="2055">
                  <c:v>2.1462811223200382</c:v>
                </c:pt>
                <c:pt idx="2056">
                  <c:v>2.1636468129319266</c:v>
                </c:pt>
                <c:pt idx="2057">
                  <c:v>2.1598079104254522</c:v>
                </c:pt>
                <c:pt idx="2058">
                  <c:v>2.2259443290814476</c:v>
                </c:pt>
                <c:pt idx="2059">
                  <c:v>2.1754163306471357</c:v>
                </c:pt>
                <c:pt idx="2060">
                  <c:v>2.1569150891086086</c:v>
                </c:pt>
                <c:pt idx="2061">
                  <c:v>2.1541213996580395</c:v>
                </c:pt>
                <c:pt idx="2062">
                  <c:v>2.0938726896149591</c:v>
                </c:pt>
                <c:pt idx="2063">
                  <c:v>2.0810287662002245</c:v>
                </c:pt>
                <c:pt idx="2064">
                  <c:v>2.1083499581259075</c:v>
                </c:pt>
                <c:pt idx="2065">
                  <c:v>2.1104395212672551</c:v>
                </c:pt>
                <c:pt idx="2066">
                  <c:v>2.2201465338371111</c:v>
                </c:pt>
                <c:pt idx="2067">
                  <c:v>2.1631370216619801</c:v>
                </c:pt>
                <c:pt idx="2068">
                  <c:v>2.1463031635529632</c:v>
                </c:pt>
                <c:pt idx="2069">
                  <c:v>2.0330755099745068</c:v>
                </c:pt>
                <c:pt idx="2070">
                  <c:v>2.0596637774241362</c:v>
                </c:pt>
                <c:pt idx="2071">
                  <c:v>2.0624545154473499</c:v>
                </c:pt>
                <c:pt idx="2072">
                  <c:v>2.0147333260820428</c:v>
                </c:pt>
                <c:pt idx="2073">
                  <c:v>2.0472263080052602</c:v>
                </c:pt>
                <c:pt idx="2074">
                  <c:v>2.0568328598863168</c:v>
                </c:pt>
                <c:pt idx="2075">
                  <c:v>2.0656960614973836</c:v>
                </c:pt>
                <c:pt idx="2076">
                  <c:v>1.9749568224294736</c:v>
                </c:pt>
                <c:pt idx="2077">
                  <c:v>1.9590608094820365</c:v>
                </c:pt>
                <c:pt idx="2078">
                  <c:v>1.8526435224507225</c:v>
                </c:pt>
                <c:pt idx="2079">
                  <c:v>1.8635452739163032</c:v>
                </c:pt>
                <c:pt idx="2080">
                  <c:v>1.8252307455845556</c:v>
                </c:pt>
                <c:pt idx="2081">
                  <c:v>1.843273466496576</c:v>
                </c:pt>
                <c:pt idx="2082">
                  <c:v>1.8955373989895292</c:v>
                </c:pt>
                <c:pt idx="2083">
                  <c:v>1.9449636584172685</c:v>
                </c:pt>
                <c:pt idx="2084">
                  <c:v>1.9547630313152902</c:v>
                </c:pt>
                <c:pt idx="2085">
                  <c:v>1.9894961180755677</c:v>
                </c:pt>
                <c:pt idx="2086">
                  <c:v>1.9904206803232576</c:v>
                </c:pt>
                <c:pt idx="2087">
                  <c:v>1.9515803126513687</c:v>
                </c:pt>
                <c:pt idx="2088">
                  <c:v>1.8486579565036887</c:v>
                </c:pt>
                <c:pt idx="2089">
                  <c:v>1.821199272501129</c:v>
                </c:pt>
                <c:pt idx="2090">
                  <c:v>1.8102707725040657</c:v>
                </c:pt>
                <c:pt idx="2091">
                  <c:v>1.8828867883989295</c:v>
                </c:pt>
                <c:pt idx="2092">
                  <c:v>1.8975704544796408</c:v>
                </c:pt>
                <c:pt idx="2093">
                  <c:v>1.9050513065712322</c:v>
                </c:pt>
                <c:pt idx="2094">
                  <c:v>1.9290616881958971</c:v>
                </c:pt>
                <c:pt idx="2095">
                  <c:v>1.9221240942074527</c:v>
                </c:pt>
                <c:pt idx="2096">
                  <c:v>1.8252369909535708</c:v>
                </c:pt>
                <c:pt idx="2097">
                  <c:v>1.8684788120688915</c:v>
                </c:pt>
                <c:pt idx="2098">
                  <c:v>1.8683898396109606</c:v>
                </c:pt>
                <c:pt idx="2099">
                  <c:v>1.8842246814877808</c:v>
                </c:pt>
                <c:pt idx="2100">
                  <c:v>1.8799715824834131</c:v>
                </c:pt>
                <c:pt idx="2101">
                  <c:v>1.8686866352245517</c:v>
                </c:pt>
                <c:pt idx="2102">
                  <c:v>1.8686410869216532</c:v>
                </c:pt>
                <c:pt idx="2103">
                  <c:v>1.8247505167997193</c:v>
                </c:pt>
                <c:pt idx="2104">
                  <c:v>1.9097236350101712</c:v>
                </c:pt>
                <c:pt idx="2105">
                  <c:v>1.8871384517438452</c:v>
                </c:pt>
                <c:pt idx="2106">
                  <c:v>1.889449239541017</c:v>
                </c:pt>
                <c:pt idx="2107">
                  <c:v>1.9152028351786938</c:v>
                </c:pt>
                <c:pt idx="2108">
                  <c:v>1.9859838497403888</c:v>
                </c:pt>
                <c:pt idx="2109">
                  <c:v>1.976608339116728</c:v>
                </c:pt>
                <c:pt idx="2110">
                  <c:v>2.0113665792916611</c:v>
                </c:pt>
                <c:pt idx="2111">
                  <c:v>2.0104354900603298</c:v>
                </c:pt>
                <c:pt idx="2112">
                  <c:v>1.9720618228622648</c:v>
                </c:pt>
                <c:pt idx="2113">
                  <c:v>1.8584808778068556</c:v>
                </c:pt>
                <c:pt idx="2114">
                  <c:v>1.9091879360326514</c:v>
                </c:pt>
                <c:pt idx="2115">
                  <c:v>1.9437114624022271</c:v>
                </c:pt>
                <c:pt idx="2116">
                  <c:v>1.9357151302427589</c:v>
                </c:pt>
                <c:pt idx="2117">
                  <c:v>2.0307600352796831</c:v>
                </c:pt>
                <c:pt idx="2118">
                  <c:v>2.0286468392699835</c:v>
                </c:pt>
                <c:pt idx="2119">
                  <c:v>2.0286468392699835</c:v>
                </c:pt>
                <c:pt idx="2120">
                  <c:v>2.0671725234857092</c:v>
                </c:pt>
                <c:pt idx="2121">
                  <c:v>2.0747857750040621</c:v>
                </c:pt>
                <c:pt idx="2122">
                  <c:v>2.0964040285354568</c:v>
                </c:pt>
                <c:pt idx="2123">
                  <c:v>2.1624835579065134</c:v>
                </c:pt>
                <c:pt idx="2124">
                  <c:v>2.0932308221997693</c:v>
                </c:pt>
                <c:pt idx="2125">
                  <c:v>2.092287855805063</c:v>
                </c:pt>
                <c:pt idx="2126">
                  <c:v>2.0567050171793468</c:v>
                </c:pt>
                <c:pt idx="2127">
                  <c:v>2.0467774660744831</c:v>
                </c:pt>
                <c:pt idx="2128">
                  <c:v>2.0535034022483378</c:v>
                </c:pt>
                <c:pt idx="2129">
                  <c:v>2.066770758891987</c:v>
                </c:pt>
                <c:pt idx="2130">
                  <c:v>2.1035631809922726</c:v>
                </c:pt>
                <c:pt idx="2131">
                  <c:v>2.1735249035419599</c:v>
                </c:pt>
                <c:pt idx="2132">
                  <c:v>2.175810345642994</c:v>
                </c:pt>
                <c:pt idx="2133">
                  <c:v>2.1933430376962768</c:v>
                </c:pt>
                <c:pt idx="2134">
                  <c:v>2.1587415105289689</c:v>
                </c:pt>
                <c:pt idx="2135">
                  <c:v>2.1955624217651808</c:v>
                </c:pt>
                <c:pt idx="2136">
                  <c:v>2.1816562113338138</c:v>
                </c:pt>
                <c:pt idx="2137">
                  <c:v>2.1441754506701143</c:v>
                </c:pt>
                <c:pt idx="2138">
                  <c:v>2.1366627327923808</c:v>
                </c:pt>
                <c:pt idx="2139">
                  <c:v>2.0820083142700589</c:v>
                </c:pt>
                <c:pt idx="2140">
                  <c:v>2.0740885372105229</c:v>
                </c:pt>
                <c:pt idx="2141">
                  <c:v>2.044074537377139</c:v>
                </c:pt>
                <c:pt idx="2142">
                  <c:v>2.065273679661082</c:v>
                </c:pt>
                <c:pt idx="2143">
                  <c:v>2.1300597092490809</c:v>
                </c:pt>
                <c:pt idx="2144">
                  <c:v>2.1396401207002094</c:v>
                </c:pt>
                <c:pt idx="2145">
                  <c:v>2.1143957355456853</c:v>
                </c:pt>
                <c:pt idx="2146">
                  <c:v>2.0921486489759724</c:v>
                </c:pt>
                <c:pt idx="2147">
                  <c:v>2.0293730773121412</c:v>
                </c:pt>
                <c:pt idx="2148">
                  <c:v>2.0340658218098833</c:v>
                </c:pt>
                <c:pt idx="2149">
                  <c:v>2.1243783505017548</c:v>
                </c:pt>
                <c:pt idx="2150">
                  <c:v>2.1890472367431215</c:v>
                </c:pt>
                <c:pt idx="2151">
                  <c:v>2.1778092741421951</c:v>
                </c:pt>
                <c:pt idx="2152">
                  <c:v>2.1806994693764143</c:v>
                </c:pt>
                <c:pt idx="2153">
                  <c:v>2.1766631018495186</c:v>
                </c:pt>
                <c:pt idx="2154">
                  <c:v>2.1764466270058604</c:v>
                </c:pt>
                <c:pt idx="2155">
                  <c:v>2.1767317931972081</c:v>
                </c:pt>
                <c:pt idx="2156">
                  <c:v>2.21620207317476</c:v>
                </c:pt>
                <c:pt idx="2157">
                  <c:v>2.2678643899982318</c:v>
                </c:pt>
                <c:pt idx="2158">
                  <c:v>2.3094030511672421</c:v>
                </c:pt>
                <c:pt idx="2159">
                  <c:v>2.2865377677675416</c:v>
                </c:pt>
                <c:pt idx="2160">
                  <c:v>2.2790995307020685</c:v>
                </c:pt>
                <c:pt idx="2161">
                  <c:v>2.2497488328616329</c:v>
                </c:pt>
                <c:pt idx="2162">
                  <c:v>2.3007485534377921</c:v>
                </c:pt>
                <c:pt idx="2163">
                  <c:v>2.3094820261327231</c:v>
                </c:pt>
                <c:pt idx="2164">
                  <c:v>2.2668824320777063</c:v>
                </c:pt>
                <c:pt idx="2165">
                  <c:v>2.2197811867718809</c:v>
                </c:pt>
                <c:pt idx="2166">
                  <c:v>2.2198517961274358</c:v>
                </c:pt>
                <c:pt idx="2167">
                  <c:v>2.2213020861890258</c:v>
                </c:pt>
                <c:pt idx="2168">
                  <c:v>2.1997504111554016</c:v>
                </c:pt>
                <c:pt idx="2169">
                  <c:v>2.2372067291364286</c:v>
                </c:pt>
                <c:pt idx="2170">
                  <c:v>2.2638614954372565</c:v>
                </c:pt>
                <c:pt idx="2171">
                  <c:v>2.2763228402472366</c:v>
                </c:pt>
                <c:pt idx="2172">
                  <c:v>2.3741098235265934</c:v>
                </c:pt>
                <c:pt idx="2173">
                  <c:v>2.3419097089404364</c:v>
                </c:pt>
                <c:pt idx="2174">
                  <c:v>2.3165820283557568</c:v>
                </c:pt>
                <c:pt idx="2175">
                  <c:v>2.2590040014484005</c:v>
                </c:pt>
                <c:pt idx="2176">
                  <c:v>2.2653485234604327</c:v>
                </c:pt>
                <c:pt idx="2177">
                  <c:v>2.2757639065622985</c:v>
                </c:pt>
                <c:pt idx="2178">
                  <c:v>2.3272498692712351</c:v>
                </c:pt>
                <c:pt idx="2179">
                  <c:v>2.2995779821897191</c:v>
                </c:pt>
                <c:pt idx="2180">
                  <c:v>2.2141876951232686</c:v>
                </c:pt>
                <c:pt idx="2181">
                  <c:v>2.20140986112321</c:v>
                </c:pt>
                <c:pt idx="2182">
                  <c:v>2.1846425467113142</c:v>
                </c:pt>
                <c:pt idx="2183">
                  <c:v>2.1883192070258222</c:v>
                </c:pt>
                <c:pt idx="2184">
                  <c:v>2.1868372260622251</c:v>
                </c:pt>
                <c:pt idx="2185">
                  <c:v>2.3008823234000246</c:v>
                </c:pt>
                <c:pt idx="2186">
                  <c:v>2.2882638025739155</c:v>
                </c:pt>
                <c:pt idx="2187">
                  <c:v>2.1622842029337104</c:v>
                </c:pt>
                <c:pt idx="2188">
                  <c:v>2.1640535059714932</c:v>
                </c:pt>
                <c:pt idx="2189">
                  <c:v>2.1650069857644452</c:v>
                </c:pt>
                <c:pt idx="2190">
                  <c:v>2.1324032300834146</c:v>
                </c:pt>
                <c:pt idx="2191">
                  <c:v>2.8180649181943269</c:v>
                </c:pt>
                <c:pt idx="2192">
                  <c:v>2.8540879106717929</c:v>
                </c:pt>
                <c:pt idx="2193">
                  <c:v>3.0229585395616039</c:v>
                </c:pt>
                <c:pt idx="2194">
                  <c:v>3.2350263166329096</c:v>
                </c:pt>
                <c:pt idx="2195">
                  <c:v>3.2589738294166533</c:v>
                </c:pt>
                <c:pt idx="2196">
                  <c:v>3.2540803973549712</c:v>
                </c:pt>
                <c:pt idx="2197">
                  <c:v>3.3906781614603809</c:v>
                </c:pt>
                <c:pt idx="2198">
                  <c:v>3.528179708662289</c:v>
                </c:pt>
                <c:pt idx="2199">
                  <c:v>3.5004346376168205</c:v>
                </c:pt>
                <c:pt idx="2200">
                  <c:v>3.6415503240008165</c:v>
                </c:pt>
                <c:pt idx="2201">
                  <c:v>4.10181229017563</c:v>
                </c:pt>
                <c:pt idx="2202">
                  <c:v>4.3676237877201798</c:v>
                </c:pt>
                <c:pt idx="2203">
                  <c:v>4.515962842536938</c:v>
                </c:pt>
                <c:pt idx="2204">
                  <c:v>4.5134534547244725</c:v>
                </c:pt>
                <c:pt idx="2205">
                  <c:v>4.589033313265575</c:v>
                </c:pt>
                <c:pt idx="2206">
                  <c:v>4.5813378196053023</c:v>
                </c:pt>
                <c:pt idx="2207">
                  <c:v>4.7822883781367089</c:v>
                </c:pt>
                <c:pt idx="2208">
                  <c:v>5.0559630932610622</c:v>
                </c:pt>
                <c:pt idx="2209">
                  <c:v>5.0116989002551469</c:v>
                </c:pt>
                <c:pt idx="2210">
                  <c:v>5.158400991436082</c:v>
                </c:pt>
                <c:pt idx="2211">
                  <c:v>5.4081228992540389</c:v>
                </c:pt>
                <c:pt idx="2212">
                  <c:v>5.4711194033223984</c:v>
                </c:pt>
                <c:pt idx="2213">
                  <c:v>5.5852428066361988</c:v>
                </c:pt>
                <c:pt idx="2214">
                  <c:v>5.9256891230933686</c:v>
                </c:pt>
                <c:pt idx="2215">
                  <c:v>6.2345804470254622</c:v>
                </c:pt>
                <c:pt idx="2216">
                  <c:v>6.2559681317984417</c:v>
                </c:pt>
                <c:pt idx="2217">
                  <c:v>6.4345592521220905</c:v>
                </c:pt>
                <c:pt idx="2218">
                  <c:v>6.4355399174185939</c:v>
                </c:pt>
                <c:pt idx="2219">
                  <c:v>6.5177650999385222</c:v>
                </c:pt>
                <c:pt idx="2220">
                  <c:v>6.7017176793497866</c:v>
                </c:pt>
                <c:pt idx="2221">
                  <c:v>6.5931845313666742</c:v>
                </c:pt>
                <c:pt idx="2222">
                  <c:v>6.4540925856992617</c:v>
                </c:pt>
                <c:pt idx="2223">
                  <c:v>6.7194836434856899</c:v>
                </c:pt>
                <c:pt idx="2224">
                  <c:v>6.7363346292122834</c:v>
                </c:pt>
                <c:pt idx="2225">
                  <c:v>6.9193715516169885</c:v>
                </c:pt>
                <c:pt idx="2226">
                  <c:v>6.9168669874315256</c:v>
                </c:pt>
                <c:pt idx="2227">
                  <c:v>6.8255813278848168</c:v>
                </c:pt>
                <c:pt idx="2228">
                  <c:v>6.693763191190147</c:v>
                </c:pt>
                <c:pt idx="2229">
                  <c:v>6.7579899409644915</c:v>
                </c:pt>
                <c:pt idx="2230">
                  <c:v>6.798785535188693</c:v>
                </c:pt>
                <c:pt idx="2231">
                  <c:v>6.7138011913357687</c:v>
                </c:pt>
                <c:pt idx="2232">
                  <c:v>6.8201463139933143</c:v>
                </c:pt>
                <c:pt idx="2233">
                  <c:v>6.6403047515104632</c:v>
                </c:pt>
                <c:pt idx="2234">
                  <c:v>6.6887034663667082</c:v>
                </c:pt>
                <c:pt idx="2235">
                  <c:v>6.5954550243517236</c:v>
                </c:pt>
                <c:pt idx="2236">
                  <c:v>6.6094682380978726</c:v>
                </c:pt>
                <c:pt idx="2237">
                  <c:v>6.6013749931459706</c:v>
                </c:pt>
                <c:pt idx="2238">
                  <c:v>6.5603927992926385</c:v>
                </c:pt>
                <c:pt idx="2239">
                  <c:v>6.5980000769683205</c:v>
                </c:pt>
                <c:pt idx="2240">
                  <c:v>6.6010776313657145</c:v>
                </c:pt>
                <c:pt idx="2241">
                  <c:v>6.1562195414444263</c:v>
                </c:pt>
                <c:pt idx="2242">
                  <c:v>6.1620982413007823</c:v>
                </c:pt>
                <c:pt idx="2243">
                  <c:v>13.804215416183176</c:v>
                </c:pt>
                <c:pt idx="2244">
                  <c:v>18.410737994095275</c:v>
                </c:pt>
                <c:pt idx="2245">
                  <c:v>21.86385487717672</c:v>
                </c:pt>
                <c:pt idx="2246">
                  <c:v>24.617191698114919</c:v>
                </c:pt>
                <c:pt idx="2247">
                  <c:v>26.932859740274562</c:v>
                </c:pt>
                <c:pt idx="2248">
                  <c:v>28.732852096314367</c:v>
                </c:pt>
                <c:pt idx="2249">
                  <c:v>30.379354856249055</c:v>
                </c:pt>
                <c:pt idx="2250">
                  <c:v>31.818909775222433</c:v>
                </c:pt>
                <c:pt idx="2251">
                  <c:v>32.840490505805725</c:v>
                </c:pt>
                <c:pt idx="2252">
                  <c:v>33.634492088349234</c:v>
                </c:pt>
                <c:pt idx="2253">
                  <c:v>33.915092344607167</c:v>
                </c:pt>
                <c:pt idx="2254">
                  <c:v>33.977544319761115</c:v>
                </c:pt>
                <c:pt idx="2255">
                  <c:v>33.853991355414891</c:v>
                </c:pt>
                <c:pt idx="2256">
                  <c:v>33.775707470355343</c:v>
                </c:pt>
                <c:pt idx="2257">
                  <c:v>33.813832491860396</c:v>
                </c:pt>
                <c:pt idx="2258">
                  <c:v>33.725361861333319</c:v>
                </c:pt>
                <c:pt idx="2259">
                  <c:v>34.18087142133561</c:v>
                </c:pt>
                <c:pt idx="2260">
                  <c:v>34.592669071510272</c:v>
                </c:pt>
                <c:pt idx="2261">
                  <c:v>34.88653313754989</c:v>
                </c:pt>
                <c:pt idx="2262">
                  <c:v>35.366721378949286</c:v>
                </c:pt>
                <c:pt idx="2263">
                  <c:v>35.846069104944156</c:v>
                </c:pt>
                <c:pt idx="2264">
                  <c:v>36.132396212351559</c:v>
                </c:pt>
                <c:pt idx="2265">
                  <c:v>36.708872042006021</c:v>
                </c:pt>
                <c:pt idx="2266">
                  <c:v>37.000003830561624</c:v>
                </c:pt>
                <c:pt idx="2267">
                  <c:v>37.225328498076195</c:v>
                </c:pt>
                <c:pt idx="2268">
                  <c:v>37.565696209180523</c:v>
                </c:pt>
                <c:pt idx="2269">
                  <c:v>37.884744172032306</c:v>
                </c:pt>
                <c:pt idx="2270">
                  <c:v>38.258184088607315</c:v>
                </c:pt>
                <c:pt idx="2271">
                  <c:v>38.737927606451912</c:v>
                </c:pt>
                <c:pt idx="2272">
                  <c:v>39.145379968391708</c:v>
                </c:pt>
                <c:pt idx="2273">
                  <c:v>39.14246257168228</c:v>
                </c:pt>
                <c:pt idx="2274">
                  <c:v>38.988232976499567</c:v>
                </c:pt>
                <c:pt idx="2275">
                  <c:v>38.737139382149927</c:v>
                </c:pt>
                <c:pt idx="2276">
                  <c:v>38.25119479566991</c:v>
                </c:pt>
                <c:pt idx="2277">
                  <c:v>37.584304699204125</c:v>
                </c:pt>
                <c:pt idx="2278">
                  <c:v>36.766108299400315</c:v>
                </c:pt>
                <c:pt idx="2279">
                  <c:v>35.689118693552054</c:v>
                </c:pt>
                <c:pt idx="2280">
                  <c:v>34.423860144388641</c:v>
                </c:pt>
                <c:pt idx="2281">
                  <c:v>32.937789088420111</c:v>
                </c:pt>
                <c:pt idx="2282">
                  <c:v>31.183718096823657</c:v>
                </c:pt>
                <c:pt idx="2283">
                  <c:v>29.017499749737865</c:v>
                </c:pt>
                <c:pt idx="2284">
                  <c:v>26.447222806683826</c:v>
                </c:pt>
                <c:pt idx="2285">
                  <c:v>23.326793820944431</c:v>
                </c:pt>
                <c:pt idx="2286">
                  <c:v>19.418407592643312</c:v>
                </c:pt>
                <c:pt idx="2287">
                  <c:v>14.055336214728294</c:v>
                </c:pt>
                <c:pt idx="2288">
                  <c:v>2.0259683917536599</c:v>
                </c:pt>
                <c:pt idx="2289">
                  <c:v>2.0097345503467392</c:v>
                </c:pt>
                <c:pt idx="2290">
                  <c:v>2.0194761775118684</c:v>
                </c:pt>
                <c:pt idx="2291">
                  <c:v>2.0481103390351172</c:v>
                </c:pt>
                <c:pt idx="2292">
                  <c:v>2.069453224554215</c:v>
                </c:pt>
                <c:pt idx="2293">
                  <c:v>2.0649891303086703</c:v>
                </c:pt>
                <c:pt idx="2294">
                  <c:v>2.0588857530991413</c:v>
                </c:pt>
                <c:pt idx="2295">
                  <c:v>2.0134485619498066</c:v>
                </c:pt>
                <c:pt idx="2296">
                  <c:v>2.0117561766801071</c:v>
                </c:pt>
                <c:pt idx="2297">
                  <c:v>2.0789567061475585</c:v>
                </c:pt>
                <c:pt idx="2298">
                  <c:v>2.1251863948560281</c:v>
                </c:pt>
                <c:pt idx="2299">
                  <c:v>2.1593447246730668</c:v>
                </c:pt>
                <c:pt idx="2300">
                  <c:v>2.1338420833481608</c:v>
                </c:pt>
                <c:pt idx="2301">
                  <c:v>2.0628413716415293</c:v>
                </c:pt>
                <c:pt idx="2302">
                  <c:v>1.9674740933415074</c:v>
                </c:pt>
                <c:pt idx="2303">
                  <c:v>1.9461120579531812</c:v>
                </c:pt>
                <c:pt idx="2304">
                  <c:v>2.0360707544268686</c:v>
                </c:pt>
                <c:pt idx="2305">
                  <c:v>2.0611143266453253</c:v>
                </c:pt>
                <c:pt idx="2306">
                  <c:v>2.1356317472840676</c:v>
                </c:pt>
                <c:pt idx="2307">
                  <c:v>2.2111027557757743</c:v>
                </c:pt>
                <c:pt idx="2308">
                  <c:v>2.2903454216908434</c:v>
                </c:pt>
                <c:pt idx="2309">
                  <c:v>2.2516185031922142</c:v>
                </c:pt>
                <c:pt idx="2310">
                  <c:v>2.3202673430802498</c:v>
                </c:pt>
                <c:pt idx="2311">
                  <c:v>2.3389889254766514</c:v>
                </c:pt>
                <c:pt idx="2312">
                  <c:v>2.3742970741613685</c:v>
                </c:pt>
                <c:pt idx="2313">
                  <c:v>2.3246782167920022</c:v>
                </c:pt>
                <c:pt idx="2314">
                  <c:v>2.3192583399977038</c:v>
                </c:pt>
                <c:pt idx="2315">
                  <c:v>2.2283819130510873</c:v>
                </c:pt>
                <c:pt idx="2316">
                  <c:v>2.3026691406851865</c:v>
                </c:pt>
                <c:pt idx="2317">
                  <c:v>2.2911429447244114</c:v>
                </c:pt>
                <c:pt idx="2318">
                  <c:v>2.285197637331243</c:v>
                </c:pt>
                <c:pt idx="2319">
                  <c:v>2.3035226883861086</c:v>
                </c:pt>
                <c:pt idx="2320">
                  <c:v>2.3099360797855373</c:v>
                </c:pt>
                <c:pt idx="2321">
                  <c:v>2.3006606078363432</c:v>
                </c:pt>
                <c:pt idx="2322">
                  <c:v>2.2830660556825877</c:v>
                </c:pt>
                <c:pt idx="2323">
                  <c:v>2.2808774241246388</c:v>
                </c:pt>
                <c:pt idx="2324">
                  <c:v>2.2561564339113258</c:v>
                </c:pt>
                <c:pt idx="2325">
                  <c:v>2.2326642355438797</c:v>
                </c:pt>
                <c:pt idx="2326">
                  <c:v>2.3087941951392494</c:v>
                </c:pt>
                <c:pt idx="2327">
                  <c:v>2.2363085006498644</c:v>
                </c:pt>
                <c:pt idx="2328">
                  <c:v>2.1697856995452738</c:v>
                </c:pt>
                <c:pt idx="2329">
                  <c:v>2.1522231751845045</c:v>
                </c:pt>
                <c:pt idx="2330">
                  <c:v>2.1887753932388914</c:v>
                </c:pt>
                <c:pt idx="2331">
                  <c:v>2.1787529844622409</c:v>
                </c:pt>
                <c:pt idx="2332">
                  <c:v>2.1822922682421884</c:v>
                </c:pt>
                <c:pt idx="2333">
                  <c:v>2.2267511811261098</c:v>
                </c:pt>
                <c:pt idx="2334">
                  <c:v>2.1485560176447662</c:v>
                </c:pt>
                <c:pt idx="2335">
                  <c:v>2.1602166454230729</c:v>
                </c:pt>
                <c:pt idx="2336">
                  <c:v>2.0664729008225002</c:v>
                </c:pt>
                <c:pt idx="2337">
                  <c:v>2.1055991164994912</c:v>
                </c:pt>
                <c:pt idx="2338">
                  <c:v>2.1117804348276077</c:v>
                </c:pt>
                <c:pt idx="2339">
                  <c:v>2.1530408001232453</c:v>
                </c:pt>
                <c:pt idx="2340">
                  <c:v>2.1307671644348929</c:v>
                </c:pt>
                <c:pt idx="2341">
                  <c:v>2.1350349143947116</c:v>
                </c:pt>
                <c:pt idx="2342">
                  <c:v>2.0939264040777394</c:v>
                </c:pt>
                <c:pt idx="2343">
                  <c:v>2.1344136145798744</c:v>
                </c:pt>
                <c:pt idx="2344">
                  <c:v>2.1727488270770605</c:v>
                </c:pt>
                <c:pt idx="2345">
                  <c:v>2.1816872130667098</c:v>
                </c:pt>
                <c:pt idx="2346">
                  <c:v>2.17202443129481</c:v>
                </c:pt>
                <c:pt idx="2347">
                  <c:v>2.2470828222878967</c:v>
                </c:pt>
                <c:pt idx="2348">
                  <c:v>2.2775133722186052</c:v>
                </c:pt>
                <c:pt idx="2349">
                  <c:v>2.2432267196390305</c:v>
                </c:pt>
                <c:pt idx="2350">
                  <c:v>2.2321135205226574</c:v>
                </c:pt>
                <c:pt idx="2351">
                  <c:v>2.2271395264373175</c:v>
                </c:pt>
                <c:pt idx="2352">
                  <c:v>2.1969714120989243</c:v>
                </c:pt>
                <c:pt idx="2353">
                  <c:v>2.1734451842275733</c:v>
                </c:pt>
                <c:pt idx="2354">
                  <c:v>2.2338310880443846</c:v>
                </c:pt>
                <c:pt idx="2355">
                  <c:v>2.2308939065550724</c:v>
                </c:pt>
                <c:pt idx="2356">
                  <c:v>2.1167059765417533</c:v>
                </c:pt>
                <c:pt idx="2357">
                  <c:v>2.1523633514302882</c:v>
                </c:pt>
                <c:pt idx="2358">
                  <c:v>2.1373884467009772</c:v>
                </c:pt>
                <c:pt idx="2359">
                  <c:v>2.1537716690480093</c:v>
                </c:pt>
                <c:pt idx="2360">
                  <c:v>2.1282982997015694</c:v>
                </c:pt>
                <c:pt idx="2361">
                  <c:v>2.1251519763042945</c:v>
                </c:pt>
                <c:pt idx="2362">
                  <c:v>2.1204909357699311</c:v>
                </c:pt>
                <c:pt idx="2363">
                  <c:v>2.0777332351866593</c:v>
                </c:pt>
                <c:pt idx="2364">
                  <c:v>2.1877280635364169</c:v>
                </c:pt>
                <c:pt idx="2365">
                  <c:v>2.1599105632209237</c:v>
                </c:pt>
                <c:pt idx="2366">
                  <c:v>2.1408661062757921</c:v>
                </c:pt>
                <c:pt idx="2367">
                  <c:v>2.0787919305613802</c:v>
                </c:pt>
                <c:pt idx="2368">
                  <c:v>2.0976771114253623</c:v>
                </c:pt>
                <c:pt idx="2369">
                  <c:v>2.0588363843511845</c:v>
                </c:pt>
                <c:pt idx="2370">
                  <c:v>2.0781227325122207</c:v>
                </c:pt>
                <c:pt idx="2371">
                  <c:v>2.0283433827887465</c:v>
                </c:pt>
                <c:pt idx="2372">
                  <c:v>2.0053527685716004</c:v>
                </c:pt>
                <c:pt idx="2373">
                  <c:v>1.9649765154764789</c:v>
                </c:pt>
                <c:pt idx="2374">
                  <c:v>1.8938844046353571</c:v>
                </c:pt>
                <c:pt idx="2375">
                  <c:v>1.91704825192012</c:v>
                </c:pt>
                <c:pt idx="2376">
                  <c:v>1.8441943800914116</c:v>
                </c:pt>
                <c:pt idx="2377">
                  <c:v>1.7744244481414408</c:v>
                </c:pt>
                <c:pt idx="2378">
                  <c:v>1.7093358947561843</c:v>
                </c:pt>
                <c:pt idx="2379">
                  <c:v>1.7504482727304138</c:v>
                </c:pt>
                <c:pt idx="2380">
                  <c:v>1.7704218323396297</c:v>
                </c:pt>
                <c:pt idx="2381">
                  <c:v>1.6884168327634392</c:v>
                </c:pt>
                <c:pt idx="2382">
                  <c:v>1.6943988213585428</c:v>
                </c:pt>
                <c:pt idx="2383">
                  <c:v>1.6962376014491489</c:v>
                </c:pt>
                <c:pt idx="2384">
                  <c:v>1.6270352943774158</c:v>
                </c:pt>
                <c:pt idx="2385">
                  <c:v>1.6477496593441943</c:v>
                </c:pt>
                <c:pt idx="2386">
                  <c:v>1.5657744610166304</c:v>
                </c:pt>
                <c:pt idx="2387">
                  <c:v>1.5536656905492674</c:v>
                </c:pt>
                <c:pt idx="2388">
                  <c:v>1.5761074685887018</c:v>
                </c:pt>
                <c:pt idx="2389">
                  <c:v>1.5601556603206332</c:v>
                </c:pt>
                <c:pt idx="2390">
                  <c:v>1.5479340856458721</c:v>
                </c:pt>
                <c:pt idx="2391">
                  <c:v>1.5657158190862328</c:v>
                </c:pt>
                <c:pt idx="2392">
                  <c:v>1.5691458581141864</c:v>
                </c:pt>
                <c:pt idx="2393">
                  <c:v>1.5963987868546208</c:v>
                </c:pt>
                <c:pt idx="2394">
                  <c:v>1.5179745262778566</c:v>
                </c:pt>
                <c:pt idx="2395">
                  <c:v>1.5428944928211921</c:v>
                </c:pt>
                <c:pt idx="2396">
                  <c:v>1.5753483303572955</c:v>
                </c:pt>
                <c:pt idx="2397">
                  <c:v>1.5690940026925095</c:v>
                </c:pt>
                <c:pt idx="2398">
                  <c:v>1.4505740746851299</c:v>
                </c:pt>
                <c:pt idx="2399">
                  <c:v>1.4851938815524623</c:v>
                </c:pt>
                <c:pt idx="2400">
                  <c:v>1.3743727265463883</c:v>
                </c:pt>
                <c:pt idx="2401">
                  <c:v>1.4113961353195745</c:v>
                </c:pt>
                <c:pt idx="2402">
                  <c:v>1.4482920388682989</c:v>
                </c:pt>
                <c:pt idx="2403">
                  <c:v>1.4928601750290116</c:v>
                </c:pt>
                <c:pt idx="2404">
                  <c:v>1.4830683516066234</c:v>
                </c:pt>
                <c:pt idx="2405">
                  <c:v>1.4129919467700967</c:v>
                </c:pt>
                <c:pt idx="2406">
                  <c:v>1.447789003242937</c:v>
                </c:pt>
                <c:pt idx="2407">
                  <c:v>1.388004493447049</c:v>
                </c:pt>
                <c:pt idx="2408">
                  <c:v>1.4491731020445606</c:v>
                </c:pt>
                <c:pt idx="2409">
                  <c:v>1.3845297449226237</c:v>
                </c:pt>
                <c:pt idx="2410">
                  <c:v>1.239947272198648</c:v>
                </c:pt>
                <c:pt idx="2411">
                  <c:v>1.3147604501666101</c:v>
                </c:pt>
                <c:pt idx="2412">
                  <c:v>1.3891806593702467</c:v>
                </c:pt>
                <c:pt idx="2413">
                  <c:v>1.4974621059500599</c:v>
                </c:pt>
                <c:pt idx="2414">
                  <c:v>1.6321325771245687</c:v>
                </c:pt>
                <c:pt idx="2415">
                  <c:v>1.4966298227839341</c:v>
                </c:pt>
                <c:pt idx="2416">
                  <c:v>1.6961713490031158</c:v>
                </c:pt>
                <c:pt idx="2417">
                  <c:v>2.0003580946638095</c:v>
                </c:pt>
                <c:pt idx="2418">
                  <c:v>1.1699403106904707</c:v>
                </c:pt>
              </c:numCache>
            </c:numRef>
          </c:val>
          <c:smooth val="0"/>
          <c:extLst>
            <c:ext xmlns:c16="http://schemas.microsoft.com/office/drawing/2014/chart" uri="{C3380CC4-5D6E-409C-BE32-E72D297353CC}">
              <c16:uniqueId val="{00000002-E215-044C-B3CE-16D2B7E29BDB}"/>
            </c:ext>
          </c:extLst>
        </c:ser>
        <c:ser>
          <c:idx val="2"/>
          <c:order val="2"/>
          <c:tx>
            <c:strRef>
              <c:f>'Data Preparation'!$J$1</c:f>
              <c:strCache>
                <c:ptCount val="1"/>
                <c:pt idx="0">
                  <c:v>PUMP FAILURE (1 or 0)</c:v>
                </c:pt>
              </c:strCache>
            </c:strRef>
          </c:tx>
          <c:spPr>
            <a:ln w="28575" cap="rnd">
              <a:solidFill>
                <a:schemeClr val="accent3"/>
              </a:solidFill>
              <a:round/>
            </a:ln>
            <a:effectLst/>
          </c:spPr>
          <c:marker>
            <c:symbol val="none"/>
          </c:marker>
          <c:val>
            <c:numRef>
              <c:f>'Data Preparation'!$J$2:$J$2420</c:f>
              <c:numCache>
                <c:formatCode>#,##0.00</c:formatCode>
                <c:ptCount val="2419"/>
                <c:pt idx="0" formatCode="0.0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1</c:v>
                </c:pt>
                <c:pt idx="2221">
                  <c:v>1</c:v>
                </c:pt>
                <c:pt idx="2222">
                  <c:v>1</c:v>
                </c:pt>
                <c:pt idx="2223">
                  <c:v>1</c:v>
                </c:pt>
                <c:pt idx="2224">
                  <c:v>1</c:v>
                </c:pt>
                <c:pt idx="2225">
                  <c:v>1</c:v>
                </c:pt>
                <c:pt idx="2226">
                  <c:v>1</c:v>
                </c:pt>
                <c:pt idx="2227">
                  <c:v>1</c:v>
                </c:pt>
                <c:pt idx="2228">
                  <c:v>1</c:v>
                </c:pt>
                <c:pt idx="2229">
                  <c:v>1</c:v>
                </c:pt>
                <c:pt idx="2230">
                  <c:v>1</c:v>
                </c:pt>
                <c:pt idx="2231">
                  <c:v>1</c:v>
                </c:pt>
                <c:pt idx="2232">
                  <c:v>1</c:v>
                </c:pt>
                <c:pt idx="2233">
                  <c:v>1</c:v>
                </c:pt>
                <c:pt idx="2234">
                  <c:v>1</c:v>
                </c:pt>
                <c:pt idx="2235">
                  <c:v>1</c:v>
                </c:pt>
                <c:pt idx="2236">
                  <c:v>1</c:v>
                </c:pt>
                <c:pt idx="2237">
                  <c:v>1</c:v>
                </c:pt>
                <c:pt idx="2238">
                  <c:v>1</c:v>
                </c:pt>
                <c:pt idx="2239">
                  <c:v>1</c:v>
                </c:pt>
                <c:pt idx="2240">
                  <c:v>1</c:v>
                </c:pt>
                <c:pt idx="2241">
                  <c:v>1</c:v>
                </c:pt>
                <c:pt idx="2242">
                  <c:v>1</c:v>
                </c:pt>
                <c:pt idx="2243">
                  <c:v>1</c:v>
                </c:pt>
                <c:pt idx="2244">
                  <c:v>1</c:v>
                </c:pt>
                <c:pt idx="2245">
                  <c:v>1</c:v>
                </c:pt>
                <c:pt idx="2246">
                  <c:v>1</c:v>
                </c:pt>
                <c:pt idx="2247">
                  <c:v>1</c:v>
                </c:pt>
                <c:pt idx="2248">
                  <c:v>1</c:v>
                </c:pt>
                <c:pt idx="2249">
                  <c:v>1</c:v>
                </c:pt>
                <c:pt idx="2250">
                  <c:v>1</c:v>
                </c:pt>
                <c:pt idx="2251">
                  <c:v>1</c:v>
                </c:pt>
                <c:pt idx="2252">
                  <c:v>1</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0</c:v>
                </c:pt>
                <c:pt idx="2273">
                  <c:v>0</c:v>
                </c:pt>
                <c:pt idx="2274">
                  <c:v>0</c:v>
                </c:pt>
                <c:pt idx="2275">
                  <c:v>0</c:v>
                </c:pt>
                <c:pt idx="2276">
                  <c:v>0</c:v>
                </c:pt>
                <c:pt idx="2277">
                  <c:v>0</c:v>
                </c:pt>
                <c:pt idx="2278">
                  <c:v>0</c:v>
                </c:pt>
                <c:pt idx="2279">
                  <c:v>0</c:v>
                </c:pt>
                <c:pt idx="2280">
                  <c:v>0</c:v>
                </c:pt>
                <c:pt idx="2281">
                  <c:v>0</c:v>
                </c:pt>
                <c:pt idx="2282">
                  <c:v>0</c:v>
                </c:pt>
                <c:pt idx="2283">
                  <c:v>0</c:v>
                </c:pt>
                <c:pt idx="2284">
                  <c:v>0</c:v>
                </c:pt>
                <c:pt idx="2285">
                  <c:v>0</c:v>
                </c:pt>
                <c:pt idx="2286">
                  <c:v>0</c:v>
                </c:pt>
                <c:pt idx="2287">
                  <c:v>0</c:v>
                </c:pt>
                <c:pt idx="2288">
                  <c:v>0</c:v>
                </c:pt>
                <c:pt idx="2289">
                  <c:v>0</c:v>
                </c:pt>
                <c:pt idx="2290">
                  <c:v>0</c:v>
                </c:pt>
                <c:pt idx="2291">
                  <c:v>0</c:v>
                </c:pt>
                <c:pt idx="2292">
                  <c:v>0</c:v>
                </c:pt>
                <c:pt idx="2293">
                  <c:v>0</c:v>
                </c:pt>
                <c:pt idx="2294">
                  <c:v>0</c:v>
                </c:pt>
                <c:pt idx="2295">
                  <c:v>0</c:v>
                </c:pt>
                <c:pt idx="2296">
                  <c:v>0</c:v>
                </c:pt>
                <c:pt idx="2297">
                  <c:v>0</c:v>
                </c:pt>
                <c:pt idx="2298">
                  <c:v>0</c:v>
                </c:pt>
                <c:pt idx="2299">
                  <c:v>0</c:v>
                </c:pt>
                <c:pt idx="2300">
                  <c:v>0</c:v>
                </c:pt>
                <c:pt idx="2301">
                  <c:v>0</c:v>
                </c:pt>
                <c:pt idx="2302">
                  <c:v>0</c:v>
                </c:pt>
                <c:pt idx="2303">
                  <c:v>0</c:v>
                </c:pt>
                <c:pt idx="2304">
                  <c:v>0</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numCache>
            </c:numRef>
          </c:val>
          <c:smooth val="0"/>
          <c:extLst>
            <c:ext xmlns:c16="http://schemas.microsoft.com/office/drawing/2014/chart" uri="{C3380CC4-5D6E-409C-BE32-E72D297353CC}">
              <c16:uniqueId val="{00000003-E215-044C-B3CE-16D2B7E29BDB}"/>
            </c:ext>
          </c:extLst>
        </c:ser>
        <c:dLbls>
          <c:showLegendKey val="0"/>
          <c:showVal val="0"/>
          <c:showCatName val="0"/>
          <c:showSerName val="0"/>
          <c:showPercent val="0"/>
          <c:showBubbleSize val="0"/>
        </c:dLbls>
        <c:marker val="1"/>
        <c:smooth val="0"/>
        <c:axId val="575824816"/>
        <c:axId val="575697696"/>
      </c:lineChart>
      <c:catAx>
        <c:axId val="566764688"/>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513678256"/>
        <c:crosses val="autoZero"/>
        <c:auto val="1"/>
        <c:lblAlgn val="ctr"/>
        <c:lblOffset val="100"/>
        <c:noMultiLvlLbl val="0"/>
      </c:catAx>
      <c:valAx>
        <c:axId val="513678256"/>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566764688"/>
        <c:crosses val="autoZero"/>
        <c:crossBetween val="between"/>
      </c:valAx>
      <c:valAx>
        <c:axId val="575697696"/>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575824816"/>
        <c:crosses val="max"/>
        <c:crossBetween val="between"/>
      </c:valAx>
      <c:catAx>
        <c:axId val="575824816"/>
        <c:scaling>
          <c:orientation val="minMax"/>
        </c:scaling>
        <c:delete val="1"/>
        <c:axPos val="b"/>
        <c:majorTickMark val="out"/>
        <c:minorTickMark val="none"/>
        <c:tickLblPos val="nextTo"/>
        <c:crossAx val="575697696"/>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dirty="0"/>
              <a:t>Rolling </a:t>
            </a:r>
            <a:r>
              <a:rPr lang="en-US" b="1" dirty="0" err="1"/>
              <a:t>Stdev</a:t>
            </a:r>
            <a:endParaRPr lang="en-US" b="1" dirty="0"/>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RT Rolling Stdev'!$C$1</c:f>
              <c:strCache>
                <c:ptCount val="1"/>
                <c:pt idx="0">
                  <c:v>Volumetric Flow Meter 1</c:v>
                </c:pt>
              </c:strCache>
            </c:strRef>
          </c:tx>
          <c:spPr>
            <a:ln w="28575" cap="rnd">
              <a:solidFill>
                <a:schemeClr val="accent1"/>
              </a:solidFill>
              <a:round/>
            </a:ln>
            <a:effectLst/>
          </c:spPr>
          <c:marker>
            <c:symbol val="none"/>
          </c:marker>
          <c:cat>
            <c:numRef>
              <c:f>'DRT Rolling Stdev'!$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C$2:$C$2453</c:f>
              <c:numCache>
                <c:formatCode>#,##0.00</c:formatCode>
                <c:ptCount val="2452"/>
                <c:pt idx="0">
                  <c:v>1.035714479361286</c:v>
                </c:pt>
                <c:pt idx="1">
                  <c:v>1.0632503300577032</c:v>
                </c:pt>
                <c:pt idx="2">
                  <c:v>1.0588301938036824</c:v>
                </c:pt>
                <c:pt idx="3">
                  <c:v>1.0622622249156548</c:v>
                </c:pt>
                <c:pt idx="4">
                  <c:v>1.0743136809412184</c:v>
                </c:pt>
                <c:pt idx="5">
                  <c:v>1.0459997142919537</c:v>
                </c:pt>
                <c:pt idx="6">
                  <c:v>1.0955039254036067</c:v>
                </c:pt>
                <c:pt idx="7">
                  <c:v>1.0826218176260807</c:v>
                </c:pt>
                <c:pt idx="8">
                  <c:v>1.074511436694001</c:v>
                </c:pt>
                <c:pt idx="9">
                  <c:v>1.0586970955990593</c:v>
                </c:pt>
                <c:pt idx="10">
                  <c:v>1.0198510145869457</c:v>
                </c:pt>
                <c:pt idx="11">
                  <c:v>0.98293625335568902</c:v>
                </c:pt>
                <c:pt idx="12">
                  <c:v>1.0166716600593406</c:v>
                </c:pt>
                <c:pt idx="13">
                  <c:v>1.0142322842607512</c:v>
                </c:pt>
                <c:pt idx="14">
                  <c:v>0.99284225692021999</c:v>
                </c:pt>
                <c:pt idx="15">
                  <c:v>0.98532939821589893</c:v>
                </c:pt>
                <c:pt idx="16">
                  <c:v>0.96924760486690387</c:v>
                </c:pt>
                <c:pt idx="17">
                  <c:v>1.0048926287928965</c:v>
                </c:pt>
                <c:pt idx="18">
                  <c:v>1.0151014331288424</c:v>
                </c:pt>
                <c:pt idx="19">
                  <c:v>1.0095350016419589</c:v>
                </c:pt>
                <c:pt idx="20">
                  <c:v>1.0146923547128182</c:v>
                </c:pt>
                <c:pt idx="21">
                  <c:v>1.0681622417557379</c:v>
                </c:pt>
                <c:pt idx="22">
                  <c:v>1.0763241510627359</c:v>
                </c:pt>
                <c:pt idx="23">
                  <c:v>1.0423034283650847</c:v>
                </c:pt>
                <c:pt idx="24">
                  <c:v>1.0690268966434506</c:v>
                </c:pt>
                <c:pt idx="25">
                  <c:v>1.0957019478949053</c:v>
                </c:pt>
                <c:pt idx="26">
                  <c:v>1.1234862101369187</c:v>
                </c:pt>
                <c:pt idx="27">
                  <c:v>1.0895843877052545</c:v>
                </c:pt>
                <c:pt idx="28">
                  <c:v>1.1090298649627566</c:v>
                </c:pt>
                <c:pt idx="29">
                  <c:v>1.1045313667931231</c:v>
                </c:pt>
                <c:pt idx="30">
                  <c:v>1.1122327135970251</c:v>
                </c:pt>
                <c:pt idx="31">
                  <c:v>1.1191343124019575</c:v>
                </c:pt>
                <c:pt idx="32">
                  <c:v>1.1597939273952889</c:v>
                </c:pt>
                <c:pt idx="33">
                  <c:v>1.1594489872447984</c:v>
                </c:pt>
                <c:pt idx="34">
                  <c:v>1.1603785054291849</c:v>
                </c:pt>
                <c:pt idx="35">
                  <c:v>1.2071115424276537</c:v>
                </c:pt>
                <c:pt idx="36">
                  <c:v>1.1818575385296273</c:v>
                </c:pt>
                <c:pt idx="37">
                  <c:v>1.1862892981269675</c:v>
                </c:pt>
                <c:pt idx="38">
                  <c:v>1.2371978442218226</c:v>
                </c:pt>
                <c:pt idx="39">
                  <c:v>1.2466304469506457</c:v>
                </c:pt>
                <c:pt idx="40">
                  <c:v>1.2427914445765398</c:v>
                </c:pt>
                <c:pt idx="41">
                  <c:v>1.2342278054970515</c:v>
                </c:pt>
                <c:pt idx="42">
                  <c:v>1.182278192363341</c:v>
                </c:pt>
                <c:pt idx="43">
                  <c:v>1.1779126775198863</c:v>
                </c:pt>
                <c:pt idx="44">
                  <c:v>1.1732998950303197</c:v>
                </c:pt>
                <c:pt idx="45">
                  <c:v>1.2101192588706511</c:v>
                </c:pt>
                <c:pt idx="46">
                  <c:v>1.1845288116998782</c:v>
                </c:pt>
                <c:pt idx="47">
                  <c:v>1.1635223967831863</c:v>
                </c:pt>
                <c:pt idx="48">
                  <c:v>1.1621401185624789</c:v>
                </c:pt>
                <c:pt idx="49">
                  <c:v>1.1584857337931691</c:v>
                </c:pt>
                <c:pt idx="50">
                  <c:v>1.1613666147229744</c:v>
                </c:pt>
                <c:pt idx="51">
                  <c:v>1.1138170881015992</c:v>
                </c:pt>
                <c:pt idx="52">
                  <c:v>1.0915516742102795</c:v>
                </c:pt>
                <c:pt idx="53">
                  <c:v>1.0910644912826784</c:v>
                </c:pt>
                <c:pt idx="54">
                  <c:v>1.0676656241808433</c:v>
                </c:pt>
                <c:pt idx="55">
                  <c:v>1.1041291882600581</c:v>
                </c:pt>
                <c:pt idx="56">
                  <c:v>1.0767477639291552</c:v>
                </c:pt>
                <c:pt idx="57">
                  <c:v>1.0988586032265737</c:v>
                </c:pt>
                <c:pt idx="58">
                  <c:v>1.074979229951716</c:v>
                </c:pt>
                <c:pt idx="59">
                  <c:v>1.1171466115618562</c:v>
                </c:pt>
                <c:pt idx="60">
                  <c:v>1.1044647634909419</c:v>
                </c:pt>
                <c:pt idx="61">
                  <c:v>1.0934150340934627</c:v>
                </c:pt>
                <c:pt idx="62">
                  <c:v>1.0363985497978023</c:v>
                </c:pt>
                <c:pt idx="63">
                  <c:v>1.0676423698435056</c:v>
                </c:pt>
                <c:pt idx="64">
                  <c:v>1.0830718871079967</c:v>
                </c:pt>
                <c:pt idx="65">
                  <c:v>1.0356518853293353</c:v>
                </c:pt>
                <c:pt idx="66">
                  <c:v>1.0037882842214434</c:v>
                </c:pt>
                <c:pt idx="67">
                  <c:v>1.0150139572110981</c:v>
                </c:pt>
                <c:pt idx="68">
                  <c:v>0.99562283400201634</c:v>
                </c:pt>
                <c:pt idx="69">
                  <c:v>0.99760955668347828</c:v>
                </c:pt>
                <c:pt idx="70">
                  <c:v>1.0436424388792767</c:v>
                </c:pt>
                <c:pt idx="71">
                  <c:v>1.0804232886968976</c:v>
                </c:pt>
                <c:pt idx="72">
                  <c:v>1.092777963797275</c:v>
                </c:pt>
                <c:pt idx="73">
                  <c:v>1.0973575890114027</c:v>
                </c:pt>
                <c:pt idx="74">
                  <c:v>1.0868258116310934</c:v>
                </c:pt>
                <c:pt idx="75">
                  <c:v>1.0772688433810469</c:v>
                </c:pt>
                <c:pt idx="76">
                  <c:v>1.0778346214815917</c:v>
                </c:pt>
                <c:pt idx="77">
                  <c:v>1.0639499707363516</c:v>
                </c:pt>
                <c:pt idx="78">
                  <c:v>1.0429655442231924</c:v>
                </c:pt>
                <c:pt idx="79">
                  <c:v>1.0416391260727083</c:v>
                </c:pt>
                <c:pt idx="80">
                  <c:v>1.0455412171605707</c:v>
                </c:pt>
                <c:pt idx="81">
                  <c:v>1.1058743874959482</c:v>
                </c:pt>
                <c:pt idx="82">
                  <c:v>1.1279288312104891</c:v>
                </c:pt>
                <c:pt idx="83">
                  <c:v>1.1607278731047588</c:v>
                </c:pt>
                <c:pt idx="84">
                  <c:v>1.2079406337699887</c:v>
                </c:pt>
                <c:pt idx="85">
                  <c:v>1.1840948334963051</c:v>
                </c:pt>
                <c:pt idx="86">
                  <c:v>1.2006301027702742</c:v>
                </c:pt>
                <c:pt idx="87">
                  <c:v>1.19643358918635</c:v>
                </c:pt>
                <c:pt idx="88">
                  <c:v>1.2027919627878818</c:v>
                </c:pt>
                <c:pt idx="89">
                  <c:v>1.1814330378775197</c:v>
                </c:pt>
                <c:pt idx="90">
                  <c:v>1.184898511585958</c:v>
                </c:pt>
                <c:pt idx="91">
                  <c:v>1.1972835153345895</c:v>
                </c:pt>
                <c:pt idx="92">
                  <c:v>1.2335149757511243</c:v>
                </c:pt>
                <c:pt idx="93">
                  <c:v>1.2338997146231636</c:v>
                </c:pt>
                <c:pt idx="94">
                  <c:v>1.2290691740023247</c:v>
                </c:pt>
                <c:pt idx="95">
                  <c:v>1.2319755184908985</c:v>
                </c:pt>
                <c:pt idx="96">
                  <c:v>1.2579304295219351</c:v>
                </c:pt>
                <c:pt idx="97">
                  <c:v>1.2510615722142788</c:v>
                </c:pt>
                <c:pt idx="98">
                  <c:v>1.2155961594989122</c:v>
                </c:pt>
                <c:pt idx="99">
                  <c:v>1.2403461233652187</c:v>
                </c:pt>
                <c:pt idx="100">
                  <c:v>1.2531780290181409</c:v>
                </c:pt>
                <c:pt idx="101">
                  <c:v>1.2610880633200348</c:v>
                </c:pt>
                <c:pt idx="102">
                  <c:v>1.2897578851469955</c:v>
                </c:pt>
                <c:pt idx="103">
                  <c:v>1.313252564760707</c:v>
                </c:pt>
                <c:pt idx="104">
                  <c:v>1.3630056796501695</c:v>
                </c:pt>
                <c:pt idx="105">
                  <c:v>1.3183698136400279</c:v>
                </c:pt>
                <c:pt idx="106">
                  <c:v>1.3198068911341001</c:v>
                </c:pt>
                <c:pt idx="107">
                  <c:v>1.3235556430425908</c:v>
                </c:pt>
                <c:pt idx="108">
                  <c:v>1.319201953115386</c:v>
                </c:pt>
                <c:pt idx="109">
                  <c:v>1.3191000066659875</c:v>
                </c:pt>
                <c:pt idx="110">
                  <c:v>1.3224185871123524</c:v>
                </c:pt>
                <c:pt idx="111">
                  <c:v>1.2922887563873091</c:v>
                </c:pt>
                <c:pt idx="112">
                  <c:v>1.3106108078507415</c:v>
                </c:pt>
                <c:pt idx="113">
                  <c:v>1.2710216724958008</c:v>
                </c:pt>
                <c:pt idx="114">
                  <c:v>1.2341745345003663</c:v>
                </c:pt>
                <c:pt idx="115">
                  <c:v>1.2182454407971282</c:v>
                </c:pt>
                <c:pt idx="116">
                  <c:v>1.2116245387860494</c:v>
                </c:pt>
                <c:pt idx="117">
                  <c:v>1.2039324455023768</c:v>
                </c:pt>
                <c:pt idx="118">
                  <c:v>1.2005364701215682</c:v>
                </c:pt>
                <c:pt idx="119">
                  <c:v>1.2090182680231893</c:v>
                </c:pt>
                <c:pt idx="120">
                  <c:v>1.1980501399904071</c:v>
                </c:pt>
                <c:pt idx="121">
                  <c:v>1.1588988035120278</c:v>
                </c:pt>
                <c:pt idx="122">
                  <c:v>1.1450029363010086</c:v>
                </c:pt>
                <c:pt idx="123">
                  <c:v>1.1169056186265431</c:v>
                </c:pt>
                <c:pt idx="124">
                  <c:v>1.1333091106268782</c:v>
                </c:pt>
                <c:pt idx="125">
                  <c:v>1.123774683924623</c:v>
                </c:pt>
                <c:pt idx="126">
                  <c:v>1.0904781720319583</c:v>
                </c:pt>
                <c:pt idx="127">
                  <c:v>1.0920298509666753</c:v>
                </c:pt>
                <c:pt idx="128">
                  <c:v>1.097091295355509</c:v>
                </c:pt>
                <c:pt idx="129">
                  <c:v>1.1054290788087049</c:v>
                </c:pt>
                <c:pt idx="130">
                  <c:v>1.0807928124521722</c:v>
                </c:pt>
                <c:pt idx="131">
                  <c:v>1.0802620478171132</c:v>
                </c:pt>
                <c:pt idx="132">
                  <c:v>1.035176091411449</c:v>
                </c:pt>
                <c:pt idx="133">
                  <c:v>1.036841190912289</c:v>
                </c:pt>
                <c:pt idx="134">
                  <c:v>1.0536502505930099</c:v>
                </c:pt>
                <c:pt idx="135">
                  <c:v>1.0583173046120804</c:v>
                </c:pt>
                <c:pt idx="136">
                  <c:v>1.1080780191627859</c:v>
                </c:pt>
                <c:pt idx="137">
                  <c:v>1.1198113552131748</c:v>
                </c:pt>
                <c:pt idx="138">
                  <c:v>1.1195146731723866</c:v>
                </c:pt>
                <c:pt idx="139">
                  <c:v>1.133684664948869</c:v>
                </c:pt>
                <c:pt idx="140">
                  <c:v>1.137721053423157</c:v>
                </c:pt>
                <c:pt idx="141">
                  <c:v>1.137721053423157</c:v>
                </c:pt>
                <c:pt idx="142">
                  <c:v>1.093818630030728</c:v>
                </c:pt>
                <c:pt idx="143">
                  <c:v>1.1219469940559865</c:v>
                </c:pt>
                <c:pt idx="144">
                  <c:v>1.1243839181535364</c:v>
                </c:pt>
                <c:pt idx="145">
                  <c:v>1.1368774031904483</c:v>
                </c:pt>
                <c:pt idx="146">
                  <c:v>1.1904548053908475</c:v>
                </c:pt>
                <c:pt idx="147">
                  <c:v>1.1877133928049624</c:v>
                </c:pt>
                <c:pt idx="148">
                  <c:v>1.2335848609623097</c:v>
                </c:pt>
                <c:pt idx="149">
                  <c:v>1.2095474597845526</c:v>
                </c:pt>
                <c:pt idx="150">
                  <c:v>1.2332857244616591</c:v>
                </c:pt>
                <c:pt idx="151">
                  <c:v>1.2274281588172364</c:v>
                </c:pt>
                <c:pt idx="152">
                  <c:v>1.2167235067812334</c:v>
                </c:pt>
                <c:pt idx="153">
                  <c:v>1.2402217080254123</c:v>
                </c:pt>
                <c:pt idx="154">
                  <c:v>1.2399260267145527</c:v>
                </c:pt>
                <c:pt idx="155">
                  <c:v>1.2539501264166086</c:v>
                </c:pt>
                <c:pt idx="156">
                  <c:v>1.2462350196242804</c:v>
                </c:pt>
                <c:pt idx="157">
                  <c:v>1.2539138268068786</c:v>
                </c:pt>
                <c:pt idx="158">
                  <c:v>1.253946597334</c:v>
                </c:pt>
                <c:pt idx="159">
                  <c:v>1.2218230678766058</c:v>
                </c:pt>
                <c:pt idx="160">
                  <c:v>1.251946576290321</c:v>
                </c:pt>
                <c:pt idx="161">
                  <c:v>1.2652302048498398</c:v>
                </c:pt>
                <c:pt idx="162">
                  <c:v>1.2842368815043785</c:v>
                </c:pt>
                <c:pt idx="163">
                  <c:v>1.2763084789083448</c:v>
                </c:pt>
                <c:pt idx="164">
                  <c:v>1.2676422135639045</c:v>
                </c:pt>
                <c:pt idx="165">
                  <c:v>1.264386680632519</c:v>
                </c:pt>
                <c:pt idx="166">
                  <c:v>1.2176255865271215</c:v>
                </c:pt>
                <c:pt idx="167">
                  <c:v>1.211869269532313</c:v>
                </c:pt>
                <c:pt idx="168">
                  <c:v>1.2197454039981925</c:v>
                </c:pt>
                <c:pt idx="169">
                  <c:v>1.253958147021965</c:v>
                </c:pt>
                <c:pt idx="170">
                  <c:v>1.299717962332289</c:v>
                </c:pt>
                <c:pt idx="171">
                  <c:v>1.3258343718614318</c:v>
                </c:pt>
                <c:pt idx="172">
                  <c:v>1.334437071896077</c:v>
                </c:pt>
                <c:pt idx="173">
                  <c:v>1.296207553977567</c:v>
                </c:pt>
                <c:pt idx="174">
                  <c:v>1.2969597074537906</c:v>
                </c:pt>
                <c:pt idx="175">
                  <c:v>1.2747242658798768</c:v>
                </c:pt>
                <c:pt idx="176">
                  <c:v>1.2545122695624622</c:v>
                </c:pt>
                <c:pt idx="177">
                  <c:v>1.2971589202437062</c:v>
                </c:pt>
                <c:pt idx="178">
                  <c:v>1.2727568051507221</c:v>
                </c:pt>
                <c:pt idx="179">
                  <c:v>1.2710222603113204</c:v>
                </c:pt>
                <c:pt idx="180">
                  <c:v>1.2316618527583907</c:v>
                </c:pt>
                <c:pt idx="181">
                  <c:v>1.2885463608803265</c:v>
                </c:pt>
                <c:pt idx="182">
                  <c:v>1.2889192211386602</c:v>
                </c:pt>
                <c:pt idx="183">
                  <c:v>1.3030795090463789</c:v>
                </c:pt>
                <c:pt idx="184">
                  <c:v>1.3202317804169799</c:v>
                </c:pt>
                <c:pt idx="185">
                  <c:v>1.3122675382535467</c:v>
                </c:pt>
                <c:pt idx="186">
                  <c:v>1.3135817928232647</c:v>
                </c:pt>
                <c:pt idx="187">
                  <c:v>1.300599154589738</c:v>
                </c:pt>
                <c:pt idx="188">
                  <c:v>1.299269511828788</c:v>
                </c:pt>
                <c:pt idx="189">
                  <c:v>1.2784178889747186</c:v>
                </c:pt>
                <c:pt idx="190">
                  <c:v>1.2585834492994796</c:v>
                </c:pt>
                <c:pt idx="191">
                  <c:v>1.21702109465185</c:v>
                </c:pt>
                <c:pt idx="192">
                  <c:v>1.1633386358275892</c:v>
                </c:pt>
                <c:pt idx="193">
                  <c:v>1.1781066048595918</c:v>
                </c:pt>
                <c:pt idx="194">
                  <c:v>1.1800214297683937</c:v>
                </c:pt>
                <c:pt idx="195">
                  <c:v>1.1995342007840275</c:v>
                </c:pt>
                <c:pt idx="196">
                  <c:v>1.1939089185306921</c:v>
                </c:pt>
                <c:pt idx="197">
                  <c:v>1.185229790029096</c:v>
                </c:pt>
                <c:pt idx="198">
                  <c:v>1.1886523326086953</c:v>
                </c:pt>
                <c:pt idx="199">
                  <c:v>1.135874213936146</c:v>
                </c:pt>
                <c:pt idx="200">
                  <c:v>1.132624913818471</c:v>
                </c:pt>
                <c:pt idx="201">
                  <c:v>1.0946538843108271</c:v>
                </c:pt>
                <c:pt idx="202">
                  <c:v>1.0739761764518831</c:v>
                </c:pt>
                <c:pt idx="203">
                  <c:v>1.1185530472625023</c:v>
                </c:pt>
                <c:pt idx="204">
                  <c:v>1.1215127817105919</c:v>
                </c:pt>
                <c:pt idx="205">
                  <c:v>1.1251648155132496</c:v>
                </c:pt>
                <c:pt idx="206">
                  <c:v>1.1167345664722763</c:v>
                </c:pt>
                <c:pt idx="207">
                  <c:v>1.0728038781247673</c:v>
                </c:pt>
                <c:pt idx="208">
                  <c:v>1.0466052950745859</c:v>
                </c:pt>
                <c:pt idx="209">
                  <c:v>1.0872183212956446</c:v>
                </c:pt>
                <c:pt idx="210">
                  <c:v>1.0964404266513532</c:v>
                </c:pt>
                <c:pt idx="211">
                  <c:v>1.0251495545506528</c:v>
                </c:pt>
                <c:pt idx="212">
                  <c:v>1.0417946496090404</c:v>
                </c:pt>
                <c:pt idx="213">
                  <c:v>0.98297554371420159</c:v>
                </c:pt>
                <c:pt idx="214">
                  <c:v>0.9545453271632498</c:v>
                </c:pt>
                <c:pt idx="215">
                  <c:v>0.97041933109399636</c:v>
                </c:pt>
                <c:pt idx="216">
                  <c:v>0.95221828126349972</c:v>
                </c:pt>
                <c:pt idx="217">
                  <c:v>0.94440329637655163</c:v>
                </c:pt>
                <c:pt idx="218">
                  <c:v>0.9741618265810954</c:v>
                </c:pt>
                <c:pt idx="219">
                  <c:v>0.99180990948453629</c:v>
                </c:pt>
                <c:pt idx="220">
                  <c:v>0.9948326839049455</c:v>
                </c:pt>
                <c:pt idx="221">
                  <c:v>1.0003479854300819</c:v>
                </c:pt>
                <c:pt idx="222">
                  <c:v>1.0004300224828611</c:v>
                </c:pt>
                <c:pt idx="223">
                  <c:v>1.0093895389686336</c:v>
                </c:pt>
                <c:pt idx="224">
                  <c:v>0.97023850604925443</c:v>
                </c:pt>
                <c:pt idx="225">
                  <c:v>0.97591595643425566</c:v>
                </c:pt>
                <c:pt idx="226">
                  <c:v>0.92832341768162441</c:v>
                </c:pt>
                <c:pt idx="227">
                  <c:v>0.92710425457473467</c:v>
                </c:pt>
                <c:pt idx="228">
                  <c:v>0.98450997204572321</c:v>
                </c:pt>
                <c:pt idx="229">
                  <c:v>0.99272439485384401</c:v>
                </c:pt>
                <c:pt idx="230">
                  <c:v>0.9882045137113773</c:v>
                </c:pt>
                <c:pt idx="231">
                  <c:v>0.9854621997450923</c:v>
                </c:pt>
                <c:pt idx="232">
                  <c:v>0.98830192231684544</c:v>
                </c:pt>
                <c:pt idx="233">
                  <c:v>0.98252571549511869</c:v>
                </c:pt>
                <c:pt idx="234">
                  <c:v>0.96245352179167298</c:v>
                </c:pt>
                <c:pt idx="235">
                  <c:v>0.96567104891502398</c:v>
                </c:pt>
                <c:pt idx="236">
                  <c:v>0.96729038538340262</c:v>
                </c:pt>
                <c:pt idx="237">
                  <c:v>0.97600310909623433</c:v>
                </c:pt>
                <c:pt idx="238">
                  <c:v>0.95765332195814479</c:v>
                </c:pt>
                <c:pt idx="239">
                  <c:v>0.9918486165544208</c:v>
                </c:pt>
                <c:pt idx="240">
                  <c:v>0.94959156374255638</c:v>
                </c:pt>
                <c:pt idx="241">
                  <c:v>0.90443994228218438</c:v>
                </c:pt>
                <c:pt idx="242">
                  <c:v>0.82065323013921643</c:v>
                </c:pt>
                <c:pt idx="243">
                  <c:v>0.81794422708439518</c:v>
                </c:pt>
                <c:pt idx="244">
                  <c:v>0.836921630794636</c:v>
                </c:pt>
                <c:pt idx="245">
                  <c:v>0.88830000368778739</c:v>
                </c:pt>
                <c:pt idx="246">
                  <c:v>0.87055069108416971</c:v>
                </c:pt>
                <c:pt idx="247">
                  <c:v>0.89104974898846845</c:v>
                </c:pt>
                <c:pt idx="248">
                  <c:v>0.8867297531787306</c:v>
                </c:pt>
                <c:pt idx="249">
                  <c:v>0.85706267961077864</c:v>
                </c:pt>
                <c:pt idx="250">
                  <c:v>0.88931046516291179</c:v>
                </c:pt>
                <c:pt idx="251">
                  <c:v>0.85340938957038392</c:v>
                </c:pt>
                <c:pt idx="252">
                  <c:v>0.85731309748914697</c:v>
                </c:pt>
                <c:pt idx="253">
                  <c:v>0.85774959505446047</c:v>
                </c:pt>
                <c:pt idx="254">
                  <c:v>0.84865979536906366</c:v>
                </c:pt>
                <c:pt idx="255">
                  <c:v>0.87671251136630057</c:v>
                </c:pt>
                <c:pt idx="256">
                  <c:v>0.87280338400262591</c:v>
                </c:pt>
                <c:pt idx="257">
                  <c:v>0.89461119789677168</c:v>
                </c:pt>
                <c:pt idx="258">
                  <c:v>0.86176036085458707</c:v>
                </c:pt>
                <c:pt idx="259">
                  <c:v>0.92318097004231736</c:v>
                </c:pt>
                <c:pt idx="260">
                  <c:v>0.94870759033224816</c:v>
                </c:pt>
                <c:pt idx="261">
                  <c:v>0.93926824048628677</c:v>
                </c:pt>
                <c:pt idx="262">
                  <c:v>1.0177121061648431</c:v>
                </c:pt>
                <c:pt idx="263">
                  <c:v>1.0158039112973012</c:v>
                </c:pt>
                <c:pt idx="264">
                  <c:v>1.1496278258336623</c:v>
                </c:pt>
                <c:pt idx="265">
                  <c:v>1.1740545719561051</c:v>
                </c:pt>
                <c:pt idx="266">
                  <c:v>1.1797547475504453</c:v>
                </c:pt>
                <c:pt idx="267">
                  <c:v>1.1995342007840266</c:v>
                </c:pt>
                <c:pt idx="268">
                  <c:v>1.2064548617057054</c:v>
                </c:pt>
                <c:pt idx="269">
                  <c:v>1.1702451359270496</c:v>
                </c:pt>
                <c:pt idx="270">
                  <c:v>1.189179375118361</c:v>
                </c:pt>
                <c:pt idx="271">
                  <c:v>1.1927946996035397</c:v>
                </c:pt>
                <c:pt idx="272">
                  <c:v>1.2067132143177992</c:v>
                </c:pt>
                <c:pt idx="273">
                  <c:v>1.3090563856036357</c:v>
                </c:pt>
                <c:pt idx="274">
                  <c:v>1.2845948867205199</c:v>
                </c:pt>
                <c:pt idx="275">
                  <c:v>1.2511688328422592</c:v>
                </c:pt>
                <c:pt idx="276">
                  <c:v>1.2244520238133827</c:v>
                </c:pt>
                <c:pt idx="277">
                  <c:v>1.1525584234823976</c:v>
                </c:pt>
                <c:pt idx="278">
                  <c:v>1.1427291892657683</c:v>
                </c:pt>
                <c:pt idx="279">
                  <c:v>1.1326157802834667</c:v>
                </c:pt>
                <c:pt idx="280">
                  <c:v>1.0634721380956569</c:v>
                </c:pt>
                <c:pt idx="281">
                  <c:v>1.0893180403828113</c:v>
                </c:pt>
                <c:pt idx="282">
                  <c:v>1.115907187258292</c:v>
                </c:pt>
                <c:pt idx="283">
                  <c:v>1.0890670899613035</c:v>
                </c:pt>
                <c:pt idx="284">
                  <c:v>1.0936201614231811</c:v>
                </c:pt>
                <c:pt idx="285">
                  <c:v>1.1380950003778494</c:v>
                </c:pt>
                <c:pt idx="286">
                  <c:v>1.1211742612716058</c:v>
                </c:pt>
                <c:pt idx="287">
                  <c:v>1.1610914900540188</c:v>
                </c:pt>
                <c:pt idx="288">
                  <c:v>1.1578807434671132</c:v>
                </c:pt>
                <c:pt idx="289">
                  <c:v>1.1706583274124989</c:v>
                </c:pt>
                <c:pt idx="290">
                  <c:v>1.1755940049046762</c:v>
                </c:pt>
                <c:pt idx="291">
                  <c:v>1.1671982368637861</c:v>
                </c:pt>
                <c:pt idx="292">
                  <c:v>1.1427593646596126</c:v>
                </c:pt>
                <c:pt idx="293">
                  <c:v>1.1712985720249069</c:v>
                </c:pt>
                <c:pt idx="294">
                  <c:v>1.1295510246294229</c:v>
                </c:pt>
                <c:pt idx="295">
                  <c:v>1.1484222560369157</c:v>
                </c:pt>
                <c:pt idx="296">
                  <c:v>1.1752842160540344</c:v>
                </c:pt>
                <c:pt idx="297">
                  <c:v>1.2110290105393082</c:v>
                </c:pt>
                <c:pt idx="298">
                  <c:v>1.2129841609487912</c:v>
                </c:pt>
                <c:pt idx="299">
                  <c:v>1.2484178492943703</c:v>
                </c:pt>
                <c:pt idx="300">
                  <c:v>1.248373148237889</c:v>
                </c:pt>
                <c:pt idx="301">
                  <c:v>1.2671045824984237</c:v>
                </c:pt>
                <c:pt idx="302">
                  <c:v>1.2092229860059132</c:v>
                </c:pt>
                <c:pt idx="303">
                  <c:v>1.2037709428120533</c:v>
                </c:pt>
                <c:pt idx="304">
                  <c:v>1.1919372813863236</c:v>
                </c:pt>
                <c:pt idx="305">
                  <c:v>1.1900859140241176</c:v>
                </c:pt>
                <c:pt idx="306">
                  <c:v>1.1827616718569267</c:v>
                </c:pt>
                <c:pt idx="307">
                  <c:v>1.1665676148427913</c:v>
                </c:pt>
                <c:pt idx="308">
                  <c:v>1.1551038168001202</c:v>
                </c:pt>
                <c:pt idx="309">
                  <c:v>1.1420391623214421</c:v>
                </c:pt>
                <c:pt idx="310">
                  <c:v>1.1637869220780923</c:v>
                </c:pt>
                <c:pt idx="311">
                  <c:v>1.1768672617267155</c:v>
                </c:pt>
                <c:pt idx="312">
                  <c:v>1.1717947723495556</c:v>
                </c:pt>
                <c:pt idx="313">
                  <c:v>1.2022492808620568</c:v>
                </c:pt>
                <c:pt idx="314">
                  <c:v>1.2248028694306348</c:v>
                </c:pt>
                <c:pt idx="315">
                  <c:v>1.2044198298088511</c:v>
                </c:pt>
                <c:pt idx="316">
                  <c:v>1.2273281418659363</c:v>
                </c:pt>
                <c:pt idx="317">
                  <c:v>1.2049197998779555</c:v>
                </c:pt>
                <c:pt idx="318">
                  <c:v>1.1899915966089847</c:v>
                </c:pt>
                <c:pt idx="319">
                  <c:v>1.1922356088988608</c:v>
                </c:pt>
                <c:pt idx="320">
                  <c:v>1.1925477893506233</c:v>
                </c:pt>
                <c:pt idx="321">
                  <c:v>1.175102294397748</c:v>
                </c:pt>
                <c:pt idx="322">
                  <c:v>1.212939859782123</c:v>
                </c:pt>
                <c:pt idx="323">
                  <c:v>1.2358667208579321</c:v>
                </c:pt>
                <c:pt idx="324">
                  <c:v>1.2493301193545432</c:v>
                </c:pt>
                <c:pt idx="325">
                  <c:v>1.2291490842303743</c:v>
                </c:pt>
                <c:pt idx="326">
                  <c:v>1.2161327438132372</c:v>
                </c:pt>
                <c:pt idx="327">
                  <c:v>1.172537478262863</c:v>
                </c:pt>
                <c:pt idx="328">
                  <c:v>1.1382568342380621</c:v>
                </c:pt>
                <c:pt idx="329">
                  <c:v>1.1051833987296344</c:v>
                </c:pt>
                <c:pt idx="330">
                  <c:v>1.1054309504473341</c:v>
                </c:pt>
                <c:pt idx="331">
                  <c:v>1.110833796811175</c:v>
                </c:pt>
                <c:pt idx="332">
                  <c:v>1.1664608521250208</c:v>
                </c:pt>
                <c:pt idx="333">
                  <c:v>1.1150053347637954</c:v>
                </c:pt>
                <c:pt idx="334">
                  <c:v>1.1091739185579488</c:v>
                </c:pt>
                <c:pt idx="335">
                  <c:v>1.1611912234732329</c:v>
                </c:pt>
                <c:pt idx="336">
                  <c:v>1.2081809733511846</c:v>
                </c:pt>
                <c:pt idx="337">
                  <c:v>1.2253780087661992</c:v>
                </c:pt>
                <c:pt idx="338">
                  <c:v>1.2253275424174941</c:v>
                </c:pt>
                <c:pt idx="339">
                  <c:v>1.222723030451051</c:v>
                </c:pt>
                <c:pt idx="340">
                  <c:v>1.2356479058074901</c:v>
                </c:pt>
                <c:pt idx="341">
                  <c:v>1.2416243069222788</c:v>
                </c:pt>
                <c:pt idx="342">
                  <c:v>1.2859516803278148</c:v>
                </c:pt>
                <c:pt idx="343">
                  <c:v>1.2939687235289974</c:v>
                </c:pt>
                <c:pt idx="344">
                  <c:v>1.2977260837733615</c:v>
                </c:pt>
                <c:pt idx="345">
                  <c:v>1.3102713591019064</c:v>
                </c:pt>
                <c:pt idx="346">
                  <c:v>1.3085510544372976</c:v>
                </c:pt>
                <c:pt idx="347">
                  <c:v>1.3309949609998131</c:v>
                </c:pt>
                <c:pt idx="348">
                  <c:v>1.3717140883689585</c:v>
                </c:pt>
                <c:pt idx="349">
                  <c:v>1.3593735879897535</c:v>
                </c:pt>
                <c:pt idx="350">
                  <c:v>1.3540361121858775</c:v>
                </c:pt>
                <c:pt idx="351">
                  <c:v>1.3727594493381297</c:v>
                </c:pt>
                <c:pt idx="352">
                  <c:v>1.3506349719988022</c:v>
                </c:pt>
                <c:pt idx="353">
                  <c:v>1.3291368299177013</c:v>
                </c:pt>
                <c:pt idx="354">
                  <c:v>1.2954241306077783</c:v>
                </c:pt>
                <c:pt idx="355">
                  <c:v>1.324154902908474</c:v>
                </c:pt>
                <c:pt idx="356">
                  <c:v>1.2842288709974741</c:v>
                </c:pt>
                <c:pt idx="357">
                  <c:v>1.2842163404954015</c:v>
                </c:pt>
                <c:pt idx="358">
                  <c:v>1.3171335997309566</c:v>
                </c:pt>
                <c:pt idx="359">
                  <c:v>1.3124426643196403</c:v>
                </c:pt>
                <c:pt idx="360">
                  <c:v>1.3222784237387586</c:v>
                </c:pt>
                <c:pt idx="361">
                  <c:v>1.3166318924550944</c:v>
                </c:pt>
                <c:pt idx="362">
                  <c:v>1.2802740367575223</c:v>
                </c:pt>
                <c:pt idx="363">
                  <c:v>1.2948687414063491</c:v>
                </c:pt>
                <c:pt idx="364">
                  <c:v>1.3156262002752053</c:v>
                </c:pt>
                <c:pt idx="365">
                  <c:v>1.271254968683426</c:v>
                </c:pt>
                <c:pt idx="366">
                  <c:v>1.2808691822621716</c:v>
                </c:pt>
                <c:pt idx="367">
                  <c:v>1.2702909884755924</c:v>
                </c:pt>
                <c:pt idx="368">
                  <c:v>1.2794361635313123</c:v>
                </c:pt>
                <c:pt idx="369">
                  <c:v>1.2908386296575147</c:v>
                </c:pt>
                <c:pt idx="370">
                  <c:v>1.2739124728590054</c:v>
                </c:pt>
                <c:pt idx="371">
                  <c:v>1.249616998795295</c:v>
                </c:pt>
                <c:pt idx="372">
                  <c:v>1.2258384885456972</c:v>
                </c:pt>
                <c:pt idx="373">
                  <c:v>1.1769632168394659</c:v>
                </c:pt>
                <c:pt idx="374">
                  <c:v>1.1483983849582482</c:v>
                </c:pt>
                <c:pt idx="375">
                  <c:v>1.1551939678894954</c:v>
                </c:pt>
                <c:pt idx="376">
                  <c:v>1.1422782236521385</c:v>
                </c:pt>
                <c:pt idx="377">
                  <c:v>1.1071203197028094</c:v>
                </c:pt>
                <c:pt idx="378">
                  <c:v>1.068358715426418</c:v>
                </c:pt>
                <c:pt idx="379">
                  <c:v>1.0566614090300324</c:v>
                </c:pt>
                <c:pt idx="380">
                  <c:v>1.0684422542068956</c:v>
                </c:pt>
                <c:pt idx="381">
                  <c:v>1.0376822094534011</c:v>
                </c:pt>
                <c:pt idx="382">
                  <c:v>1.0739453527482929</c:v>
                </c:pt>
                <c:pt idx="383">
                  <c:v>1.0553694673637659</c:v>
                </c:pt>
                <c:pt idx="384">
                  <c:v>1.0777936701439192</c:v>
                </c:pt>
                <c:pt idx="385">
                  <c:v>1.0519169146858982</c:v>
                </c:pt>
                <c:pt idx="386">
                  <c:v>1.0578693072702168</c:v>
                </c:pt>
                <c:pt idx="387">
                  <c:v>1.0617121284407374</c:v>
                </c:pt>
                <c:pt idx="388">
                  <c:v>1.0735386217615988</c:v>
                </c:pt>
                <c:pt idx="389">
                  <c:v>1.0894539389333866</c:v>
                </c:pt>
                <c:pt idx="390">
                  <c:v>1.0783943470809236</c:v>
                </c:pt>
                <c:pt idx="391">
                  <c:v>1.0787698400567618</c:v>
                </c:pt>
                <c:pt idx="392">
                  <c:v>1.0582885772055173</c:v>
                </c:pt>
                <c:pt idx="393">
                  <c:v>1.0326742985552373</c:v>
                </c:pt>
                <c:pt idx="394">
                  <c:v>0.9957484910715475</c:v>
                </c:pt>
                <c:pt idx="395">
                  <c:v>1.0072786257461519</c:v>
                </c:pt>
                <c:pt idx="396">
                  <c:v>0.96605466159809095</c:v>
                </c:pt>
                <c:pt idx="397">
                  <c:v>0.9591914698651508</c:v>
                </c:pt>
                <c:pt idx="398">
                  <c:v>0.95289154621634398</c:v>
                </c:pt>
                <c:pt idx="399">
                  <c:v>0.95246136072712173</c:v>
                </c:pt>
                <c:pt idx="400">
                  <c:v>0.99026114052646785</c:v>
                </c:pt>
                <c:pt idx="401">
                  <c:v>1.0135439133889637</c:v>
                </c:pt>
                <c:pt idx="402">
                  <c:v>0.98050280322212002</c:v>
                </c:pt>
                <c:pt idx="403">
                  <c:v>1.0127522532370787</c:v>
                </c:pt>
                <c:pt idx="404">
                  <c:v>1.0326656166746657</c:v>
                </c:pt>
                <c:pt idx="405">
                  <c:v>1.0161749894557535</c:v>
                </c:pt>
                <c:pt idx="406">
                  <c:v>1.0423876217717607</c:v>
                </c:pt>
                <c:pt idx="407">
                  <c:v>1.072225958344194</c:v>
                </c:pt>
                <c:pt idx="408">
                  <c:v>1.1414658855244386</c:v>
                </c:pt>
                <c:pt idx="409">
                  <c:v>1.1350755202988072</c:v>
                </c:pt>
                <c:pt idx="410">
                  <c:v>1.1746007392095934</c:v>
                </c:pt>
                <c:pt idx="411">
                  <c:v>1.1786735677490796</c:v>
                </c:pt>
                <c:pt idx="412">
                  <c:v>1.1810408909969612</c:v>
                </c:pt>
                <c:pt idx="413">
                  <c:v>1.1845090160886924</c:v>
                </c:pt>
                <c:pt idx="414">
                  <c:v>1.1991489319177746</c:v>
                </c:pt>
                <c:pt idx="415">
                  <c:v>1.2243579598275594</c:v>
                </c:pt>
                <c:pt idx="416">
                  <c:v>1.251467919693904</c:v>
                </c:pt>
                <c:pt idx="417">
                  <c:v>1.2584175887145752</c:v>
                </c:pt>
                <c:pt idx="418">
                  <c:v>1.2279683248750968</c:v>
                </c:pt>
                <c:pt idx="419">
                  <c:v>1.2222638220019082</c:v>
                </c:pt>
                <c:pt idx="420">
                  <c:v>1.2580793608357621</c:v>
                </c:pt>
                <c:pt idx="421">
                  <c:v>1.2439601667865912</c:v>
                </c:pt>
                <c:pt idx="422">
                  <c:v>1.2772527990353661</c:v>
                </c:pt>
                <c:pt idx="423">
                  <c:v>1.3321698228009855</c:v>
                </c:pt>
                <c:pt idx="424">
                  <c:v>1.3375625885022799</c:v>
                </c:pt>
                <c:pt idx="425">
                  <c:v>1.3612683825004539</c:v>
                </c:pt>
                <c:pt idx="426">
                  <c:v>1.3394474757264225</c:v>
                </c:pt>
                <c:pt idx="427">
                  <c:v>1.3634447583952207</c:v>
                </c:pt>
                <c:pt idx="428">
                  <c:v>1.3926178111083067</c:v>
                </c:pt>
                <c:pt idx="429">
                  <c:v>1.4245257730771037</c:v>
                </c:pt>
                <c:pt idx="430">
                  <c:v>1.4175193242008235</c:v>
                </c:pt>
                <c:pt idx="431">
                  <c:v>1.4077088256919592</c:v>
                </c:pt>
                <c:pt idx="432">
                  <c:v>1.4329891594267152</c:v>
                </c:pt>
                <c:pt idx="433">
                  <c:v>1.4027415275464861</c:v>
                </c:pt>
                <c:pt idx="434">
                  <c:v>1.4015679233195093</c:v>
                </c:pt>
                <c:pt idx="435">
                  <c:v>1.3763206406020101</c:v>
                </c:pt>
                <c:pt idx="436">
                  <c:v>1.3347553910821972</c:v>
                </c:pt>
                <c:pt idx="437">
                  <c:v>1.3175224484990193</c:v>
                </c:pt>
                <c:pt idx="438">
                  <c:v>1.3154958420097074</c:v>
                </c:pt>
                <c:pt idx="439">
                  <c:v>1.3136638682024753</c:v>
                </c:pt>
                <c:pt idx="440">
                  <c:v>1.2660295887301489</c:v>
                </c:pt>
                <c:pt idx="441">
                  <c:v>1.2711560943062634</c:v>
                </c:pt>
                <c:pt idx="442">
                  <c:v>1.2542193615538517</c:v>
                </c:pt>
                <c:pt idx="443">
                  <c:v>1.2701016340905713</c:v>
                </c:pt>
                <c:pt idx="444">
                  <c:v>1.2446034774545482</c:v>
                </c:pt>
                <c:pt idx="445">
                  <c:v>1.2553325794615031</c:v>
                </c:pt>
                <c:pt idx="446">
                  <c:v>1.273040346626112</c:v>
                </c:pt>
                <c:pt idx="447">
                  <c:v>1.2606360828301453</c:v>
                </c:pt>
                <c:pt idx="448">
                  <c:v>1.2387574419554459</c:v>
                </c:pt>
                <c:pt idx="449">
                  <c:v>1.2352348187576578</c:v>
                </c:pt>
                <c:pt idx="450">
                  <c:v>1.2330547526320579</c:v>
                </c:pt>
                <c:pt idx="451">
                  <c:v>1.2332237913453621</c:v>
                </c:pt>
                <c:pt idx="452">
                  <c:v>1.1955490250359322</c:v>
                </c:pt>
                <c:pt idx="453">
                  <c:v>1.127055771753855</c:v>
                </c:pt>
                <c:pt idx="454">
                  <c:v>1.164309276761988</c:v>
                </c:pt>
                <c:pt idx="455">
                  <c:v>1.145660277422748</c:v>
                </c:pt>
                <c:pt idx="456">
                  <c:v>1.1647278306712816</c:v>
                </c:pt>
                <c:pt idx="457">
                  <c:v>1.139468518980286</c:v>
                </c:pt>
                <c:pt idx="458">
                  <c:v>1.1264147681405183</c:v>
                </c:pt>
                <c:pt idx="459">
                  <c:v>1.1020775052536944</c:v>
                </c:pt>
                <c:pt idx="460">
                  <c:v>1.1469670149282123</c:v>
                </c:pt>
                <c:pt idx="461">
                  <c:v>1.1674475547550083</c:v>
                </c:pt>
                <c:pt idx="462">
                  <c:v>1.1417729709716284</c:v>
                </c:pt>
                <c:pt idx="463">
                  <c:v>1.1926959705477835</c:v>
                </c:pt>
                <c:pt idx="464">
                  <c:v>1.1767620195157187</c:v>
                </c:pt>
                <c:pt idx="465">
                  <c:v>1.2010677720692735</c:v>
                </c:pt>
                <c:pt idx="466">
                  <c:v>1.1960529435096765</c:v>
                </c:pt>
                <c:pt idx="467">
                  <c:v>1.1931440163191369</c:v>
                </c:pt>
                <c:pt idx="468">
                  <c:v>1.1530041221726515</c:v>
                </c:pt>
                <c:pt idx="469">
                  <c:v>1.1527727692269905</c:v>
                </c:pt>
                <c:pt idx="470">
                  <c:v>1.1899889403523547</c:v>
                </c:pt>
                <c:pt idx="471">
                  <c:v>1.2297763557076027</c:v>
                </c:pt>
                <c:pt idx="472">
                  <c:v>1.2392917888580699</c:v>
                </c:pt>
                <c:pt idx="473">
                  <c:v>1.2243688967800104</c:v>
                </c:pt>
                <c:pt idx="474">
                  <c:v>1.2518960791948543</c:v>
                </c:pt>
                <c:pt idx="475">
                  <c:v>1.2052807180053129</c:v>
                </c:pt>
                <c:pt idx="476">
                  <c:v>1.2061135456736534</c:v>
                </c:pt>
                <c:pt idx="477">
                  <c:v>1.2067102138582757</c:v>
                </c:pt>
                <c:pt idx="478">
                  <c:v>1.2087837527529648</c:v>
                </c:pt>
                <c:pt idx="479">
                  <c:v>1.1904866676057853</c:v>
                </c:pt>
                <c:pt idx="480">
                  <c:v>1.2126166729029826</c:v>
                </c:pt>
                <c:pt idx="481">
                  <c:v>1.2082336780150003</c:v>
                </c:pt>
                <c:pt idx="482">
                  <c:v>1.2178004007603029</c:v>
                </c:pt>
                <c:pt idx="483">
                  <c:v>1.2730132594049011</c:v>
                </c:pt>
                <c:pt idx="484">
                  <c:v>1.2559588542934683</c:v>
                </c:pt>
                <c:pt idx="485">
                  <c:v>1.2275423536013161</c:v>
                </c:pt>
                <c:pt idx="486">
                  <c:v>1.2499763675926958</c:v>
                </c:pt>
                <c:pt idx="487">
                  <c:v>1.2926282590489635</c:v>
                </c:pt>
                <c:pt idx="488">
                  <c:v>1.2935002854679807</c:v>
                </c:pt>
                <c:pt idx="489">
                  <c:v>1.2577449259888014</c:v>
                </c:pt>
                <c:pt idx="490">
                  <c:v>1.2160930469542923</c:v>
                </c:pt>
                <c:pt idx="491">
                  <c:v>1.2088366688490315</c:v>
                </c:pt>
                <c:pt idx="492">
                  <c:v>1.2088366688490317</c:v>
                </c:pt>
                <c:pt idx="493">
                  <c:v>1.1776198965241949</c:v>
                </c:pt>
                <c:pt idx="494">
                  <c:v>1.2126784262603345</c:v>
                </c:pt>
                <c:pt idx="495">
                  <c:v>1.1718530369589375</c:v>
                </c:pt>
                <c:pt idx="496">
                  <c:v>1.2300836809213289</c:v>
                </c:pt>
                <c:pt idx="497">
                  <c:v>1.2310625725247537</c:v>
                </c:pt>
                <c:pt idx="498">
                  <c:v>1.2598688583459328</c:v>
                </c:pt>
                <c:pt idx="499">
                  <c:v>1.2986489885270376</c:v>
                </c:pt>
                <c:pt idx="500">
                  <c:v>1.3105311724728212</c:v>
                </c:pt>
                <c:pt idx="501">
                  <c:v>1.2919451609300507</c:v>
                </c:pt>
                <c:pt idx="502">
                  <c:v>1.2709496856478133</c:v>
                </c:pt>
                <c:pt idx="503">
                  <c:v>1.2766753248408427</c:v>
                </c:pt>
                <c:pt idx="504">
                  <c:v>1.2470721573017503</c:v>
                </c:pt>
                <c:pt idx="505">
                  <c:v>1.2490126675411104</c:v>
                </c:pt>
                <c:pt idx="506">
                  <c:v>1.2165262869730977</c:v>
                </c:pt>
                <c:pt idx="507">
                  <c:v>1.2666211728067309</c:v>
                </c:pt>
                <c:pt idx="508">
                  <c:v>1.2845651350581242</c:v>
                </c:pt>
                <c:pt idx="509">
                  <c:v>1.270386130095976</c:v>
                </c:pt>
                <c:pt idx="510">
                  <c:v>1.2478431967511627</c:v>
                </c:pt>
                <c:pt idx="511">
                  <c:v>1.2739016454573135</c:v>
                </c:pt>
                <c:pt idx="512">
                  <c:v>1.258358217002953</c:v>
                </c:pt>
                <c:pt idx="513">
                  <c:v>1.2381045951395819</c:v>
                </c:pt>
                <c:pt idx="514">
                  <c:v>1.2394741191142409</c:v>
                </c:pt>
                <c:pt idx="515">
                  <c:v>1.2491229566858262</c:v>
                </c:pt>
                <c:pt idx="516">
                  <c:v>1.2273940247345281</c:v>
                </c:pt>
                <c:pt idx="517">
                  <c:v>1.1727060758049674</c:v>
                </c:pt>
                <c:pt idx="518">
                  <c:v>1.1254600081233708</c:v>
                </c:pt>
                <c:pt idx="519">
                  <c:v>1.1213949133664456</c:v>
                </c:pt>
                <c:pt idx="520">
                  <c:v>1.1196165702452854</c:v>
                </c:pt>
                <c:pt idx="521">
                  <c:v>1.1457692792963645</c:v>
                </c:pt>
                <c:pt idx="522">
                  <c:v>1.1464628761703461</c:v>
                </c:pt>
                <c:pt idx="523">
                  <c:v>1.1518977844180127</c:v>
                </c:pt>
                <c:pt idx="524">
                  <c:v>1.1263732869742584</c:v>
                </c:pt>
                <c:pt idx="525">
                  <c:v>1.1654067909986396</c:v>
                </c:pt>
                <c:pt idx="526">
                  <c:v>1.1576274289976964</c:v>
                </c:pt>
                <c:pt idx="527">
                  <c:v>1.1613349928066585</c:v>
                </c:pt>
                <c:pt idx="528">
                  <c:v>1.1073531142053246</c:v>
                </c:pt>
                <c:pt idx="529">
                  <c:v>1.0260654120888482</c:v>
                </c:pt>
                <c:pt idx="530">
                  <c:v>1.0646139011964337</c:v>
                </c:pt>
                <c:pt idx="531">
                  <c:v>1.0814284401958218</c:v>
                </c:pt>
                <c:pt idx="532">
                  <c:v>1.0810214943581686</c:v>
                </c:pt>
                <c:pt idx="533">
                  <c:v>1.0623191394411513</c:v>
                </c:pt>
                <c:pt idx="534">
                  <c:v>1.0449363946985086</c:v>
                </c:pt>
                <c:pt idx="535">
                  <c:v>1.0453971362184773</c:v>
                </c:pt>
                <c:pt idx="536">
                  <c:v>1.0665695896917242</c:v>
                </c:pt>
                <c:pt idx="537">
                  <c:v>1.0207770310535191</c:v>
                </c:pt>
                <c:pt idx="538">
                  <c:v>0.99487213988162515</c:v>
                </c:pt>
                <c:pt idx="539">
                  <c:v>1.0087442973674074</c:v>
                </c:pt>
                <c:pt idx="540">
                  <c:v>1.0483002662767296</c:v>
                </c:pt>
                <c:pt idx="541">
                  <c:v>1.0351927467812487</c:v>
                </c:pt>
                <c:pt idx="542">
                  <c:v>1.1020391235727784</c:v>
                </c:pt>
                <c:pt idx="543">
                  <c:v>1.116618921607526</c:v>
                </c:pt>
                <c:pt idx="544">
                  <c:v>1.1060915968805003</c:v>
                </c:pt>
                <c:pt idx="545">
                  <c:v>1.1027268187459707</c:v>
                </c:pt>
                <c:pt idx="546">
                  <c:v>1.0991921798647688</c:v>
                </c:pt>
                <c:pt idx="547">
                  <c:v>1.1214633297616112</c:v>
                </c:pt>
                <c:pt idx="548">
                  <c:v>1.1612837228935362</c:v>
                </c:pt>
                <c:pt idx="549">
                  <c:v>1.1423476532647758</c:v>
                </c:pt>
                <c:pt idx="550">
                  <c:v>1.1891743972716686</c:v>
                </c:pt>
                <c:pt idx="551">
                  <c:v>1.2315253601301428</c:v>
                </c:pt>
                <c:pt idx="552">
                  <c:v>1.2359832978821668</c:v>
                </c:pt>
                <c:pt idx="553">
                  <c:v>1.2418953349572199</c:v>
                </c:pt>
                <c:pt idx="554">
                  <c:v>1.2512623510936336</c:v>
                </c:pt>
                <c:pt idx="555">
                  <c:v>1.2066446305221001</c:v>
                </c:pt>
                <c:pt idx="556">
                  <c:v>1.1690658909878704</c:v>
                </c:pt>
                <c:pt idx="557">
                  <c:v>1.2082863328155975</c:v>
                </c:pt>
                <c:pt idx="558">
                  <c:v>1.2422114133279802</c:v>
                </c:pt>
                <c:pt idx="559">
                  <c:v>1.255775439329416</c:v>
                </c:pt>
                <c:pt idx="560">
                  <c:v>1.2274131755233344</c:v>
                </c:pt>
                <c:pt idx="561">
                  <c:v>1.2198292701340878</c:v>
                </c:pt>
                <c:pt idx="562">
                  <c:v>1.2508291043447386</c:v>
                </c:pt>
                <c:pt idx="563">
                  <c:v>1.2611882738389875</c:v>
                </c:pt>
                <c:pt idx="564">
                  <c:v>1.2593990995526489</c:v>
                </c:pt>
                <c:pt idx="565">
                  <c:v>1.2589934403159613</c:v>
                </c:pt>
                <c:pt idx="566">
                  <c:v>1.2082752978532243</c:v>
                </c:pt>
                <c:pt idx="567">
                  <c:v>1.2129434134113306</c:v>
                </c:pt>
                <c:pt idx="568">
                  <c:v>1.2691905738082352</c:v>
                </c:pt>
                <c:pt idx="569">
                  <c:v>1.2319363321360322</c:v>
                </c:pt>
                <c:pt idx="570">
                  <c:v>1.2179989241827529</c:v>
                </c:pt>
                <c:pt idx="571">
                  <c:v>1.1840418309634431</c:v>
                </c:pt>
                <c:pt idx="572">
                  <c:v>1.1499677156887649</c:v>
                </c:pt>
                <c:pt idx="573">
                  <c:v>1.1199142516436165</c:v>
                </c:pt>
                <c:pt idx="574">
                  <c:v>1.1211951751098708</c:v>
                </c:pt>
                <c:pt idx="575">
                  <c:v>1.1325021123524484</c:v>
                </c:pt>
                <c:pt idx="576">
                  <c:v>1.1883159628592921</c:v>
                </c:pt>
                <c:pt idx="577">
                  <c:v>1.1801500489052372</c:v>
                </c:pt>
                <c:pt idx="578">
                  <c:v>1.1319617799485844</c:v>
                </c:pt>
                <c:pt idx="579">
                  <c:v>1.1233800085804271</c:v>
                </c:pt>
                <c:pt idx="580">
                  <c:v>1.0645011783087373</c:v>
                </c:pt>
                <c:pt idx="581">
                  <c:v>0.98541758462692042</c:v>
                </c:pt>
                <c:pt idx="582">
                  <c:v>1.0289052881359015</c:v>
                </c:pt>
                <c:pt idx="583">
                  <c:v>1.007872745570773</c:v>
                </c:pt>
                <c:pt idx="584">
                  <c:v>0.99154332276484047</c:v>
                </c:pt>
                <c:pt idx="585">
                  <c:v>1.0106866335637215</c:v>
                </c:pt>
                <c:pt idx="586">
                  <c:v>1.0344203218705879</c:v>
                </c:pt>
                <c:pt idx="587">
                  <c:v>1.0040829864499055</c:v>
                </c:pt>
                <c:pt idx="588">
                  <c:v>1.060993949520703</c:v>
                </c:pt>
                <c:pt idx="589">
                  <c:v>1.0515309036729781</c:v>
                </c:pt>
                <c:pt idx="590">
                  <c:v>1.0861635532311955</c:v>
                </c:pt>
                <c:pt idx="591">
                  <c:v>1.0814154198756496</c:v>
                </c:pt>
                <c:pt idx="592">
                  <c:v>1.0506782155558752</c:v>
                </c:pt>
                <c:pt idx="593">
                  <c:v>1.0963454967645292</c:v>
                </c:pt>
                <c:pt idx="594">
                  <c:v>1.1324900852119848</c:v>
                </c:pt>
                <c:pt idx="595">
                  <c:v>1.1368247774888811</c:v>
                </c:pt>
                <c:pt idx="596">
                  <c:v>1.1602080669520831</c:v>
                </c:pt>
                <c:pt idx="597">
                  <c:v>1.1607866932069977</c:v>
                </c:pt>
                <c:pt idx="598">
                  <c:v>1.1478273329237705</c:v>
                </c:pt>
                <c:pt idx="599">
                  <c:v>1.1622811992830722</c:v>
                </c:pt>
                <c:pt idx="600">
                  <c:v>1.1557321409432184</c:v>
                </c:pt>
                <c:pt idx="601">
                  <c:v>1.1585685281772327</c:v>
                </c:pt>
                <c:pt idx="602">
                  <c:v>1.1980453429140989</c:v>
                </c:pt>
                <c:pt idx="603">
                  <c:v>1.2772076222544348</c:v>
                </c:pt>
                <c:pt idx="604">
                  <c:v>1.2941894902917461</c:v>
                </c:pt>
                <c:pt idx="605">
                  <c:v>1.293514147806166</c:v>
                </c:pt>
                <c:pt idx="606">
                  <c:v>1.3180972440710075</c:v>
                </c:pt>
                <c:pt idx="607">
                  <c:v>1.3433141808622979</c:v>
                </c:pt>
                <c:pt idx="608">
                  <c:v>1.3376889059850208</c:v>
                </c:pt>
                <c:pt idx="609">
                  <c:v>1.3237654843178468</c:v>
                </c:pt>
                <c:pt idx="610">
                  <c:v>1.3215428113757233</c:v>
                </c:pt>
                <c:pt idx="611">
                  <c:v>1.3665851811984731</c:v>
                </c:pt>
                <c:pt idx="612">
                  <c:v>1.2677058653013875</c:v>
                </c:pt>
                <c:pt idx="613">
                  <c:v>1.2112459624738463</c:v>
                </c:pt>
                <c:pt idx="614">
                  <c:v>1.211595129827076</c:v>
                </c:pt>
                <c:pt idx="615">
                  <c:v>1.1028223458185733</c:v>
                </c:pt>
                <c:pt idx="616">
                  <c:v>1.1055201615466839</c:v>
                </c:pt>
                <c:pt idx="617">
                  <c:v>1.0510903479436149</c:v>
                </c:pt>
                <c:pt idx="618">
                  <c:v>1.0404265813907136</c:v>
                </c:pt>
                <c:pt idx="619">
                  <c:v>1.0656540272279393</c:v>
                </c:pt>
                <c:pt idx="620">
                  <c:v>1.097267295257349</c:v>
                </c:pt>
                <c:pt idx="621">
                  <c:v>1.0849334425266108</c:v>
                </c:pt>
                <c:pt idx="622">
                  <c:v>1.1289218231386173</c:v>
                </c:pt>
                <c:pt idx="623">
                  <c:v>1.1332350701147267</c:v>
                </c:pt>
                <c:pt idx="624">
                  <c:v>1.1303847376766958</c:v>
                </c:pt>
                <c:pt idx="625">
                  <c:v>1.1047051408750936</c:v>
                </c:pt>
                <c:pt idx="626">
                  <c:v>1.1069316086402516</c:v>
                </c:pt>
                <c:pt idx="627">
                  <c:v>1.1091792554360425</c:v>
                </c:pt>
                <c:pt idx="628">
                  <c:v>0.99835894081870336</c:v>
                </c:pt>
                <c:pt idx="629">
                  <c:v>0.99755908994456755</c:v>
                </c:pt>
                <c:pt idx="630">
                  <c:v>0.89477467785914122</c:v>
                </c:pt>
                <c:pt idx="631">
                  <c:v>0.82075967053797716</c:v>
                </c:pt>
                <c:pt idx="632">
                  <c:v>0.83982216234618112</c:v>
                </c:pt>
                <c:pt idx="633">
                  <c:v>0.82021759097920055</c:v>
                </c:pt>
                <c:pt idx="634">
                  <c:v>0.83648147879544532</c:v>
                </c:pt>
                <c:pt idx="635">
                  <c:v>0.83380556734644695</c:v>
                </c:pt>
                <c:pt idx="636">
                  <c:v>0.8495570177667775</c:v>
                </c:pt>
                <c:pt idx="637">
                  <c:v>0.85582258608345574</c:v>
                </c:pt>
                <c:pt idx="638">
                  <c:v>0.88126998224675412</c:v>
                </c:pt>
                <c:pt idx="639">
                  <c:v>0.88146325576530249</c:v>
                </c:pt>
                <c:pt idx="640">
                  <c:v>0.91248051467150326</c:v>
                </c:pt>
                <c:pt idx="641">
                  <c:v>0.89924259317456134</c:v>
                </c:pt>
                <c:pt idx="642">
                  <c:v>0.90720462404303071</c:v>
                </c:pt>
                <c:pt idx="643">
                  <c:v>0.91123895701490321</c:v>
                </c:pt>
                <c:pt idx="644">
                  <c:v>0.90359562718688713</c:v>
                </c:pt>
                <c:pt idx="645">
                  <c:v>0.90348501504662082</c:v>
                </c:pt>
                <c:pt idx="646">
                  <c:v>0.92321085124800606</c:v>
                </c:pt>
                <c:pt idx="647">
                  <c:v>1.0743100432210042</c:v>
                </c:pt>
                <c:pt idx="648">
                  <c:v>1.1429335616897334</c:v>
                </c:pt>
                <c:pt idx="649">
                  <c:v>1.2313875922303457</c:v>
                </c:pt>
                <c:pt idx="650">
                  <c:v>1.2248940840911009</c:v>
                </c:pt>
                <c:pt idx="651">
                  <c:v>1.2239132641494319</c:v>
                </c:pt>
                <c:pt idx="652">
                  <c:v>1.1858008594030103</c:v>
                </c:pt>
                <c:pt idx="653">
                  <c:v>1.2241865232382523</c:v>
                </c:pt>
                <c:pt idx="654">
                  <c:v>1.2480922913855732</c:v>
                </c:pt>
                <c:pt idx="655">
                  <c:v>1.2102064039782154</c:v>
                </c:pt>
                <c:pt idx="656">
                  <c:v>1.2640888318123227</c:v>
                </c:pt>
                <c:pt idx="657">
                  <c:v>1.3231173569377299</c:v>
                </c:pt>
                <c:pt idx="658">
                  <c:v>1.3869960926114895</c:v>
                </c:pt>
                <c:pt idx="659">
                  <c:v>1.4118755765569995</c:v>
                </c:pt>
                <c:pt idx="660">
                  <c:v>1.3746259261273983</c:v>
                </c:pt>
                <c:pt idx="661">
                  <c:v>1.386658971574581</c:v>
                </c:pt>
                <c:pt idx="662">
                  <c:v>1.4492084244411716</c:v>
                </c:pt>
                <c:pt idx="663">
                  <c:v>1.4827884573314565</c:v>
                </c:pt>
                <c:pt idx="664">
                  <c:v>1.4386432385466836</c:v>
                </c:pt>
                <c:pt idx="665">
                  <c:v>1.4025545249302422</c:v>
                </c:pt>
                <c:pt idx="666">
                  <c:v>1.4057496466176032</c:v>
                </c:pt>
                <c:pt idx="667">
                  <c:v>1.3796319682495368</c:v>
                </c:pt>
                <c:pt idx="668">
                  <c:v>1.2958020637835652</c:v>
                </c:pt>
                <c:pt idx="669">
                  <c:v>1.2736626522451453</c:v>
                </c:pt>
                <c:pt idx="670">
                  <c:v>1.29505691527172</c:v>
                </c:pt>
                <c:pt idx="671">
                  <c:v>1.2644124981655478</c:v>
                </c:pt>
                <c:pt idx="672">
                  <c:v>1.1580294896290741</c:v>
                </c:pt>
                <c:pt idx="673">
                  <c:v>1.0975976378949814</c:v>
                </c:pt>
                <c:pt idx="674">
                  <c:v>1.0909894275539438</c:v>
                </c:pt>
                <c:pt idx="675">
                  <c:v>1.0743735945608743</c:v>
                </c:pt>
                <c:pt idx="676">
                  <c:v>1.0988284775107098</c:v>
                </c:pt>
                <c:pt idx="677">
                  <c:v>1.0636647233400947</c:v>
                </c:pt>
                <c:pt idx="678">
                  <c:v>1.078657957141997</c:v>
                </c:pt>
                <c:pt idx="679">
                  <c:v>1.0578649067435499</c:v>
                </c:pt>
                <c:pt idx="680">
                  <c:v>1.0609895619537035</c:v>
                </c:pt>
                <c:pt idx="681">
                  <c:v>1.0585861857419439</c:v>
                </c:pt>
                <c:pt idx="682">
                  <c:v>1.006374453287584</c:v>
                </c:pt>
                <c:pt idx="683">
                  <c:v>1.0041898432962311</c:v>
                </c:pt>
                <c:pt idx="684">
                  <c:v>1.008066545878564</c:v>
                </c:pt>
                <c:pt idx="685">
                  <c:v>1.0084815603030446</c:v>
                </c:pt>
                <c:pt idx="686">
                  <c:v>1.0434243469538607</c:v>
                </c:pt>
                <c:pt idx="687">
                  <c:v>1.0200241714512583</c:v>
                </c:pt>
                <c:pt idx="688">
                  <c:v>0.97170196698559641</c:v>
                </c:pt>
                <c:pt idx="689">
                  <c:v>0.96475975211984444</c:v>
                </c:pt>
                <c:pt idx="690">
                  <c:v>1.0173391030402361</c:v>
                </c:pt>
                <c:pt idx="691">
                  <c:v>1.0139393983114944</c:v>
                </c:pt>
                <c:pt idx="692">
                  <c:v>0.96783827137607492</c:v>
                </c:pt>
                <c:pt idx="693">
                  <c:v>0.95125229016293544</c:v>
                </c:pt>
                <c:pt idx="694">
                  <c:v>0.94448848894368542</c:v>
                </c:pt>
                <c:pt idx="695">
                  <c:v>0.95265364404763686</c:v>
                </c:pt>
                <c:pt idx="696">
                  <c:v>0.97227568106993179</c:v>
                </c:pt>
                <c:pt idx="697">
                  <c:v>0.92824491417386978</c:v>
                </c:pt>
                <c:pt idx="698">
                  <c:v>0.95593512019539717</c:v>
                </c:pt>
                <c:pt idx="699">
                  <c:v>1.0082408146022876</c:v>
                </c:pt>
                <c:pt idx="700">
                  <c:v>0.9918762552592566</c:v>
                </c:pt>
                <c:pt idx="701">
                  <c:v>0.95638808070758585</c:v>
                </c:pt>
                <c:pt idx="702">
                  <c:v>0.95808963418170656</c:v>
                </c:pt>
                <c:pt idx="703">
                  <c:v>0.94606893870457909</c:v>
                </c:pt>
                <c:pt idx="704">
                  <c:v>0.93793757604209671</c:v>
                </c:pt>
                <c:pt idx="705">
                  <c:v>0.9442505998951225</c:v>
                </c:pt>
                <c:pt idx="706">
                  <c:v>0.95139709731615685</c:v>
                </c:pt>
                <c:pt idx="707">
                  <c:v>0.95280620021723916</c:v>
                </c:pt>
                <c:pt idx="708">
                  <c:v>0.93712227639702406</c:v>
                </c:pt>
                <c:pt idx="709">
                  <c:v>0.93227098818009924</c:v>
                </c:pt>
                <c:pt idx="710">
                  <c:v>0.94542090608108087</c:v>
                </c:pt>
                <c:pt idx="711">
                  <c:v>0.94518355573030821</c:v>
                </c:pt>
                <c:pt idx="712">
                  <c:v>0.94003081387499343</c:v>
                </c:pt>
                <c:pt idx="713">
                  <c:v>0.98867268504845396</c:v>
                </c:pt>
                <c:pt idx="714">
                  <c:v>0.9884519418663259</c:v>
                </c:pt>
                <c:pt idx="715">
                  <c:v>0.97061918855718199</c:v>
                </c:pt>
                <c:pt idx="716">
                  <c:v>0.9368830690419544</c:v>
                </c:pt>
                <c:pt idx="717">
                  <c:v>0.94743477014418309</c:v>
                </c:pt>
                <c:pt idx="718">
                  <c:v>0.9670314809030115</c:v>
                </c:pt>
                <c:pt idx="719">
                  <c:v>1.0046544553788848</c:v>
                </c:pt>
                <c:pt idx="720">
                  <c:v>0.96986454795466692</c:v>
                </c:pt>
                <c:pt idx="721">
                  <c:v>0.97981472562506633</c:v>
                </c:pt>
                <c:pt idx="722">
                  <c:v>0.96603949135145328</c:v>
                </c:pt>
                <c:pt idx="723">
                  <c:v>0.94703414836051159</c:v>
                </c:pt>
                <c:pt idx="724">
                  <c:v>1.0076137738446111</c:v>
                </c:pt>
                <c:pt idx="725">
                  <c:v>1.0048540238240589</c:v>
                </c:pt>
                <c:pt idx="726">
                  <c:v>0.97690785927703616</c:v>
                </c:pt>
                <c:pt idx="727">
                  <c:v>0.98446327053602312</c:v>
                </c:pt>
                <c:pt idx="728">
                  <c:v>1.0157495392254834</c:v>
                </c:pt>
                <c:pt idx="729">
                  <c:v>0.95655806584510772</c:v>
                </c:pt>
                <c:pt idx="730">
                  <c:v>0.95594215426397555</c:v>
                </c:pt>
                <c:pt idx="731">
                  <c:v>0.97621041871575798</c:v>
                </c:pt>
                <c:pt idx="732">
                  <c:v>0.97883351877184122</c:v>
                </c:pt>
                <c:pt idx="733">
                  <c:v>0.99207874177660804</c:v>
                </c:pt>
                <c:pt idx="734">
                  <c:v>1.0487749284640211</c:v>
                </c:pt>
                <c:pt idx="735">
                  <c:v>1.0229012154415129</c:v>
                </c:pt>
                <c:pt idx="736">
                  <c:v>1.0220970104890117</c:v>
                </c:pt>
                <c:pt idx="737">
                  <c:v>1.0378191103208336</c:v>
                </c:pt>
                <c:pt idx="738">
                  <c:v>1.0575912775476297</c:v>
                </c:pt>
                <c:pt idx="739">
                  <c:v>1.0658004385027451</c:v>
                </c:pt>
                <c:pt idx="740">
                  <c:v>1.0477230923106162</c:v>
                </c:pt>
                <c:pt idx="741">
                  <c:v>1.0683292897156607</c:v>
                </c:pt>
                <c:pt idx="742">
                  <c:v>1.0946230128358736</c:v>
                </c:pt>
                <c:pt idx="743">
                  <c:v>1.0944869159544133</c:v>
                </c:pt>
                <c:pt idx="744">
                  <c:v>1.0872716565662941</c:v>
                </c:pt>
                <c:pt idx="745">
                  <c:v>1.1074122782518663</c:v>
                </c:pt>
                <c:pt idx="746">
                  <c:v>1.1164195643565915</c:v>
                </c:pt>
                <c:pt idx="747">
                  <c:v>1.1565498135680832</c:v>
                </c:pt>
                <c:pt idx="748">
                  <c:v>1.155226454388723</c:v>
                </c:pt>
                <c:pt idx="749">
                  <c:v>1.1201018529221081</c:v>
                </c:pt>
                <c:pt idx="750">
                  <c:v>1.1169939132774409</c:v>
                </c:pt>
                <c:pt idx="751">
                  <c:v>1.1068293745504845</c:v>
                </c:pt>
                <c:pt idx="752">
                  <c:v>1.1116341910505649</c:v>
                </c:pt>
                <c:pt idx="753">
                  <c:v>1.1704242771344702</c:v>
                </c:pt>
                <c:pt idx="754">
                  <c:v>1.1154764973283637</c:v>
                </c:pt>
                <c:pt idx="755">
                  <c:v>1.1411939704366301</c:v>
                </c:pt>
                <c:pt idx="756">
                  <c:v>1.1470817044925834</c:v>
                </c:pt>
                <c:pt idx="757">
                  <c:v>1.1445959483841763</c:v>
                </c:pt>
                <c:pt idx="758">
                  <c:v>1.1497500477989961</c:v>
                </c:pt>
                <c:pt idx="759">
                  <c:v>1.1698647136638762</c:v>
                </c:pt>
                <c:pt idx="760">
                  <c:v>1.2008328527442471</c:v>
                </c:pt>
                <c:pt idx="761">
                  <c:v>1.212838458508297</c:v>
                </c:pt>
                <c:pt idx="762">
                  <c:v>1.2257995279647573</c:v>
                </c:pt>
                <c:pt idx="763">
                  <c:v>1.26724812727893</c:v>
                </c:pt>
                <c:pt idx="764">
                  <c:v>1.2323179262123753</c:v>
                </c:pt>
                <c:pt idx="765">
                  <c:v>1.2645521218856572</c:v>
                </c:pt>
                <c:pt idx="766">
                  <c:v>1.2529445318927734</c:v>
                </c:pt>
                <c:pt idx="767">
                  <c:v>1.2635667906694761</c:v>
                </c:pt>
                <c:pt idx="768">
                  <c:v>1.2466852140731064</c:v>
                </c:pt>
                <c:pt idx="769">
                  <c:v>1.2414243302819925</c:v>
                </c:pt>
                <c:pt idx="770">
                  <c:v>1.2466582457149982</c:v>
                </c:pt>
                <c:pt idx="771">
                  <c:v>1.2244587826239104</c:v>
                </c:pt>
                <c:pt idx="772">
                  <c:v>1.2138475448214108</c:v>
                </c:pt>
                <c:pt idx="773">
                  <c:v>1.1764233736299994</c:v>
                </c:pt>
                <c:pt idx="774">
                  <c:v>1.2103317679486678</c:v>
                </c:pt>
                <c:pt idx="775">
                  <c:v>1.2401466357495472</c:v>
                </c:pt>
                <c:pt idx="776">
                  <c:v>1.2216544274998087</c:v>
                </c:pt>
                <c:pt idx="777">
                  <c:v>1.2196872125884264</c:v>
                </c:pt>
                <c:pt idx="778">
                  <c:v>1.2002088419803516</c:v>
                </c:pt>
                <c:pt idx="779">
                  <c:v>1.2188234386951393</c:v>
                </c:pt>
                <c:pt idx="780">
                  <c:v>1.225402819062172</c:v>
                </c:pt>
                <c:pt idx="781">
                  <c:v>1.2252028215862829</c:v>
                </c:pt>
                <c:pt idx="782">
                  <c:v>1.2352542201934578</c:v>
                </c:pt>
                <c:pt idx="783">
                  <c:v>1.1937132253467815</c:v>
                </c:pt>
                <c:pt idx="784">
                  <c:v>1.183092819980603</c:v>
                </c:pt>
                <c:pt idx="785">
                  <c:v>1.1551070508184837</c:v>
                </c:pt>
                <c:pt idx="786">
                  <c:v>1.154061344213078</c:v>
                </c:pt>
                <c:pt idx="787">
                  <c:v>1.1705603825499145</c:v>
                </c:pt>
                <c:pt idx="788">
                  <c:v>1.1503015596620392</c:v>
                </c:pt>
                <c:pt idx="789">
                  <c:v>1.1207083658915509</c:v>
                </c:pt>
                <c:pt idx="790">
                  <c:v>1.0898107502059096</c:v>
                </c:pt>
                <c:pt idx="791">
                  <c:v>1.0450298901296398</c:v>
                </c:pt>
                <c:pt idx="792">
                  <c:v>1.088319594710067</c:v>
                </c:pt>
                <c:pt idx="793">
                  <c:v>1.0487370072352873</c:v>
                </c:pt>
                <c:pt idx="794">
                  <c:v>1.0575139465399197</c:v>
                </c:pt>
                <c:pt idx="795">
                  <c:v>1.0717005500444221</c:v>
                </c:pt>
                <c:pt idx="796">
                  <c:v>1.0764452460836507</c:v>
                </c:pt>
                <c:pt idx="797">
                  <c:v>1.0380142957401495</c:v>
                </c:pt>
                <c:pt idx="798">
                  <c:v>1.068552356195537</c:v>
                </c:pt>
                <c:pt idx="799">
                  <c:v>1.0928171440569674</c:v>
                </c:pt>
                <c:pt idx="800">
                  <c:v>1.0847821434972893</c:v>
                </c:pt>
                <c:pt idx="801">
                  <c:v>1.1136158358630934</c:v>
                </c:pt>
                <c:pt idx="802">
                  <c:v>1.1111860185477906</c:v>
                </c:pt>
                <c:pt idx="803">
                  <c:v>1.1104472020342731</c:v>
                </c:pt>
                <c:pt idx="804">
                  <c:v>1.0598761584564331</c:v>
                </c:pt>
                <c:pt idx="805">
                  <c:v>1.0181439615480614</c:v>
                </c:pt>
                <c:pt idx="806">
                  <c:v>1.0314659247997422</c:v>
                </c:pt>
                <c:pt idx="807">
                  <c:v>0.97407214913687823</c:v>
                </c:pt>
                <c:pt idx="808">
                  <c:v>0.97414837549074795</c:v>
                </c:pt>
                <c:pt idx="809">
                  <c:v>0.95492004840749567</c:v>
                </c:pt>
                <c:pt idx="810">
                  <c:v>0.95993061291386828</c:v>
                </c:pt>
                <c:pt idx="811">
                  <c:v>0.97216336548720117</c:v>
                </c:pt>
                <c:pt idx="812">
                  <c:v>0.96526602848495913</c:v>
                </c:pt>
                <c:pt idx="813">
                  <c:v>0.99081854005178183</c:v>
                </c:pt>
                <c:pt idx="814">
                  <c:v>0.99146825987765608</c:v>
                </c:pt>
                <c:pt idx="815">
                  <c:v>0.99961492585895273</c:v>
                </c:pt>
                <c:pt idx="816">
                  <c:v>1.0743714548462764</c:v>
                </c:pt>
                <c:pt idx="817">
                  <c:v>1.0665165124199283</c:v>
                </c:pt>
                <c:pt idx="818">
                  <c:v>1.0571716767029786</c:v>
                </c:pt>
                <c:pt idx="819">
                  <c:v>1.069097212873886</c:v>
                </c:pt>
                <c:pt idx="820">
                  <c:v>1.0466632806153586</c:v>
                </c:pt>
                <c:pt idx="821">
                  <c:v>1.050520177663504</c:v>
                </c:pt>
                <c:pt idx="822">
                  <c:v>1.0265075820917997</c:v>
                </c:pt>
                <c:pt idx="823">
                  <c:v>1.0223417450530718</c:v>
                </c:pt>
                <c:pt idx="824">
                  <c:v>1.0446811095686828</c:v>
                </c:pt>
                <c:pt idx="825">
                  <c:v>0.9833559709063856</c:v>
                </c:pt>
                <c:pt idx="826">
                  <c:v>0.97839277071792718</c:v>
                </c:pt>
                <c:pt idx="827">
                  <c:v>1.045198325787926</c:v>
                </c:pt>
                <c:pt idx="828">
                  <c:v>0.98681823548465897</c:v>
                </c:pt>
                <c:pt idx="829">
                  <c:v>0.97966103685225525</c:v>
                </c:pt>
                <c:pt idx="830">
                  <c:v>0.98193241334004988</c:v>
                </c:pt>
                <c:pt idx="831">
                  <c:v>0.96404136173010502</c:v>
                </c:pt>
                <c:pt idx="832">
                  <c:v>0.96873712078943308</c:v>
                </c:pt>
                <c:pt idx="833">
                  <c:v>1.0110370230950816</c:v>
                </c:pt>
                <c:pt idx="834">
                  <c:v>1.0141937514682486</c:v>
                </c:pt>
                <c:pt idx="835">
                  <c:v>1.0627198352697953</c:v>
                </c:pt>
                <c:pt idx="836">
                  <c:v>1.0955047123187756</c:v>
                </c:pt>
                <c:pt idx="837">
                  <c:v>1.1047025916924218</c:v>
                </c:pt>
                <c:pt idx="838">
                  <c:v>1.1185216536371443</c:v>
                </c:pt>
                <c:pt idx="839">
                  <c:v>1.118032395229051</c:v>
                </c:pt>
                <c:pt idx="840">
                  <c:v>1.1263518569910229</c:v>
                </c:pt>
                <c:pt idx="841">
                  <c:v>1.1252639026356048</c:v>
                </c:pt>
                <c:pt idx="842">
                  <c:v>1.1266946878104243</c:v>
                </c:pt>
                <c:pt idx="843">
                  <c:v>1.1060382338385248</c:v>
                </c:pt>
                <c:pt idx="844">
                  <c:v>1.1810834690738583</c:v>
                </c:pt>
                <c:pt idx="845">
                  <c:v>1.1773192322869115</c:v>
                </c:pt>
                <c:pt idx="846">
                  <c:v>1.1561392351418935</c:v>
                </c:pt>
                <c:pt idx="847">
                  <c:v>1.1816947210650912</c:v>
                </c:pt>
                <c:pt idx="848">
                  <c:v>1.1957178866136513</c:v>
                </c:pt>
                <c:pt idx="849">
                  <c:v>1.1755906316968221</c:v>
                </c:pt>
                <c:pt idx="850">
                  <c:v>1.1727872292353254</c:v>
                </c:pt>
                <c:pt idx="851">
                  <c:v>1.1860443770651317</c:v>
                </c:pt>
                <c:pt idx="852">
                  <c:v>1.1726902463110638</c:v>
                </c:pt>
                <c:pt idx="853">
                  <c:v>1.2082684485155446</c:v>
                </c:pt>
                <c:pt idx="854">
                  <c:v>1.1609291265110071</c:v>
                </c:pt>
                <c:pt idx="855">
                  <c:v>1.1637495879476292</c:v>
                </c:pt>
                <c:pt idx="856">
                  <c:v>1.1634374850455853</c:v>
                </c:pt>
                <c:pt idx="857">
                  <c:v>1.1715468210972146</c:v>
                </c:pt>
                <c:pt idx="858">
                  <c:v>1.1868217482288426</c:v>
                </c:pt>
                <c:pt idx="859">
                  <c:v>1.2221375658595306</c:v>
                </c:pt>
                <c:pt idx="860">
                  <c:v>1.2226953925604311</c:v>
                </c:pt>
                <c:pt idx="861">
                  <c:v>1.2292571347965717</c:v>
                </c:pt>
                <c:pt idx="862">
                  <c:v>1.2345551574480624</c:v>
                </c:pt>
                <c:pt idx="863">
                  <c:v>1.1978776730285239</c:v>
                </c:pt>
                <c:pt idx="864">
                  <c:v>1.2473053253765276</c:v>
                </c:pt>
                <c:pt idx="865">
                  <c:v>1.2322046404157347</c:v>
                </c:pt>
                <c:pt idx="866">
                  <c:v>1.1910687270865938</c:v>
                </c:pt>
                <c:pt idx="867">
                  <c:v>1.1626328128309751</c:v>
                </c:pt>
                <c:pt idx="868">
                  <c:v>1.1379538503459803</c:v>
                </c:pt>
                <c:pt idx="869">
                  <c:v>1.1342350706102768</c:v>
                </c:pt>
                <c:pt idx="870">
                  <c:v>1.1508609470914504</c:v>
                </c:pt>
                <c:pt idx="871">
                  <c:v>1.172381847096883</c:v>
                </c:pt>
                <c:pt idx="872">
                  <c:v>1.1707862079934093</c:v>
                </c:pt>
                <c:pt idx="873">
                  <c:v>1.1810449298975809</c:v>
                </c:pt>
                <c:pt idx="874">
                  <c:v>1.1822161635975315</c:v>
                </c:pt>
                <c:pt idx="875">
                  <c:v>1.187854290766319</c:v>
                </c:pt>
                <c:pt idx="876">
                  <c:v>1.1679759484218648</c:v>
                </c:pt>
                <c:pt idx="877">
                  <c:v>1.1935601145842789</c:v>
                </c:pt>
                <c:pt idx="878">
                  <c:v>1.1822443102825249</c:v>
                </c:pt>
                <c:pt idx="879">
                  <c:v>1.2085583698495219</c:v>
                </c:pt>
                <c:pt idx="880">
                  <c:v>1.2091174705012184</c:v>
                </c:pt>
                <c:pt idx="881">
                  <c:v>1.1820977360063187</c:v>
                </c:pt>
                <c:pt idx="882">
                  <c:v>1.1792485431141231</c:v>
                </c:pt>
                <c:pt idx="883">
                  <c:v>1.1452478525097356</c:v>
                </c:pt>
                <c:pt idx="884">
                  <c:v>1.1496040797726341</c:v>
                </c:pt>
                <c:pt idx="885">
                  <c:v>1.1910519353259448</c:v>
                </c:pt>
                <c:pt idx="886">
                  <c:v>1.2135698266428394</c:v>
                </c:pt>
                <c:pt idx="887">
                  <c:v>1.1852614532851724</c:v>
                </c:pt>
                <c:pt idx="888">
                  <c:v>1.1464017169176453</c:v>
                </c:pt>
                <c:pt idx="889">
                  <c:v>1.1370672601139253</c:v>
                </c:pt>
                <c:pt idx="890">
                  <c:v>1.1778308525596448</c:v>
                </c:pt>
                <c:pt idx="891">
                  <c:v>1.184230678056676</c:v>
                </c:pt>
                <c:pt idx="892">
                  <c:v>1.1815964750645875</c:v>
                </c:pt>
                <c:pt idx="893">
                  <c:v>1.1349152583687299</c:v>
                </c:pt>
                <c:pt idx="894">
                  <c:v>1.0897234174031418</c:v>
                </c:pt>
                <c:pt idx="895">
                  <c:v>1.0982226497872587</c:v>
                </c:pt>
                <c:pt idx="896">
                  <c:v>1.1022639189987296</c:v>
                </c:pt>
                <c:pt idx="897">
                  <c:v>1.109667030933257</c:v>
                </c:pt>
                <c:pt idx="898">
                  <c:v>1.0961770559225528</c:v>
                </c:pt>
                <c:pt idx="899">
                  <c:v>1.0963629003187778</c:v>
                </c:pt>
                <c:pt idx="900">
                  <c:v>1.0665547175448815</c:v>
                </c:pt>
                <c:pt idx="901">
                  <c:v>1.0468988687448806</c:v>
                </c:pt>
                <c:pt idx="902">
                  <c:v>1.076051957896065</c:v>
                </c:pt>
                <c:pt idx="903">
                  <c:v>1.0800079288768127</c:v>
                </c:pt>
                <c:pt idx="904">
                  <c:v>1.100056686104711</c:v>
                </c:pt>
                <c:pt idx="905">
                  <c:v>1.107945234963426</c:v>
                </c:pt>
                <c:pt idx="906">
                  <c:v>1.1120109153520343</c:v>
                </c:pt>
                <c:pt idx="907">
                  <c:v>1.0690427558302351</c:v>
                </c:pt>
                <c:pt idx="908">
                  <c:v>1.0770039327989329</c:v>
                </c:pt>
                <c:pt idx="909">
                  <c:v>1.0784071374128552</c:v>
                </c:pt>
                <c:pt idx="910">
                  <c:v>1.0786249228243947</c:v>
                </c:pt>
                <c:pt idx="911">
                  <c:v>1.1314163639022319</c:v>
                </c:pt>
                <c:pt idx="912">
                  <c:v>1.124386984962928</c:v>
                </c:pt>
                <c:pt idx="913">
                  <c:v>1.1394400722113118</c:v>
                </c:pt>
                <c:pt idx="914">
                  <c:v>1.145944824251973</c:v>
                </c:pt>
                <c:pt idx="915">
                  <c:v>1.11538978290824</c:v>
                </c:pt>
                <c:pt idx="916">
                  <c:v>1.1226936000263961</c:v>
                </c:pt>
                <c:pt idx="917">
                  <c:v>1.1473225202693622</c:v>
                </c:pt>
                <c:pt idx="918">
                  <c:v>1.1941870701949044</c:v>
                </c:pt>
                <c:pt idx="919">
                  <c:v>1.1477696512862645</c:v>
                </c:pt>
                <c:pt idx="920">
                  <c:v>1.1415776540515699</c:v>
                </c:pt>
                <c:pt idx="921">
                  <c:v>1.1285338367499909</c:v>
                </c:pt>
                <c:pt idx="922">
                  <c:v>1.1509830381126336</c:v>
                </c:pt>
                <c:pt idx="923">
                  <c:v>1.2021071537909598</c:v>
                </c:pt>
                <c:pt idx="924">
                  <c:v>1.2072096162105668</c:v>
                </c:pt>
                <c:pt idx="925">
                  <c:v>1.2461861357989306</c:v>
                </c:pt>
                <c:pt idx="926">
                  <c:v>1.2442521180746822</c:v>
                </c:pt>
                <c:pt idx="927">
                  <c:v>1.2503397699145158</c:v>
                </c:pt>
                <c:pt idx="928">
                  <c:v>1.2460966180875361</c:v>
                </c:pt>
                <c:pt idx="929">
                  <c:v>1.290163003156052</c:v>
                </c:pt>
                <c:pt idx="930">
                  <c:v>1.2986649201055067</c:v>
                </c:pt>
                <c:pt idx="931">
                  <c:v>1.2861139900499869</c:v>
                </c:pt>
                <c:pt idx="932">
                  <c:v>1.2510051131404087</c:v>
                </c:pt>
                <c:pt idx="933">
                  <c:v>1.2829854282864637</c:v>
                </c:pt>
                <c:pt idx="934">
                  <c:v>1.2439102233192554</c:v>
                </c:pt>
                <c:pt idx="935">
                  <c:v>1.2334860887073198</c:v>
                </c:pt>
                <c:pt idx="936">
                  <c:v>1.2615637076682835</c:v>
                </c:pt>
                <c:pt idx="937">
                  <c:v>1.2746631288124803</c:v>
                </c:pt>
                <c:pt idx="938">
                  <c:v>1.2689222506367039</c:v>
                </c:pt>
                <c:pt idx="939">
                  <c:v>1.2328956663635127</c:v>
                </c:pt>
                <c:pt idx="940">
                  <c:v>1.274659341464067</c:v>
                </c:pt>
                <c:pt idx="941">
                  <c:v>1.2476142289857934</c:v>
                </c:pt>
                <c:pt idx="942">
                  <c:v>1.2693205712678248</c:v>
                </c:pt>
                <c:pt idx="943">
                  <c:v>1.2519281680396181</c:v>
                </c:pt>
                <c:pt idx="944">
                  <c:v>1.234782125134521</c:v>
                </c:pt>
                <c:pt idx="945">
                  <c:v>1.279010078775455</c:v>
                </c:pt>
                <c:pt idx="946">
                  <c:v>1.2926033607707592</c:v>
                </c:pt>
                <c:pt idx="947">
                  <c:v>1.2716039287939218</c:v>
                </c:pt>
                <c:pt idx="948">
                  <c:v>1.2210034030848675</c:v>
                </c:pt>
                <c:pt idx="949">
                  <c:v>1.2395848396590865</c:v>
                </c:pt>
                <c:pt idx="950">
                  <c:v>1.2061175959136046</c:v>
                </c:pt>
                <c:pt idx="951">
                  <c:v>1.2113727844839939</c:v>
                </c:pt>
                <c:pt idx="952">
                  <c:v>1.2315692260773201</c:v>
                </c:pt>
                <c:pt idx="953">
                  <c:v>1.1698297842583469</c:v>
                </c:pt>
                <c:pt idx="954">
                  <c:v>1.1635963375593827</c:v>
                </c:pt>
                <c:pt idx="955">
                  <c:v>1.1404939442108444</c:v>
                </c:pt>
                <c:pt idx="956">
                  <c:v>1.1384658461098516</c:v>
                </c:pt>
                <c:pt idx="957">
                  <c:v>1.1871157454534282</c:v>
                </c:pt>
                <c:pt idx="958">
                  <c:v>1.2200497446048442</c:v>
                </c:pt>
                <c:pt idx="959">
                  <c:v>1.2321147599185698</c:v>
                </c:pt>
                <c:pt idx="960">
                  <c:v>1.2233513419076003</c:v>
                </c:pt>
                <c:pt idx="961">
                  <c:v>1.2263280860816341</c:v>
                </c:pt>
                <c:pt idx="962">
                  <c:v>1.2478325576590892</c:v>
                </c:pt>
                <c:pt idx="963">
                  <c:v>1.1960463605361309</c:v>
                </c:pt>
                <c:pt idx="964">
                  <c:v>1.2323917965606093</c:v>
                </c:pt>
                <c:pt idx="965">
                  <c:v>1.2723794796482244</c:v>
                </c:pt>
                <c:pt idx="966">
                  <c:v>1.2252304029160741</c:v>
                </c:pt>
                <c:pt idx="967">
                  <c:v>1.227449650160104</c:v>
                </c:pt>
                <c:pt idx="968">
                  <c:v>1.2244468138714726</c:v>
                </c:pt>
                <c:pt idx="969">
                  <c:v>1.2934292386529307</c:v>
                </c:pt>
                <c:pt idx="970">
                  <c:v>1.2829377207808252</c:v>
                </c:pt>
                <c:pt idx="971">
                  <c:v>1.2985693277028278</c:v>
                </c:pt>
                <c:pt idx="972">
                  <c:v>1.3310728971289527</c:v>
                </c:pt>
                <c:pt idx="973">
                  <c:v>1.3265357614617035</c:v>
                </c:pt>
                <c:pt idx="974">
                  <c:v>1.336222372917419</c:v>
                </c:pt>
                <c:pt idx="975">
                  <c:v>1.2995817187380567</c:v>
                </c:pt>
                <c:pt idx="976">
                  <c:v>1.2547436886224737</c:v>
                </c:pt>
                <c:pt idx="977">
                  <c:v>1.2591796271117686</c:v>
                </c:pt>
                <c:pt idx="978">
                  <c:v>1.2588267206584385</c:v>
                </c:pt>
                <c:pt idx="979">
                  <c:v>1.2806870013404128</c:v>
                </c:pt>
                <c:pt idx="980">
                  <c:v>1.2853571443399483</c:v>
                </c:pt>
                <c:pt idx="981">
                  <c:v>1.2365385502308031</c:v>
                </c:pt>
                <c:pt idx="982">
                  <c:v>1.1969361749469145</c:v>
                </c:pt>
                <c:pt idx="983">
                  <c:v>1.21918966870453</c:v>
                </c:pt>
                <c:pt idx="984">
                  <c:v>1.2198104243136993</c:v>
                </c:pt>
                <c:pt idx="985">
                  <c:v>1.211862298235677</c:v>
                </c:pt>
                <c:pt idx="986">
                  <c:v>1.2367040456599645</c:v>
                </c:pt>
                <c:pt idx="987">
                  <c:v>1.2163975454207998</c:v>
                </c:pt>
                <c:pt idx="988">
                  <c:v>1.2227264146396242</c:v>
                </c:pt>
                <c:pt idx="989">
                  <c:v>1.1993015208574669</c:v>
                </c:pt>
                <c:pt idx="990">
                  <c:v>1.2386516584716147</c:v>
                </c:pt>
                <c:pt idx="991">
                  <c:v>1.2534575629310172</c:v>
                </c:pt>
                <c:pt idx="992">
                  <c:v>1.260082327177223</c:v>
                </c:pt>
                <c:pt idx="993">
                  <c:v>1.2765761049479722</c:v>
                </c:pt>
                <c:pt idx="994">
                  <c:v>1.2546815321532534</c:v>
                </c:pt>
                <c:pt idx="995">
                  <c:v>1.1946020354027966</c:v>
                </c:pt>
                <c:pt idx="996">
                  <c:v>1.2090946551273272</c:v>
                </c:pt>
                <c:pt idx="997">
                  <c:v>1.1623837971831947</c:v>
                </c:pt>
                <c:pt idx="998">
                  <c:v>1.1919318811053765</c:v>
                </c:pt>
                <c:pt idx="999">
                  <c:v>1.1535674302319538</c:v>
                </c:pt>
                <c:pt idx="1000">
                  <c:v>1.1728588218928797</c:v>
                </c:pt>
                <c:pt idx="1001">
                  <c:v>1.1479545026828739</c:v>
                </c:pt>
                <c:pt idx="1002">
                  <c:v>1.1182038656065678</c:v>
                </c:pt>
                <c:pt idx="1003">
                  <c:v>1.1288912778657556</c:v>
                </c:pt>
                <c:pt idx="1004">
                  <c:v>1.1052656101433342</c:v>
                </c:pt>
                <c:pt idx="1005">
                  <c:v>1.1030857450441192</c:v>
                </c:pt>
                <c:pt idx="1006">
                  <c:v>1.0994730190142137</c:v>
                </c:pt>
                <c:pt idx="1007">
                  <c:v>1.1336792406539227</c:v>
                </c:pt>
                <c:pt idx="1008">
                  <c:v>1.199107378739338</c:v>
                </c:pt>
                <c:pt idx="1009">
                  <c:v>1.1394231753013417</c:v>
                </c:pt>
                <c:pt idx="1010">
                  <c:v>1.1618982189780511</c:v>
                </c:pt>
                <c:pt idx="1011">
                  <c:v>1.174368061907163</c:v>
                </c:pt>
                <c:pt idx="1012">
                  <c:v>1.1604977628032138</c:v>
                </c:pt>
                <c:pt idx="1013">
                  <c:v>1.1609734322303968</c:v>
                </c:pt>
                <c:pt idx="1014">
                  <c:v>1.1667488969378748</c:v>
                </c:pt>
                <c:pt idx="1015">
                  <c:v>1.1825058139391962</c:v>
                </c:pt>
                <c:pt idx="1016">
                  <c:v>1.1732313174041731</c:v>
                </c:pt>
                <c:pt idx="1017">
                  <c:v>1.1941377883105722</c:v>
                </c:pt>
                <c:pt idx="1018">
                  <c:v>1.1839195083699108</c:v>
                </c:pt>
                <c:pt idx="1019">
                  <c:v>1.1417031540440026</c:v>
                </c:pt>
                <c:pt idx="1020">
                  <c:v>1.1216010723591709</c:v>
                </c:pt>
                <c:pt idx="1021">
                  <c:v>1.1057280329080121</c:v>
                </c:pt>
                <c:pt idx="1022">
                  <c:v>1.1269915195144424</c:v>
                </c:pt>
                <c:pt idx="1023">
                  <c:v>1.1138790561475418</c:v>
                </c:pt>
                <c:pt idx="1024">
                  <c:v>1.1477278403011313</c:v>
                </c:pt>
                <c:pt idx="1025">
                  <c:v>1.1466938482477331</c:v>
                </c:pt>
                <c:pt idx="1026">
                  <c:v>1.1154894807254774</c:v>
                </c:pt>
                <c:pt idx="1027">
                  <c:v>1.1671411678743604</c:v>
                </c:pt>
                <c:pt idx="1028">
                  <c:v>1.1467447180065236</c:v>
                </c:pt>
                <c:pt idx="1029">
                  <c:v>1.1424213547216882</c:v>
                </c:pt>
                <c:pt idx="1030">
                  <c:v>1.1206693915055728</c:v>
                </c:pt>
                <c:pt idx="1031">
                  <c:v>1.1317883316178012</c:v>
                </c:pt>
                <c:pt idx="1032">
                  <c:v>1.150269383741223</c:v>
                </c:pt>
                <c:pt idx="1033">
                  <c:v>1.1386007242204801</c:v>
                </c:pt>
                <c:pt idx="1034">
                  <c:v>1.1420383571471675</c:v>
                </c:pt>
                <c:pt idx="1035">
                  <c:v>1.171233213915704</c:v>
                </c:pt>
                <c:pt idx="1036">
                  <c:v>1.2004646609954202</c:v>
                </c:pt>
                <c:pt idx="1037">
                  <c:v>1.2069873676833265</c:v>
                </c:pt>
                <c:pt idx="1038">
                  <c:v>1.1441638517014201</c:v>
                </c:pt>
                <c:pt idx="1039">
                  <c:v>1.1466998625240359</c:v>
                </c:pt>
                <c:pt idx="1040">
                  <c:v>1.11878854842725</c:v>
                </c:pt>
                <c:pt idx="1041">
                  <c:v>1.1100844433034662</c:v>
                </c:pt>
                <c:pt idx="1042">
                  <c:v>1.1340885245910894</c:v>
                </c:pt>
                <c:pt idx="1043">
                  <c:v>1.1412991689751846</c:v>
                </c:pt>
                <c:pt idx="1044">
                  <c:v>1.1791659335524296</c:v>
                </c:pt>
                <c:pt idx="1045">
                  <c:v>1.1505720716035224</c:v>
                </c:pt>
                <c:pt idx="1046">
                  <c:v>1.114837032572654</c:v>
                </c:pt>
                <c:pt idx="1047">
                  <c:v>1.1104229804008456</c:v>
                </c:pt>
                <c:pt idx="1048">
                  <c:v>1.1036262589936088</c:v>
                </c:pt>
                <c:pt idx="1049">
                  <c:v>1.1460839872134696</c:v>
                </c:pt>
                <c:pt idx="1050">
                  <c:v>1.1516642630179341</c:v>
                </c:pt>
                <c:pt idx="1051">
                  <c:v>1.142827507825952</c:v>
                </c:pt>
                <c:pt idx="1052">
                  <c:v>1.139998185116522</c:v>
                </c:pt>
                <c:pt idx="1053">
                  <c:v>1.1969426569965371</c:v>
                </c:pt>
                <c:pt idx="1054">
                  <c:v>1.1133637548324948</c:v>
                </c:pt>
                <c:pt idx="1055">
                  <c:v>1.1367803394807126</c:v>
                </c:pt>
                <c:pt idx="1056">
                  <c:v>1.1506380538790129</c:v>
                </c:pt>
                <c:pt idx="1057">
                  <c:v>1.141311203996445</c:v>
                </c:pt>
                <c:pt idx="1058">
                  <c:v>1.0934978149335131</c:v>
                </c:pt>
                <c:pt idx="1059">
                  <c:v>1.088296200806405</c:v>
                </c:pt>
                <c:pt idx="1060">
                  <c:v>1.0876092097364052</c:v>
                </c:pt>
                <c:pt idx="1061">
                  <c:v>1.1507942784287586</c:v>
                </c:pt>
                <c:pt idx="1062">
                  <c:v>1.1971625457386896</c:v>
                </c:pt>
                <c:pt idx="1063">
                  <c:v>1.1864362264952253</c:v>
                </c:pt>
                <c:pt idx="1064">
                  <c:v>1.1257487929496466</c:v>
                </c:pt>
                <c:pt idx="1065">
                  <c:v>1.000533248627548</c:v>
                </c:pt>
                <c:pt idx="1066">
                  <c:v>1.0166055757036372</c:v>
                </c:pt>
                <c:pt idx="1067">
                  <c:v>1.0140380187390785</c:v>
                </c:pt>
                <c:pt idx="1068">
                  <c:v>0.94692490811531316</c:v>
                </c:pt>
                <c:pt idx="1069">
                  <c:v>0.8914874564779196</c:v>
                </c:pt>
                <c:pt idx="1070">
                  <c:v>0.84152051764005986</c:v>
                </c:pt>
                <c:pt idx="1071">
                  <c:v>0.81966638854215945</c:v>
                </c:pt>
                <c:pt idx="1072">
                  <c:v>0.82471869115488639</c:v>
                </c:pt>
                <c:pt idx="1073">
                  <c:v>0.82802048950160756</c:v>
                </c:pt>
                <c:pt idx="1074">
                  <c:v>0.8694567599778974</c:v>
                </c:pt>
                <c:pt idx="1075">
                  <c:v>0.879312754109838</c:v>
                </c:pt>
                <c:pt idx="1076">
                  <c:v>0.87815434718007468</c:v>
                </c:pt>
                <c:pt idx="1077">
                  <c:v>0.8741714632304326</c:v>
                </c:pt>
                <c:pt idx="1078">
                  <c:v>0.86813745667270903</c:v>
                </c:pt>
                <c:pt idx="1079">
                  <c:v>0.90420276690472456</c:v>
                </c:pt>
                <c:pt idx="1080">
                  <c:v>0.90256696507061462</c:v>
                </c:pt>
                <c:pt idx="1081">
                  <c:v>0.88972835839043407</c:v>
                </c:pt>
                <c:pt idx="1082">
                  <c:v>0.89131982726895365</c:v>
                </c:pt>
                <c:pt idx="1083">
                  <c:v>0.87723186622832816</c:v>
                </c:pt>
                <c:pt idx="1084">
                  <c:v>0.88484533358537554</c:v>
                </c:pt>
                <c:pt idx="1085">
                  <c:v>1.0084666863467837</c:v>
                </c:pt>
                <c:pt idx="1086">
                  <c:v>1.0256945502169863</c:v>
                </c:pt>
                <c:pt idx="1087">
                  <c:v>1.0242236196204928</c:v>
                </c:pt>
                <c:pt idx="1088">
                  <c:v>1.0820545060314597</c:v>
                </c:pt>
                <c:pt idx="1089">
                  <c:v>1.1780219637708096</c:v>
                </c:pt>
                <c:pt idx="1090">
                  <c:v>1.1712288958341062</c:v>
                </c:pt>
                <c:pt idx="1091">
                  <c:v>1.2209653708363752</c:v>
                </c:pt>
                <c:pt idx="1092">
                  <c:v>1.1929497874606025</c:v>
                </c:pt>
                <c:pt idx="1093">
                  <c:v>1.2622222694403957</c:v>
                </c:pt>
                <c:pt idx="1094">
                  <c:v>1.264654602793907</c:v>
                </c:pt>
                <c:pt idx="1095">
                  <c:v>1.2956906914136916</c:v>
                </c:pt>
                <c:pt idx="1096">
                  <c:v>1.3585250622743716</c:v>
                </c:pt>
                <c:pt idx="1097">
                  <c:v>1.3719674604901082</c:v>
                </c:pt>
                <c:pt idx="1098">
                  <c:v>1.3581233248557512</c:v>
                </c:pt>
                <c:pt idx="1099">
                  <c:v>1.3431110309201206</c:v>
                </c:pt>
                <c:pt idx="1100">
                  <c:v>1.2996912100107891</c:v>
                </c:pt>
                <c:pt idx="1101">
                  <c:v>1.3030287000306049</c:v>
                </c:pt>
                <c:pt idx="1102">
                  <c:v>1.332546650107471</c:v>
                </c:pt>
                <c:pt idx="1103">
                  <c:v>1.305365408831838</c:v>
                </c:pt>
                <c:pt idx="1104">
                  <c:v>1.2243600251822857</c:v>
                </c:pt>
                <c:pt idx="1105">
                  <c:v>1.2291199075462231</c:v>
                </c:pt>
                <c:pt idx="1106">
                  <c:v>1.2227878924347659</c:v>
                </c:pt>
                <c:pt idx="1107">
                  <c:v>1.2618698040205458</c:v>
                </c:pt>
                <c:pt idx="1108">
                  <c:v>1.2306262306404128</c:v>
                </c:pt>
                <c:pt idx="1109">
                  <c:v>1.1392637771925294</c:v>
                </c:pt>
                <c:pt idx="1110">
                  <c:v>1.16720754293136</c:v>
                </c:pt>
                <c:pt idx="1111">
                  <c:v>1.1389473361322549</c:v>
                </c:pt>
                <c:pt idx="1112">
                  <c:v>1.0890879871149812</c:v>
                </c:pt>
                <c:pt idx="1113">
                  <c:v>1.0298593252891666</c:v>
                </c:pt>
                <c:pt idx="1114">
                  <c:v>1.0275906985167591</c:v>
                </c:pt>
                <c:pt idx="1115">
                  <c:v>1.0828394453324166</c:v>
                </c:pt>
                <c:pt idx="1116">
                  <c:v>1.1050165651226238</c:v>
                </c:pt>
                <c:pt idx="1117">
                  <c:v>1.0742291542599598</c:v>
                </c:pt>
                <c:pt idx="1118">
                  <c:v>1.0943848847010218</c:v>
                </c:pt>
                <c:pt idx="1119">
                  <c:v>1.0771640074058242</c:v>
                </c:pt>
                <c:pt idx="1120">
                  <c:v>1.1051840227482168</c:v>
                </c:pt>
                <c:pt idx="1121">
                  <c:v>1.0755493651067853</c:v>
                </c:pt>
                <c:pt idx="1122">
                  <c:v>1.0831817754286164</c:v>
                </c:pt>
                <c:pt idx="1123">
                  <c:v>1.0643726769333657</c:v>
                </c:pt>
                <c:pt idx="1124">
                  <c:v>1.0689270590041513</c:v>
                </c:pt>
                <c:pt idx="1125">
                  <c:v>1.072409468890273</c:v>
                </c:pt>
                <c:pt idx="1126">
                  <c:v>1.1097379311630597</c:v>
                </c:pt>
                <c:pt idx="1127">
                  <c:v>1.1140294471850378</c:v>
                </c:pt>
                <c:pt idx="1128">
                  <c:v>1.1141382423148867</c:v>
                </c:pt>
                <c:pt idx="1129">
                  <c:v>1.1149323467955508</c:v>
                </c:pt>
                <c:pt idx="1130">
                  <c:v>1.115245450021251</c:v>
                </c:pt>
                <c:pt idx="1131">
                  <c:v>1.1504406452142233</c:v>
                </c:pt>
                <c:pt idx="1132">
                  <c:v>1.1405556218075383</c:v>
                </c:pt>
                <c:pt idx="1133">
                  <c:v>1.1262612342685383</c:v>
                </c:pt>
                <c:pt idx="1134">
                  <c:v>1.1666803283272356</c:v>
                </c:pt>
                <c:pt idx="1135">
                  <c:v>1.1664030572465169</c:v>
                </c:pt>
                <c:pt idx="1136">
                  <c:v>1.1389436525474643</c:v>
                </c:pt>
                <c:pt idx="1137">
                  <c:v>1.099462982812387</c:v>
                </c:pt>
                <c:pt idx="1138">
                  <c:v>1.1399604752172197</c:v>
                </c:pt>
                <c:pt idx="1139">
                  <c:v>1.1038946726367782</c:v>
                </c:pt>
                <c:pt idx="1140">
                  <c:v>1.0693281272266992</c:v>
                </c:pt>
                <c:pt idx="1141">
                  <c:v>1.016692236347005</c:v>
                </c:pt>
                <c:pt idx="1142">
                  <c:v>1.0054657524303567</c:v>
                </c:pt>
                <c:pt idx="1143">
                  <c:v>1.0035234478301072</c:v>
                </c:pt>
                <c:pt idx="1144">
                  <c:v>1.0020069515898986</c:v>
                </c:pt>
                <c:pt idx="1145">
                  <c:v>0.94924628297777658</c:v>
                </c:pt>
                <c:pt idx="1146">
                  <c:v>0.98362834070784932</c:v>
                </c:pt>
                <c:pt idx="1147">
                  <c:v>0.97230405348007898</c:v>
                </c:pt>
                <c:pt idx="1148">
                  <c:v>0.98520346227008582</c:v>
                </c:pt>
                <c:pt idx="1149">
                  <c:v>1.036242992849594</c:v>
                </c:pt>
                <c:pt idx="1150">
                  <c:v>1.0010592665633802</c:v>
                </c:pt>
                <c:pt idx="1151">
                  <c:v>1.0019936448739653</c:v>
                </c:pt>
                <c:pt idx="1152">
                  <c:v>1.0494119316545094</c:v>
                </c:pt>
                <c:pt idx="1153">
                  <c:v>1.051036106207452</c:v>
                </c:pt>
                <c:pt idx="1154">
                  <c:v>1.0505256483927616</c:v>
                </c:pt>
                <c:pt idx="1155">
                  <c:v>1.0534785837580087</c:v>
                </c:pt>
                <c:pt idx="1156">
                  <c:v>0.99225512338564215</c:v>
                </c:pt>
                <c:pt idx="1157">
                  <c:v>0.99462555768490013</c:v>
                </c:pt>
                <c:pt idx="1158">
                  <c:v>1.0222713048352934</c:v>
                </c:pt>
                <c:pt idx="1159">
                  <c:v>1.0099653459401459</c:v>
                </c:pt>
                <c:pt idx="1160">
                  <c:v>1.0756596479188563</c:v>
                </c:pt>
                <c:pt idx="1161">
                  <c:v>1.0517492817797101</c:v>
                </c:pt>
                <c:pt idx="1162">
                  <c:v>1.0342077872103048</c:v>
                </c:pt>
                <c:pt idx="1163">
                  <c:v>1.0335688089133781</c:v>
                </c:pt>
                <c:pt idx="1164">
                  <c:v>0.98415895594904357</c:v>
                </c:pt>
                <c:pt idx="1165">
                  <c:v>0.98349388909390612</c:v>
                </c:pt>
                <c:pt idx="1166">
                  <c:v>1.0044004330370713</c:v>
                </c:pt>
                <c:pt idx="1167">
                  <c:v>1.0285946220701927</c:v>
                </c:pt>
                <c:pt idx="1168">
                  <c:v>1.0385146333481101</c:v>
                </c:pt>
                <c:pt idx="1169">
                  <c:v>1.0547133401474811</c:v>
                </c:pt>
                <c:pt idx="1170">
                  <c:v>1.0507143164117649</c:v>
                </c:pt>
                <c:pt idx="1171">
                  <c:v>1.0670348322961776</c:v>
                </c:pt>
                <c:pt idx="1172">
                  <c:v>1.0892412206584947</c:v>
                </c:pt>
                <c:pt idx="1173">
                  <c:v>1.0845704165731911</c:v>
                </c:pt>
                <c:pt idx="1174">
                  <c:v>1.08059907820435</c:v>
                </c:pt>
                <c:pt idx="1175">
                  <c:v>1.0926555230053165</c:v>
                </c:pt>
                <c:pt idx="1176">
                  <c:v>1.0818581822201927</c:v>
                </c:pt>
                <c:pt idx="1177">
                  <c:v>1.1153139344658936</c:v>
                </c:pt>
                <c:pt idx="1178">
                  <c:v>1.0850192540269481</c:v>
                </c:pt>
                <c:pt idx="1179">
                  <c:v>1.0435098267964176</c:v>
                </c:pt>
                <c:pt idx="1180">
                  <c:v>1.1041355905407861</c:v>
                </c:pt>
                <c:pt idx="1181">
                  <c:v>1.1398290353755063</c:v>
                </c:pt>
                <c:pt idx="1182">
                  <c:v>1.0933962695650881</c:v>
                </c:pt>
                <c:pt idx="1183">
                  <c:v>1.1115152751521464</c:v>
                </c:pt>
                <c:pt idx="1184">
                  <c:v>1.1407549929862189</c:v>
                </c:pt>
                <c:pt idx="1185">
                  <c:v>1.1454267387280179</c:v>
                </c:pt>
                <c:pt idx="1186">
                  <c:v>1.1973142358254765</c:v>
                </c:pt>
                <c:pt idx="1187">
                  <c:v>1.2232228018592957</c:v>
                </c:pt>
                <c:pt idx="1188">
                  <c:v>1.2417046125498552</c:v>
                </c:pt>
                <c:pt idx="1189">
                  <c:v>1.2417333084021716</c:v>
                </c:pt>
                <c:pt idx="1190">
                  <c:v>1.1844582155432146</c:v>
                </c:pt>
                <c:pt idx="1191">
                  <c:v>1.1941326386213094</c:v>
                </c:pt>
                <c:pt idx="1192">
                  <c:v>1.2010354249371764</c:v>
                </c:pt>
                <c:pt idx="1193">
                  <c:v>1.2072496051750867</c:v>
                </c:pt>
                <c:pt idx="1194">
                  <c:v>1.1985920859515748</c:v>
                </c:pt>
                <c:pt idx="1195">
                  <c:v>1.1986081966995732</c:v>
                </c:pt>
                <c:pt idx="1196">
                  <c:v>1.2073634236556985</c:v>
                </c:pt>
                <c:pt idx="1197">
                  <c:v>1.2014098997121827</c:v>
                </c:pt>
                <c:pt idx="1198">
                  <c:v>1.1977201043131331</c:v>
                </c:pt>
                <c:pt idx="1199">
                  <c:v>1.1812754163172119</c:v>
                </c:pt>
                <c:pt idx="1200">
                  <c:v>1.1782802586040775</c:v>
                </c:pt>
                <c:pt idx="1201">
                  <c:v>1.1735401300260717</c:v>
                </c:pt>
                <c:pt idx="1202">
                  <c:v>1.1735401300260717</c:v>
                </c:pt>
                <c:pt idx="1203">
                  <c:v>1.2019315871670422</c:v>
                </c:pt>
                <c:pt idx="1204">
                  <c:v>1.1995779430196731</c:v>
                </c:pt>
                <c:pt idx="1205">
                  <c:v>1.2199319747381432</c:v>
                </c:pt>
                <c:pt idx="1206">
                  <c:v>1.1961377020639596</c:v>
                </c:pt>
                <c:pt idx="1207">
                  <c:v>1.2122374582450475</c:v>
                </c:pt>
                <c:pt idx="1208">
                  <c:v>1.2302354227554571</c:v>
                </c:pt>
                <c:pt idx="1209">
                  <c:v>1.224780346246511</c:v>
                </c:pt>
                <c:pt idx="1210">
                  <c:v>1.1758194012550631</c:v>
                </c:pt>
                <c:pt idx="1211">
                  <c:v>1.1753575635945215</c:v>
                </c:pt>
                <c:pt idx="1212">
                  <c:v>1.219079217250066</c:v>
                </c:pt>
                <c:pt idx="1213">
                  <c:v>1.2278371321101609</c:v>
                </c:pt>
                <c:pt idx="1214">
                  <c:v>1.2455685125838039</c:v>
                </c:pt>
                <c:pt idx="1215">
                  <c:v>1.2294639987156724</c:v>
                </c:pt>
                <c:pt idx="1216">
                  <c:v>1.2058991017818037</c:v>
                </c:pt>
                <c:pt idx="1217">
                  <c:v>1.155253318491255</c:v>
                </c:pt>
                <c:pt idx="1218">
                  <c:v>1.1617804410057211</c:v>
                </c:pt>
                <c:pt idx="1219">
                  <c:v>1.2194885398602866</c:v>
                </c:pt>
                <c:pt idx="1220">
                  <c:v>1.2199755509138639</c:v>
                </c:pt>
                <c:pt idx="1221">
                  <c:v>1.2125247242413455</c:v>
                </c:pt>
                <c:pt idx="1222">
                  <c:v>1.211034705312471</c:v>
                </c:pt>
                <c:pt idx="1223">
                  <c:v>1.2414354409404411</c:v>
                </c:pt>
                <c:pt idx="1224">
                  <c:v>1.2105135226447272</c:v>
                </c:pt>
                <c:pt idx="1225">
                  <c:v>1.2353611785139231</c:v>
                </c:pt>
                <c:pt idx="1226">
                  <c:v>1.2070151271800111</c:v>
                </c:pt>
                <c:pt idx="1227">
                  <c:v>1.1886913987151202</c:v>
                </c:pt>
                <c:pt idx="1228">
                  <c:v>1.1575650226268908</c:v>
                </c:pt>
                <c:pt idx="1229">
                  <c:v>1.1771905479602256</c:v>
                </c:pt>
                <c:pt idx="1230">
                  <c:v>1.1913906199040689</c:v>
                </c:pt>
                <c:pt idx="1231">
                  <c:v>1.1917205276791842</c:v>
                </c:pt>
                <c:pt idx="1232">
                  <c:v>1.1874768479291775</c:v>
                </c:pt>
                <c:pt idx="1233">
                  <c:v>1.1617487808838265</c:v>
                </c:pt>
                <c:pt idx="1234">
                  <c:v>1.2160322231816441</c:v>
                </c:pt>
                <c:pt idx="1235">
                  <c:v>1.2363102779837574</c:v>
                </c:pt>
                <c:pt idx="1236">
                  <c:v>1.3026602312809425</c:v>
                </c:pt>
                <c:pt idx="1237">
                  <c:v>1.2715905959380795</c:v>
                </c:pt>
                <c:pt idx="1238">
                  <c:v>1.3048211221924404</c:v>
                </c:pt>
                <c:pt idx="1239">
                  <c:v>1.3550586787990051</c:v>
                </c:pt>
                <c:pt idx="1240">
                  <c:v>1.367398066133036</c:v>
                </c:pt>
                <c:pt idx="1241">
                  <c:v>1.3042057961152791</c:v>
                </c:pt>
                <c:pt idx="1242">
                  <c:v>1.2905724026325609</c:v>
                </c:pt>
                <c:pt idx="1243">
                  <c:v>1.2738806671046496</c:v>
                </c:pt>
                <c:pt idx="1244">
                  <c:v>1.3225067194492832</c:v>
                </c:pt>
                <c:pt idx="1245">
                  <c:v>1.3216301324109367</c:v>
                </c:pt>
                <c:pt idx="1246">
                  <c:v>1.3164227476668391</c:v>
                </c:pt>
                <c:pt idx="1247">
                  <c:v>1.3452309975545491</c:v>
                </c:pt>
                <c:pt idx="1248">
                  <c:v>1.3003953863804421</c:v>
                </c:pt>
                <c:pt idx="1249">
                  <c:v>1.2080094770123802</c:v>
                </c:pt>
                <c:pt idx="1250">
                  <c:v>1.2419304587487239</c:v>
                </c:pt>
                <c:pt idx="1251">
                  <c:v>1.2242327646607751</c:v>
                </c:pt>
                <c:pt idx="1252">
                  <c:v>1.210370941526586</c:v>
                </c:pt>
                <c:pt idx="1253">
                  <c:v>1.1431877190206079</c:v>
                </c:pt>
                <c:pt idx="1254">
                  <c:v>1.1333368492169944</c:v>
                </c:pt>
                <c:pt idx="1255">
                  <c:v>1.1408978114151831</c:v>
                </c:pt>
                <c:pt idx="1256">
                  <c:v>1.0934528775408199</c:v>
                </c:pt>
                <c:pt idx="1257">
                  <c:v>1.0808487512082834</c:v>
                </c:pt>
                <c:pt idx="1258">
                  <c:v>1.0837544362820017</c:v>
                </c:pt>
                <c:pt idx="1259">
                  <c:v>0.98719712363820222</c:v>
                </c:pt>
                <c:pt idx="1260">
                  <c:v>1.002806922661551</c:v>
                </c:pt>
                <c:pt idx="1261">
                  <c:v>0.93783199485553492</c:v>
                </c:pt>
                <c:pt idx="1262">
                  <c:v>0.94117198887540088</c:v>
                </c:pt>
                <c:pt idx="1263">
                  <c:v>0.90531127561028768</c:v>
                </c:pt>
                <c:pt idx="1264">
                  <c:v>0.90596008640608405</c:v>
                </c:pt>
                <c:pt idx="1265">
                  <c:v>0.91546740778284574</c:v>
                </c:pt>
                <c:pt idx="1266">
                  <c:v>0.91330277237233204</c:v>
                </c:pt>
                <c:pt idx="1267">
                  <c:v>0.95044575144338539</c:v>
                </c:pt>
                <c:pt idx="1268">
                  <c:v>0.95489115947147674</c:v>
                </c:pt>
                <c:pt idx="1269">
                  <c:v>0.9375282371226471</c:v>
                </c:pt>
                <c:pt idx="1270">
                  <c:v>0.97217282414188033</c:v>
                </c:pt>
                <c:pt idx="1271">
                  <c:v>0.93857681453443575</c:v>
                </c:pt>
                <c:pt idx="1272">
                  <c:v>0.90378260024507351</c:v>
                </c:pt>
                <c:pt idx="1273">
                  <c:v>0.88107196987076686</c:v>
                </c:pt>
                <c:pt idx="1274">
                  <c:v>0.86130054028176162</c:v>
                </c:pt>
                <c:pt idx="1275">
                  <c:v>0.87665383933624996</c:v>
                </c:pt>
                <c:pt idx="1276">
                  <c:v>0.9059357263238289</c:v>
                </c:pt>
                <c:pt idx="1277">
                  <c:v>1.0705775109241509</c:v>
                </c:pt>
                <c:pt idx="1278">
                  <c:v>1.0994008817763303</c:v>
                </c:pt>
                <c:pt idx="1279">
                  <c:v>1.1347015405854066</c:v>
                </c:pt>
                <c:pt idx="1280">
                  <c:v>1.1527052139835345</c:v>
                </c:pt>
                <c:pt idx="1281">
                  <c:v>1.162383401642415</c:v>
                </c:pt>
                <c:pt idx="1282">
                  <c:v>1.1620148969310395</c:v>
                </c:pt>
                <c:pt idx="1283">
                  <c:v>1.1408035079180638</c:v>
                </c:pt>
                <c:pt idx="1284">
                  <c:v>1.153924886497453</c:v>
                </c:pt>
                <c:pt idx="1285">
                  <c:v>1.1755429657685059</c:v>
                </c:pt>
                <c:pt idx="1286">
                  <c:v>1.20536940491239</c:v>
                </c:pt>
                <c:pt idx="1287">
                  <c:v>1.2166469845676149</c:v>
                </c:pt>
                <c:pt idx="1288">
                  <c:v>1.2148618009478682</c:v>
                </c:pt>
                <c:pt idx="1289">
                  <c:v>1.1772913095687938</c:v>
                </c:pt>
                <c:pt idx="1290">
                  <c:v>1.1572162893037257</c:v>
                </c:pt>
                <c:pt idx="1291">
                  <c:v>1.2319051687640512</c:v>
                </c:pt>
                <c:pt idx="1292">
                  <c:v>1.2131785931389385</c:v>
                </c:pt>
                <c:pt idx="1293">
                  <c:v>1.197070370222389</c:v>
                </c:pt>
                <c:pt idx="1294">
                  <c:v>1.2136905341328479</c:v>
                </c:pt>
                <c:pt idx="1295">
                  <c:v>1.1807171500853821</c:v>
                </c:pt>
                <c:pt idx="1296">
                  <c:v>1.2319263020948545</c:v>
                </c:pt>
                <c:pt idx="1297">
                  <c:v>1.2129364482882876</c:v>
                </c:pt>
                <c:pt idx="1298">
                  <c:v>1.1495198397891901</c:v>
                </c:pt>
                <c:pt idx="1299">
                  <c:v>1.1329659986173408</c:v>
                </c:pt>
                <c:pt idx="1300">
                  <c:v>1.0660659227853304</c:v>
                </c:pt>
                <c:pt idx="1301">
                  <c:v>1.075708587637582</c:v>
                </c:pt>
                <c:pt idx="1302">
                  <c:v>1.0877510808053021</c:v>
                </c:pt>
                <c:pt idx="1303">
                  <c:v>1.072617434558818</c:v>
                </c:pt>
                <c:pt idx="1304">
                  <c:v>1.0118473488976802</c:v>
                </c:pt>
                <c:pt idx="1305">
                  <c:v>0.93582227657463524</c:v>
                </c:pt>
                <c:pt idx="1306">
                  <c:v>1.0109936502864592</c:v>
                </c:pt>
                <c:pt idx="1307">
                  <c:v>0.9749683755555012</c:v>
                </c:pt>
                <c:pt idx="1308">
                  <c:v>1.0053981312389884</c:v>
                </c:pt>
                <c:pt idx="1309">
                  <c:v>1.0052091907863652</c:v>
                </c:pt>
                <c:pt idx="1310">
                  <c:v>1.0490280668587806</c:v>
                </c:pt>
                <c:pt idx="1311">
                  <c:v>1.086272758448414</c:v>
                </c:pt>
                <c:pt idx="1312">
                  <c:v>1.1027976961440791</c:v>
                </c:pt>
                <c:pt idx="1313">
                  <c:v>1.1139327142848539</c:v>
                </c:pt>
                <c:pt idx="1314">
                  <c:v>1.1107460473074817</c:v>
                </c:pt>
                <c:pt idx="1315">
                  <c:v>1.1149810059719223</c:v>
                </c:pt>
                <c:pt idx="1316">
                  <c:v>1.129957836666341</c:v>
                </c:pt>
                <c:pt idx="1317">
                  <c:v>1.1661280858652181</c:v>
                </c:pt>
                <c:pt idx="1318">
                  <c:v>1.1489968138166959</c:v>
                </c:pt>
                <c:pt idx="1319">
                  <c:v>1.1371121417822012</c:v>
                </c:pt>
                <c:pt idx="1320">
                  <c:v>1.1593634797426211</c:v>
                </c:pt>
                <c:pt idx="1321">
                  <c:v>1.1668350453206764</c:v>
                </c:pt>
                <c:pt idx="1322">
                  <c:v>1.1772842311521627</c:v>
                </c:pt>
                <c:pt idx="1323">
                  <c:v>1.1983952871935932</c:v>
                </c:pt>
                <c:pt idx="1324">
                  <c:v>1.1937119254324047</c:v>
                </c:pt>
                <c:pt idx="1325">
                  <c:v>1.1999499989582891</c:v>
                </c:pt>
                <c:pt idx="1326">
                  <c:v>1.1945113943635561</c:v>
                </c:pt>
                <c:pt idx="1327">
                  <c:v>1.1931172828245813</c:v>
                </c:pt>
                <c:pt idx="1328">
                  <c:v>1.2142390834280277</c:v>
                </c:pt>
                <c:pt idx="1329">
                  <c:v>1.2254105106209219</c:v>
                </c:pt>
                <c:pt idx="1330">
                  <c:v>1.2504364755197857</c:v>
                </c:pt>
                <c:pt idx="1331">
                  <c:v>1.2417109534646225</c:v>
                </c:pt>
                <c:pt idx="1332">
                  <c:v>1.246665621734149</c:v>
                </c:pt>
                <c:pt idx="1333">
                  <c:v>1.2417787112912233</c:v>
                </c:pt>
                <c:pt idx="1334">
                  <c:v>1.2458436646632709</c:v>
                </c:pt>
                <c:pt idx="1335">
                  <c:v>1.2322766520252002</c:v>
                </c:pt>
                <c:pt idx="1336">
                  <c:v>1.2363872101139401</c:v>
                </c:pt>
                <c:pt idx="1337">
                  <c:v>1.2199417736246605</c:v>
                </c:pt>
                <c:pt idx="1338">
                  <c:v>1.2318774103063128</c:v>
                </c:pt>
                <c:pt idx="1339">
                  <c:v>1.2748445476565582</c:v>
                </c:pt>
                <c:pt idx="1340">
                  <c:v>1.2977566851274944</c:v>
                </c:pt>
                <c:pt idx="1341">
                  <c:v>1.2705489808124981</c:v>
                </c:pt>
                <c:pt idx="1342">
                  <c:v>1.243323503088932</c:v>
                </c:pt>
                <c:pt idx="1343">
                  <c:v>1.2620224600438665</c:v>
                </c:pt>
                <c:pt idx="1344">
                  <c:v>1.261106110004093</c:v>
                </c:pt>
                <c:pt idx="1345">
                  <c:v>1.2689329846529447</c:v>
                </c:pt>
                <c:pt idx="1346">
                  <c:v>1.2960566186014753</c:v>
                </c:pt>
                <c:pt idx="1347">
                  <c:v>1.2618634277705443</c:v>
                </c:pt>
                <c:pt idx="1348">
                  <c:v>1.3104348668399681</c:v>
                </c:pt>
                <c:pt idx="1349">
                  <c:v>1.3006543004178328</c:v>
                </c:pt>
                <c:pt idx="1350">
                  <c:v>1.314614099226483</c:v>
                </c:pt>
                <c:pt idx="1351">
                  <c:v>1.2662254524971939</c:v>
                </c:pt>
                <c:pt idx="1352">
                  <c:v>1.273945631204239</c:v>
                </c:pt>
                <c:pt idx="1353">
                  <c:v>1.2529507241872599</c:v>
                </c:pt>
                <c:pt idx="1354">
                  <c:v>1.2543824784725155</c:v>
                </c:pt>
                <c:pt idx="1355">
                  <c:v>1.2429273935943024</c:v>
                </c:pt>
                <c:pt idx="1356">
                  <c:v>1.2044404910794568</c:v>
                </c:pt>
                <c:pt idx="1357">
                  <c:v>1.220354951191067</c:v>
                </c:pt>
                <c:pt idx="1358">
                  <c:v>1.199717639193949</c:v>
                </c:pt>
                <c:pt idx="1359">
                  <c:v>1.19979308560929</c:v>
                </c:pt>
                <c:pt idx="1360">
                  <c:v>1.1894643341852877</c:v>
                </c:pt>
                <c:pt idx="1361">
                  <c:v>1.2185744450631317</c:v>
                </c:pt>
                <c:pt idx="1362">
                  <c:v>1.2157542949737525</c:v>
                </c:pt>
                <c:pt idx="1363">
                  <c:v>1.2364121713535756</c:v>
                </c:pt>
                <c:pt idx="1364">
                  <c:v>1.2374389570454745</c:v>
                </c:pt>
                <c:pt idx="1365">
                  <c:v>1.2956690012960641</c:v>
                </c:pt>
                <c:pt idx="1366">
                  <c:v>1.2570628053330208</c:v>
                </c:pt>
                <c:pt idx="1367">
                  <c:v>1.2910539221446395</c:v>
                </c:pt>
                <c:pt idx="1368">
                  <c:v>1.2900486046265274</c:v>
                </c:pt>
                <c:pt idx="1369">
                  <c:v>1.269623167914695</c:v>
                </c:pt>
                <c:pt idx="1370">
                  <c:v>1.2503211541463044</c:v>
                </c:pt>
                <c:pt idx="1371">
                  <c:v>1.2474017133557085</c:v>
                </c:pt>
                <c:pt idx="1372">
                  <c:v>1.248683398578301</c:v>
                </c:pt>
                <c:pt idx="1373">
                  <c:v>1.2409999675826862</c:v>
                </c:pt>
                <c:pt idx="1374">
                  <c:v>1.2519904152987746</c:v>
                </c:pt>
                <c:pt idx="1375">
                  <c:v>1.2395040257639574</c:v>
                </c:pt>
                <c:pt idx="1376">
                  <c:v>1.2195158734174969</c:v>
                </c:pt>
                <c:pt idx="1377">
                  <c:v>1.2634810516252672</c:v>
                </c:pt>
                <c:pt idx="1378">
                  <c:v>1.2299002856507018</c:v>
                </c:pt>
                <c:pt idx="1379">
                  <c:v>1.2692182859820702</c:v>
                </c:pt>
                <c:pt idx="1380">
                  <c:v>1.2728034493548699</c:v>
                </c:pt>
                <c:pt idx="1381">
                  <c:v>1.3180996857632563</c:v>
                </c:pt>
                <c:pt idx="1382">
                  <c:v>1.3315594521885392</c:v>
                </c:pt>
                <c:pt idx="1383">
                  <c:v>1.3164515610700143</c:v>
                </c:pt>
                <c:pt idx="1384">
                  <c:v>1.3131512068128413</c:v>
                </c:pt>
                <c:pt idx="1385">
                  <c:v>1.2904316305420629</c:v>
                </c:pt>
                <c:pt idx="1386">
                  <c:v>1.2932532710140368</c:v>
                </c:pt>
                <c:pt idx="1387">
                  <c:v>1.278594594830994</c:v>
                </c:pt>
                <c:pt idx="1388">
                  <c:v>1.2457146773925654</c:v>
                </c:pt>
                <c:pt idx="1389">
                  <c:v>1.2568965611844281</c:v>
                </c:pt>
                <c:pt idx="1390">
                  <c:v>1.2463406667004264</c:v>
                </c:pt>
                <c:pt idx="1391">
                  <c:v>1.2270034520181134</c:v>
                </c:pt>
                <c:pt idx="1392">
                  <c:v>1.2716943173505211</c:v>
                </c:pt>
                <c:pt idx="1393">
                  <c:v>1.2097532758813867</c:v>
                </c:pt>
                <c:pt idx="1394">
                  <c:v>1.2061942143612776</c:v>
                </c:pt>
                <c:pt idx="1395">
                  <c:v>1.1558568499045474</c:v>
                </c:pt>
                <c:pt idx="1396">
                  <c:v>1.2107461364367635</c:v>
                </c:pt>
                <c:pt idx="1397">
                  <c:v>1.1568975555436996</c:v>
                </c:pt>
                <c:pt idx="1398">
                  <c:v>1.1676637447012106</c:v>
                </c:pt>
                <c:pt idx="1399">
                  <c:v>1.1786132509870646</c:v>
                </c:pt>
                <c:pt idx="1400">
                  <c:v>1.2102569785062129</c:v>
                </c:pt>
                <c:pt idx="1401">
                  <c:v>1.176252768206155</c:v>
                </c:pt>
                <c:pt idx="1402">
                  <c:v>1.1989545733536016</c:v>
                </c:pt>
                <c:pt idx="1403">
                  <c:v>1.1727919336098067</c:v>
                </c:pt>
                <c:pt idx="1404">
                  <c:v>1.1657938935758971</c:v>
                </c:pt>
                <c:pt idx="1405">
                  <c:v>1.180733066663521</c:v>
                </c:pt>
                <c:pt idx="1406">
                  <c:v>1.1768811793655407</c:v>
                </c:pt>
                <c:pt idx="1407">
                  <c:v>1.1694494726004694</c:v>
                </c:pt>
                <c:pt idx="1408">
                  <c:v>1.1891861894183968</c:v>
                </c:pt>
                <c:pt idx="1409">
                  <c:v>1.1795783875664185</c:v>
                </c:pt>
                <c:pt idx="1410">
                  <c:v>1.1264696148158846</c:v>
                </c:pt>
                <c:pt idx="1411">
                  <c:v>1.0597720422851296</c:v>
                </c:pt>
                <c:pt idx="1412">
                  <c:v>1.0306132534374466</c:v>
                </c:pt>
                <c:pt idx="1413">
                  <c:v>1.0709218823802782</c:v>
                </c:pt>
                <c:pt idx="1414">
                  <c:v>1.0373179940064927</c:v>
                </c:pt>
                <c:pt idx="1415">
                  <c:v>1.0700426997603152</c:v>
                </c:pt>
                <c:pt idx="1416">
                  <c:v>1.0736721818241297</c:v>
                </c:pt>
                <c:pt idx="1417">
                  <c:v>1.0742300637596474</c:v>
                </c:pt>
                <c:pt idx="1418">
                  <c:v>1.0655020941526472</c:v>
                </c:pt>
                <c:pt idx="1419">
                  <c:v>1.0639149672183688</c:v>
                </c:pt>
                <c:pt idx="1420">
                  <c:v>1.1116224551342146</c:v>
                </c:pt>
                <c:pt idx="1421">
                  <c:v>1.1110118097389015</c:v>
                </c:pt>
                <c:pt idx="1422">
                  <c:v>1.0683823845141909</c:v>
                </c:pt>
                <c:pt idx="1423">
                  <c:v>1.0690225420459094</c:v>
                </c:pt>
                <c:pt idx="1424">
                  <c:v>1.1046239803349527</c:v>
                </c:pt>
                <c:pt idx="1425">
                  <c:v>1.1399836659446874</c:v>
                </c:pt>
                <c:pt idx="1426">
                  <c:v>1.0760966606158138</c:v>
                </c:pt>
                <c:pt idx="1427">
                  <c:v>1.0772073835276272</c:v>
                </c:pt>
                <c:pt idx="1428">
                  <c:v>1.0687980143143507</c:v>
                </c:pt>
                <c:pt idx="1429">
                  <c:v>1.0594523091684207</c:v>
                </c:pt>
                <c:pt idx="1430">
                  <c:v>1.0599412258700247</c:v>
                </c:pt>
                <c:pt idx="1431">
                  <c:v>1.0710500272720878</c:v>
                </c:pt>
                <c:pt idx="1432">
                  <c:v>1.0283042619635558</c:v>
                </c:pt>
                <c:pt idx="1433">
                  <c:v>1.0314560626587068</c:v>
                </c:pt>
                <c:pt idx="1434">
                  <c:v>1.0290172188946154</c:v>
                </c:pt>
                <c:pt idx="1435">
                  <c:v>1.0134903840790448</c:v>
                </c:pt>
                <c:pt idx="1436">
                  <c:v>1.0135677284867968</c:v>
                </c:pt>
                <c:pt idx="1437">
                  <c:v>1.0407389063854426</c:v>
                </c:pt>
                <c:pt idx="1438">
                  <c:v>1.0031857301593767</c:v>
                </c:pt>
                <c:pt idx="1439">
                  <c:v>0.97396358118323101</c:v>
                </c:pt>
                <c:pt idx="1440">
                  <c:v>1.0435300941857231</c:v>
                </c:pt>
                <c:pt idx="1441">
                  <c:v>1.0397570450079565</c:v>
                </c:pt>
                <c:pt idx="1442">
                  <c:v>1.0341971176525873</c:v>
                </c:pt>
                <c:pt idx="1443">
                  <c:v>0.99385034373748959</c:v>
                </c:pt>
                <c:pt idx="1444">
                  <c:v>1.0602136522917194</c:v>
                </c:pt>
                <c:pt idx="1445">
                  <c:v>1.0125500413346968</c:v>
                </c:pt>
                <c:pt idx="1446">
                  <c:v>1.0116973901297772</c:v>
                </c:pt>
                <c:pt idx="1447">
                  <c:v>1.0439934381262053</c:v>
                </c:pt>
                <c:pt idx="1448">
                  <c:v>1.0528508097476141</c:v>
                </c:pt>
                <c:pt idx="1449">
                  <c:v>1.0540174375316043</c:v>
                </c:pt>
                <c:pt idx="1450">
                  <c:v>1.0130142230452415</c:v>
                </c:pt>
                <c:pt idx="1451">
                  <c:v>1.0562036223920193</c:v>
                </c:pt>
                <c:pt idx="1452">
                  <c:v>1.055131086261514</c:v>
                </c:pt>
                <c:pt idx="1453">
                  <c:v>1.0513746338435483</c:v>
                </c:pt>
                <c:pt idx="1454">
                  <c:v>1.011801397985552</c:v>
                </c:pt>
                <c:pt idx="1455">
                  <c:v>0.9816547722870923</c:v>
                </c:pt>
                <c:pt idx="1456">
                  <c:v>0.98053797103614415</c:v>
                </c:pt>
                <c:pt idx="1457">
                  <c:v>1.0134933895071603</c:v>
                </c:pt>
                <c:pt idx="1458">
                  <c:v>1.0209916860525874</c:v>
                </c:pt>
                <c:pt idx="1459">
                  <c:v>1.0482662204638271</c:v>
                </c:pt>
                <c:pt idx="1460">
                  <c:v>0.99377146474324296</c:v>
                </c:pt>
                <c:pt idx="1461">
                  <c:v>1.038360555721451</c:v>
                </c:pt>
                <c:pt idx="1462">
                  <c:v>1.0389860773684683</c:v>
                </c:pt>
                <c:pt idx="1463">
                  <c:v>1.0678647725315191</c:v>
                </c:pt>
                <c:pt idx="1464">
                  <c:v>1.0671408249288772</c:v>
                </c:pt>
                <c:pt idx="1465">
                  <c:v>1.0301467365625998</c:v>
                </c:pt>
                <c:pt idx="1466">
                  <c:v>1.0528647291703879</c:v>
                </c:pt>
                <c:pt idx="1467">
                  <c:v>1.039868526172486</c:v>
                </c:pt>
                <c:pt idx="1468">
                  <c:v>1.0446054636620676</c:v>
                </c:pt>
                <c:pt idx="1469">
                  <c:v>1.0419378497581417</c:v>
                </c:pt>
                <c:pt idx="1470">
                  <c:v>1.0016026812236889</c:v>
                </c:pt>
                <c:pt idx="1471">
                  <c:v>1.0225272387682336</c:v>
                </c:pt>
                <c:pt idx="1472">
                  <c:v>1.0423332028421268</c:v>
                </c:pt>
                <c:pt idx="1473">
                  <c:v>1.0739742499963267</c:v>
                </c:pt>
                <c:pt idx="1474">
                  <c:v>1.0287251344741464</c:v>
                </c:pt>
                <c:pt idx="1475">
                  <c:v>1.0693107136369908</c:v>
                </c:pt>
                <c:pt idx="1476">
                  <c:v>1.0431528248976532</c:v>
                </c:pt>
                <c:pt idx="1477">
                  <c:v>0.99073431491930308</c:v>
                </c:pt>
                <c:pt idx="1478">
                  <c:v>0.96993239484755456</c:v>
                </c:pt>
                <c:pt idx="1479">
                  <c:v>0.98414143689618705</c:v>
                </c:pt>
                <c:pt idx="1480">
                  <c:v>0.9848195470388903</c:v>
                </c:pt>
                <c:pt idx="1481">
                  <c:v>1.0344644902601514</c:v>
                </c:pt>
                <c:pt idx="1482">
                  <c:v>1.0651978392681845</c:v>
                </c:pt>
                <c:pt idx="1483">
                  <c:v>1.1032089557286957</c:v>
                </c:pt>
                <c:pt idx="1484">
                  <c:v>1.1062723989550018</c:v>
                </c:pt>
                <c:pt idx="1485">
                  <c:v>1.1683176331606155</c:v>
                </c:pt>
                <c:pt idx="1486">
                  <c:v>1.1869954342454481</c:v>
                </c:pt>
                <c:pt idx="1487">
                  <c:v>1.152162434668857</c:v>
                </c:pt>
                <c:pt idx="1488">
                  <c:v>1.181298185175466</c:v>
                </c:pt>
                <c:pt idx="1489">
                  <c:v>1.1641919895385582</c:v>
                </c:pt>
                <c:pt idx="1490">
                  <c:v>1.1639127924830737</c:v>
                </c:pt>
                <c:pt idx="1491">
                  <c:v>1.1414733371000585</c:v>
                </c:pt>
                <c:pt idx="1492">
                  <c:v>1.1392003648456082</c:v>
                </c:pt>
                <c:pt idx="1493">
                  <c:v>1.1151176939069554</c:v>
                </c:pt>
                <c:pt idx="1494">
                  <c:v>1.1464538528792199</c:v>
                </c:pt>
                <c:pt idx="1495">
                  <c:v>1.1573940208676685</c:v>
                </c:pt>
                <c:pt idx="1496">
                  <c:v>1.1324789206634818</c:v>
                </c:pt>
                <c:pt idx="1497">
                  <c:v>1.1539053627602633</c:v>
                </c:pt>
                <c:pt idx="1498">
                  <c:v>1.1533294631520998</c:v>
                </c:pt>
                <c:pt idx="1499">
                  <c:v>1.1940787339989372</c:v>
                </c:pt>
                <c:pt idx="1500">
                  <c:v>1.2010328888086281</c:v>
                </c:pt>
                <c:pt idx="1501">
                  <c:v>1.2464568635310558</c:v>
                </c:pt>
                <c:pt idx="1502">
                  <c:v>1.264421361457621</c:v>
                </c:pt>
                <c:pt idx="1503">
                  <c:v>1.2232825633863404</c:v>
                </c:pt>
                <c:pt idx="1504">
                  <c:v>1.2238642400858513</c:v>
                </c:pt>
                <c:pt idx="1505">
                  <c:v>1.2073943160719109</c:v>
                </c:pt>
                <c:pt idx="1506">
                  <c:v>1.232751151814043</c:v>
                </c:pt>
                <c:pt idx="1507">
                  <c:v>1.2475568768274812</c:v>
                </c:pt>
                <c:pt idx="1508">
                  <c:v>1.2500981570656158</c:v>
                </c:pt>
                <c:pt idx="1509">
                  <c:v>1.2571354502319485</c:v>
                </c:pt>
                <c:pt idx="1510">
                  <c:v>1.2655501279826022</c:v>
                </c:pt>
                <c:pt idx="1511">
                  <c:v>1.2403874070387164</c:v>
                </c:pt>
                <c:pt idx="1512">
                  <c:v>1.2184303073188483</c:v>
                </c:pt>
                <c:pt idx="1513">
                  <c:v>1.2090125637520663</c:v>
                </c:pt>
                <c:pt idx="1514">
                  <c:v>1.2021460216925661</c:v>
                </c:pt>
                <c:pt idx="1515">
                  <c:v>1.1684162087122931</c:v>
                </c:pt>
                <c:pt idx="1516">
                  <c:v>1.2006050198933469</c:v>
                </c:pt>
                <c:pt idx="1517">
                  <c:v>1.2123199475272251</c:v>
                </c:pt>
                <c:pt idx="1518">
                  <c:v>1.2262136844775466</c:v>
                </c:pt>
                <c:pt idx="1519">
                  <c:v>1.2469800300735774</c:v>
                </c:pt>
                <c:pt idx="1520">
                  <c:v>1.2505026115963118</c:v>
                </c:pt>
                <c:pt idx="1521">
                  <c:v>1.2448795814912361</c:v>
                </c:pt>
                <c:pt idx="1522">
                  <c:v>1.2551085953840404</c:v>
                </c:pt>
                <c:pt idx="1523">
                  <c:v>1.2551678918700921</c:v>
                </c:pt>
                <c:pt idx="1524">
                  <c:v>1.247578850616565</c:v>
                </c:pt>
                <c:pt idx="1525">
                  <c:v>1.2597221459740529</c:v>
                </c:pt>
                <c:pt idx="1526">
                  <c:v>1.2706492593276431</c:v>
                </c:pt>
                <c:pt idx="1527">
                  <c:v>1.268679692010376</c:v>
                </c:pt>
                <c:pt idx="1528">
                  <c:v>1.2820934748141111</c:v>
                </c:pt>
                <c:pt idx="1529">
                  <c:v>1.255863306127766</c:v>
                </c:pt>
                <c:pt idx="1530">
                  <c:v>1.2560329814836531</c:v>
                </c:pt>
                <c:pt idx="1531">
                  <c:v>1.2213926477591068</c:v>
                </c:pt>
                <c:pt idx="1532">
                  <c:v>1.2198777025568603</c:v>
                </c:pt>
                <c:pt idx="1533">
                  <c:v>1.2129626028291518</c:v>
                </c:pt>
                <c:pt idx="1534">
                  <c:v>1.2395079205303503</c:v>
                </c:pt>
                <c:pt idx="1535">
                  <c:v>1.2515131531125809</c:v>
                </c:pt>
                <c:pt idx="1536">
                  <c:v>1.2253814325231209</c:v>
                </c:pt>
                <c:pt idx="1537">
                  <c:v>1.2295447713798746</c:v>
                </c:pt>
                <c:pt idx="1538">
                  <c:v>1.24739544744193</c:v>
                </c:pt>
                <c:pt idx="1539">
                  <c:v>1.2253099068464655</c:v>
                </c:pt>
                <c:pt idx="1540">
                  <c:v>1.217141223778363</c:v>
                </c:pt>
                <c:pt idx="1541">
                  <c:v>1.1884250661825655</c:v>
                </c:pt>
                <c:pt idx="1542">
                  <c:v>1.206130127746369</c:v>
                </c:pt>
                <c:pt idx="1543">
                  <c:v>1.1643221598655695</c:v>
                </c:pt>
                <c:pt idx="1544">
                  <c:v>1.1336907482394303</c:v>
                </c:pt>
                <c:pt idx="1545">
                  <c:v>1.1090403846175507</c:v>
                </c:pt>
                <c:pt idx="1546">
                  <c:v>1.1222717109075899</c:v>
                </c:pt>
                <c:pt idx="1547">
                  <c:v>1.1178754480000803</c:v>
                </c:pt>
                <c:pt idx="1548">
                  <c:v>1.1137811749832762</c:v>
                </c:pt>
                <c:pt idx="1549">
                  <c:v>1.0770316807686351</c:v>
                </c:pt>
                <c:pt idx="1550">
                  <c:v>1.1142651307517415</c:v>
                </c:pt>
                <c:pt idx="1551">
                  <c:v>1.1538290078301658</c:v>
                </c:pt>
                <c:pt idx="1552">
                  <c:v>1.181190515743654</c:v>
                </c:pt>
                <c:pt idx="1553">
                  <c:v>1.1919163069438312</c:v>
                </c:pt>
                <c:pt idx="1554">
                  <c:v>1.1872358024313088</c:v>
                </c:pt>
                <c:pt idx="1555">
                  <c:v>1.1524979866339911</c:v>
                </c:pt>
                <c:pt idx="1556">
                  <c:v>1.1515199350942824</c:v>
                </c:pt>
                <c:pt idx="1557">
                  <c:v>1.1409992092031875</c:v>
                </c:pt>
                <c:pt idx="1558">
                  <c:v>1.1498716070256185</c:v>
                </c:pt>
                <c:pt idx="1559">
                  <c:v>1.1448575678112596</c:v>
                </c:pt>
                <c:pt idx="1560">
                  <c:v>1.1324328403623036</c:v>
                </c:pt>
                <c:pt idx="1561">
                  <c:v>1.1217478664397222</c:v>
                </c:pt>
                <c:pt idx="1562">
                  <c:v>1.0948449740677351</c:v>
                </c:pt>
                <c:pt idx="1563">
                  <c:v>1.0969259030497953</c:v>
                </c:pt>
                <c:pt idx="1564">
                  <c:v>1.0698493287406861</c:v>
                </c:pt>
                <c:pt idx="1565">
                  <c:v>1.0508869269970644</c:v>
                </c:pt>
                <c:pt idx="1566">
                  <c:v>1.050740078536875</c:v>
                </c:pt>
                <c:pt idx="1567">
                  <c:v>1.0623701543377366</c:v>
                </c:pt>
                <c:pt idx="1568">
                  <c:v>1.0555066877173691</c:v>
                </c:pt>
                <c:pt idx="1569">
                  <c:v>1.0377919198786998</c:v>
                </c:pt>
                <c:pt idx="1570">
                  <c:v>1.0268723297514619</c:v>
                </c:pt>
                <c:pt idx="1571">
                  <c:v>1.0308115316550857</c:v>
                </c:pt>
                <c:pt idx="1572">
                  <c:v>1.012742719594643</c:v>
                </c:pt>
                <c:pt idx="1573">
                  <c:v>1.0108594840786349</c:v>
                </c:pt>
                <c:pt idx="1574">
                  <c:v>1.063184546214976</c:v>
                </c:pt>
                <c:pt idx="1575">
                  <c:v>1.0704112970384729</c:v>
                </c:pt>
                <c:pt idx="1576">
                  <c:v>1.0729602407176697</c:v>
                </c:pt>
                <c:pt idx="1577">
                  <c:v>1.0771183885666913</c:v>
                </c:pt>
                <c:pt idx="1578">
                  <c:v>1.0395675493469254</c:v>
                </c:pt>
                <c:pt idx="1579">
                  <c:v>1.0281041585946147</c:v>
                </c:pt>
                <c:pt idx="1580">
                  <c:v>0.9987419672975496</c:v>
                </c:pt>
                <c:pt idx="1581">
                  <c:v>0.95397950531011089</c:v>
                </c:pt>
                <c:pt idx="1582">
                  <c:v>0.9308864271380719</c:v>
                </c:pt>
                <c:pt idx="1583">
                  <c:v>0.93381949571355194</c:v>
                </c:pt>
                <c:pt idx="1584">
                  <c:v>0.94838786381410645</c:v>
                </c:pt>
                <c:pt idx="1585">
                  <c:v>0.97051923536161588</c:v>
                </c:pt>
                <c:pt idx="1586">
                  <c:v>1.0093847562782465</c:v>
                </c:pt>
                <c:pt idx="1587">
                  <c:v>1.0681162384546792</c:v>
                </c:pt>
                <c:pt idx="1588">
                  <c:v>1.0200476098872937</c:v>
                </c:pt>
                <c:pt idx="1589">
                  <c:v>1.0007572420278874</c:v>
                </c:pt>
                <c:pt idx="1590">
                  <c:v>1.057149496273476</c:v>
                </c:pt>
                <c:pt idx="1591">
                  <c:v>1.1060845824114336</c:v>
                </c:pt>
                <c:pt idx="1592">
                  <c:v>1.133045737681476</c:v>
                </c:pt>
                <c:pt idx="1593">
                  <c:v>1.1367728065858642</c:v>
                </c:pt>
                <c:pt idx="1594">
                  <c:v>1.1789859757581862</c:v>
                </c:pt>
                <c:pt idx="1595">
                  <c:v>1.1730140468140133</c:v>
                </c:pt>
                <c:pt idx="1596">
                  <c:v>1.1925634034567587</c:v>
                </c:pt>
                <c:pt idx="1597">
                  <c:v>1.1862304344764389</c:v>
                </c:pt>
                <c:pt idx="1598">
                  <c:v>1.170630491285118</c:v>
                </c:pt>
                <c:pt idx="1599">
                  <c:v>1.1707459553438668</c:v>
                </c:pt>
                <c:pt idx="1600">
                  <c:v>1.2071113519853727</c:v>
                </c:pt>
                <c:pt idx="1601">
                  <c:v>1.2181670798715416</c:v>
                </c:pt>
                <c:pt idx="1602">
                  <c:v>1.2361220878586201</c:v>
                </c:pt>
                <c:pt idx="1603">
                  <c:v>1.247418668023424</c:v>
                </c:pt>
                <c:pt idx="1604">
                  <c:v>1.1984931151769025</c:v>
                </c:pt>
                <c:pt idx="1605">
                  <c:v>1.1609790260166521</c:v>
                </c:pt>
                <c:pt idx="1606">
                  <c:v>1.1081476726356536</c:v>
                </c:pt>
                <c:pt idx="1607">
                  <c:v>1.1549637502397274</c:v>
                </c:pt>
                <c:pt idx="1608">
                  <c:v>1.1612268581513061</c:v>
                </c:pt>
                <c:pt idx="1609">
                  <c:v>1.1679759976277264</c:v>
                </c:pt>
                <c:pt idx="1610">
                  <c:v>1.1699582957495123</c:v>
                </c:pt>
                <c:pt idx="1611">
                  <c:v>1.1268950322869933</c:v>
                </c:pt>
                <c:pt idx="1612">
                  <c:v>1.1551369028681477</c:v>
                </c:pt>
                <c:pt idx="1613">
                  <c:v>1.1572564166134933</c:v>
                </c:pt>
                <c:pt idx="1614">
                  <c:v>1.1268368911738496</c:v>
                </c:pt>
                <c:pt idx="1615">
                  <c:v>1.0914106131226606</c:v>
                </c:pt>
                <c:pt idx="1616">
                  <c:v>1.0803247702405991</c:v>
                </c:pt>
                <c:pt idx="1617">
                  <c:v>1.0526042690044717</c:v>
                </c:pt>
                <c:pt idx="1618">
                  <c:v>1.0738841308245424</c:v>
                </c:pt>
                <c:pt idx="1619">
                  <c:v>1.0734756099033982</c:v>
                </c:pt>
                <c:pt idx="1620">
                  <c:v>1.0509919233697786</c:v>
                </c:pt>
                <c:pt idx="1621">
                  <c:v>1.0591842447694442</c:v>
                </c:pt>
                <c:pt idx="1622">
                  <c:v>1.0398996414884552</c:v>
                </c:pt>
                <c:pt idx="1623">
                  <c:v>1.0439364603908297</c:v>
                </c:pt>
                <c:pt idx="1624">
                  <c:v>1.0386419625822858</c:v>
                </c:pt>
                <c:pt idx="1625">
                  <c:v>1.1044945273379767</c:v>
                </c:pt>
                <c:pt idx="1626">
                  <c:v>1.0877229722534207</c:v>
                </c:pt>
                <c:pt idx="1627">
                  <c:v>1.0780732600445055</c:v>
                </c:pt>
                <c:pt idx="1628">
                  <c:v>1.1233795993064546</c:v>
                </c:pt>
                <c:pt idx="1629">
                  <c:v>1.1424237694330053</c:v>
                </c:pt>
                <c:pt idx="1630">
                  <c:v>1.0774503748873201</c:v>
                </c:pt>
                <c:pt idx="1631">
                  <c:v>1.1133022743275915</c:v>
                </c:pt>
                <c:pt idx="1632">
                  <c:v>1.1450949365852174</c:v>
                </c:pt>
                <c:pt idx="1633">
                  <c:v>1.1420850059954115</c:v>
                </c:pt>
                <c:pt idx="1634">
                  <c:v>1.1416984725832167</c:v>
                </c:pt>
                <c:pt idx="1635">
                  <c:v>1.1982679549892097</c:v>
                </c:pt>
                <c:pt idx="1636">
                  <c:v>1.2000940576165005</c:v>
                </c:pt>
                <c:pt idx="1637">
                  <c:v>1.1600741157456229</c:v>
                </c:pt>
                <c:pt idx="1638">
                  <c:v>1.1769473469409175</c:v>
                </c:pt>
                <c:pt idx="1639">
                  <c:v>1.2389170280123081</c:v>
                </c:pt>
                <c:pt idx="1640">
                  <c:v>1.2235289079158473</c:v>
                </c:pt>
                <c:pt idx="1641">
                  <c:v>1.2162654353369584</c:v>
                </c:pt>
                <c:pt idx="1642">
                  <c:v>1.2061735831312494</c:v>
                </c:pt>
                <c:pt idx="1643">
                  <c:v>1.2008581222963253</c:v>
                </c:pt>
                <c:pt idx="1644">
                  <c:v>1.1581688380677762</c:v>
                </c:pt>
                <c:pt idx="1645">
                  <c:v>1.1421325586853717</c:v>
                </c:pt>
                <c:pt idx="1646">
                  <c:v>1.1407793262784729</c:v>
                </c:pt>
                <c:pt idx="1647">
                  <c:v>1.1325558523184134</c:v>
                </c:pt>
                <c:pt idx="1648">
                  <c:v>1.1819635426238631</c:v>
                </c:pt>
                <c:pt idx="1649">
                  <c:v>1.2026670075438506</c:v>
                </c:pt>
                <c:pt idx="1650">
                  <c:v>1.2215763793454386</c:v>
                </c:pt>
                <c:pt idx="1651">
                  <c:v>1.2185887824404313</c:v>
                </c:pt>
                <c:pt idx="1652">
                  <c:v>1.2425411485126452</c:v>
                </c:pt>
                <c:pt idx="1653">
                  <c:v>1.2538678091244784</c:v>
                </c:pt>
                <c:pt idx="1654">
                  <c:v>1.2335727478093577</c:v>
                </c:pt>
                <c:pt idx="1655">
                  <c:v>1.2233543485306964</c:v>
                </c:pt>
                <c:pt idx="1656">
                  <c:v>1.206043212279335</c:v>
                </c:pt>
                <c:pt idx="1657">
                  <c:v>1.2214122220167742</c:v>
                </c:pt>
                <c:pt idx="1658">
                  <c:v>1.1678686747144602</c:v>
                </c:pt>
                <c:pt idx="1659">
                  <c:v>1.1983722676839708</c:v>
                </c:pt>
                <c:pt idx="1660">
                  <c:v>1.1933983158316777</c:v>
                </c:pt>
                <c:pt idx="1661">
                  <c:v>1.1281505565131451</c:v>
                </c:pt>
                <c:pt idx="1662">
                  <c:v>1.1652803421761084</c:v>
                </c:pt>
                <c:pt idx="1663">
                  <c:v>1.1673444172589968</c:v>
                </c:pt>
                <c:pt idx="1664">
                  <c:v>1.1788736100641777</c:v>
                </c:pt>
                <c:pt idx="1665">
                  <c:v>1.1748487307861744</c:v>
                </c:pt>
                <c:pt idx="1666">
                  <c:v>1.2055210158019767</c:v>
                </c:pt>
                <c:pt idx="1667">
                  <c:v>1.1927503713165895</c:v>
                </c:pt>
                <c:pt idx="1668">
                  <c:v>1.1979722330940594</c:v>
                </c:pt>
                <c:pt idx="1669">
                  <c:v>1.16504175841494</c:v>
                </c:pt>
                <c:pt idx="1670">
                  <c:v>1.1492214255997284</c:v>
                </c:pt>
                <c:pt idx="1671">
                  <c:v>1.1391303397919323</c:v>
                </c:pt>
                <c:pt idx="1672">
                  <c:v>1.1124479065680275</c:v>
                </c:pt>
                <c:pt idx="1673">
                  <c:v>1.126102218671357</c:v>
                </c:pt>
                <c:pt idx="1674">
                  <c:v>1.1491416586844889</c:v>
                </c:pt>
                <c:pt idx="1675">
                  <c:v>1.1515908037624933</c:v>
                </c:pt>
                <c:pt idx="1676">
                  <c:v>1.1649717573410523</c:v>
                </c:pt>
                <c:pt idx="1677">
                  <c:v>1.203891630285411</c:v>
                </c:pt>
                <c:pt idx="1678">
                  <c:v>1.2004380905300376</c:v>
                </c:pt>
                <c:pt idx="1679">
                  <c:v>1.2077965117490215</c:v>
                </c:pt>
                <c:pt idx="1680">
                  <c:v>1.2191339021060683</c:v>
                </c:pt>
                <c:pt idx="1681">
                  <c:v>1.2054190381237826</c:v>
                </c:pt>
                <c:pt idx="1682">
                  <c:v>1.1935006464612614</c:v>
                </c:pt>
                <c:pt idx="1683">
                  <c:v>1.2109168655082869</c:v>
                </c:pt>
                <c:pt idx="1684">
                  <c:v>1.210454697505299</c:v>
                </c:pt>
                <c:pt idx="1685">
                  <c:v>1.1885904430792427</c:v>
                </c:pt>
                <c:pt idx="1686">
                  <c:v>1.1737943190560582</c:v>
                </c:pt>
                <c:pt idx="1687">
                  <c:v>1.1774826547762181</c:v>
                </c:pt>
                <c:pt idx="1688">
                  <c:v>1.2040326875312308</c:v>
                </c:pt>
                <c:pt idx="1689">
                  <c:v>1.1826642920060648</c:v>
                </c:pt>
                <c:pt idx="1690">
                  <c:v>1.2279187138471717</c:v>
                </c:pt>
                <c:pt idx="1691">
                  <c:v>1.238619736067011</c:v>
                </c:pt>
                <c:pt idx="1692">
                  <c:v>1.1859258956128147</c:v>
                </c:pt>
                <c:pt idx="1693">
                  <c:v>1.186631279338046</c:v>
                </c:pt>
                <c:pt idx="1694">
                  <c:v>1.1969281083472487</c:v>
                </c:pt>
                <c:pt idx="1695">
                  <c:v>1.1581934009581418</c:v>
                </c:pt>
                <c:pt idx="1696">
                  <c:v>1.1680881324016055</c:v>
                </c:pt>
                <c:pt idx="1697">
                  <c:v>1.1654543290508845</c:v>
                </c:pt>
                <c:pt idx="1698">
                  <c:v>1.1142770451433219</c:v>
                </c:pt>
                <c:pt idx="1699">
                  <c:v>1.1087654934837343</c:v>
                </c:pt>
                <c:pt idx="1700">
                  <c:v>1.2204676416717548</c:v>
                </c:pt>
                <c:pt idx="1701">
                  <c:v>1.1580868091258374</c:v>
                </c:pt>
                <c:pt idx="1702">
                  <c:v>1.1592867902589783</c:v>
                </c:pt>
                <c:pt idx="1703">
                  <c:v>1.1803070416818149</c:v>
                </c:pt>
                <c:pt idx="1704">
                  <c:v>1.2210642145652919</c:v>
                </c:pt>
                <c:pt idx="1705">
                  <c:v>1.2303955069197363</c:v>
                </c:pt>
                <c:pt idx="1706">
                  <c:v>1.2654091156163909</c:v>
                </c:pt>
                <c:pt idx="1707">
                  <c:v>1.242672130124638</c:v>
                </c:pt>
                <c:pt idx="1708">
                  <c:v>1.3105805066335356</c:v>
                </c:pt>
                <c:pt idx="1709">
                  <c:v>1.3474475231288996</c:v>
                </c:pt>
                <c:pt idx="1710">
                  <c:v>1.3633090659111018</c:v>
                </c:pt>
                <c:pt idx="1711">
                  <c:v>1.3546495496248652</c:v>
                </c:pt>
                <c:pt idx="1712">
                  <c:v>1.3927168520144559</c:v>
                </c:pt>
                <c:pt idx="1713">
                  <c:v>1.4226898596607793</c:v>
                </c:pt>
                <c:pt idx="1714">
                  <c:v>1.4144133262491783</c:v>
                </c:pt>
                <c:pt idx="1715">
                  <c:v>1.3611670533503359</c:v>
                </c:pt>
                <c:pt idx="1716">
                  <c:v>1.3585106787831354</c:v>
                </c:pt>
                <c:pt idx="1717">
                  <c:v>1.3618939229878599</c:v>
                </c:pt>
                <c:pt idx="1718">
                  <c:v>1.2848149828788127</c:v>
                </c:pt>
                <c:pt idx="1719">
                  <c:v>1.288644302331343</c:v>
                </c:pt>
                <c:pt idx="1720">
                  <c:v>1.1550916767119372</c:v>
                </c:pt>
                <c:pt idx="1721">
                  <c:v>1.0895938819515305</c:v>
                </c:pt>
                <c:pt idx="1722">
                  <c:v>1.0227832210402059</c:v>
                </c:pt>
                <c:pt idx="1723">
                  <c:v>1.021122044559345</c:v>
                </c:pt>
                <c:pt idx="1724">
                  <c:v>1.0265319922118756</c:v>
                </c:pt>
                <c:pt idx="1725">
                  <c:v>0.9543220497885625</c:v>
                </c:pt>
                <c:pt idx="1726">
                  <c:v>0.954322832675357</c:v>
                </c:pt>
                <c:pt idx="1727">
                  <c:v>0.95608661176454202</c:v>
                </c:pt>
                <c:pt idx="1728">
                  <c:v>0.93960770733224652</c:v>
                </c:pt>
                <c:pt idx="1729">
                  <c:v>0.92585965024620387</c:v>
                </c:pt>
                <c:pt idx="1730">
                  <c:v>0.91372051110489627</c:v>
                </c:pt>
                <c:pt idx="1731">
                  <c:v>0.88570440828222963</c:v>
                </c:pt>
                <c:pt idx="1732">
                  <c:v>0.88231904464979327</c:v>
                </c:pt>
                <c:pt idx="1733">
                  <c:v>0.88142811235028073</c:v>
                </c:pt>
                <c:pt idx="1734">
                  <c:v>0.93288552475577102</c:v>
                </c:pt>
                <c:pt idx="1735">
                  <c:v>0.93397703582490466</c:v>
                </c:pt>
                <c:pt idx="1736">
                  <c:v>0.93752455906529431</c:v>
                </c:pt>
                <c:pt idx="1737">
                  <c:v>0.90004495417741737</c:v>
                </c:pt>
                <c:pt idx="1738">
                  <c:v>0.88149226921718082</c:v>
                </c:pt>
                <c:pt idx="1739">
                  <c:v>0.89416473578007072</c:v>
                </c:pt>
                <c:pt idx="1740">
                  <c:v>0.89260441612069152</c:v>
                </c:pt>
                <c:pt idx="1741">
                  <c:v>0.87992293288451784</c:v>
                </c:pt>
                <c:pt idx="1742">
                  <c:v>0.8622941866717041</c:v>
                </c:pt>
                <c:pt idx="1743">
                  <c:v>0.88216009702412201</c:v>
                </c:pt>
                <c:pt idx="1744">
                  <c:v>0.97658918526758653</c:v>
                </c:pt>
                <c:pt idx="1745">
                  <c:v>1.0541522169742485</c:v>
                </c:pt>
                <c:pt idx="1746">
                  <c:v>1.0460717981556289</c:v>
                </c:pt>
                <c:pt idx="1747">
                  <c:v>1.2026224218993973</c:v>
                </c:pt>
                <c:pt idx="1748">
                  <c:v>1.1899101192754109</c:v>
                </c:pt>
                <c:pt idx="1749">
                  <c:v>1.187232075038406</c:v>
                </c:pt>
                <c:pt idx="1750">
                  <c:v>1.1893205343108024</c:v>
                </c:pt>
                <c:pt idx="1751">
                  <c:v>1.176498848375928</c:v>
                </c:pt>
                <c:pt idx="1752">
                  <c:v>1.1821654103683055</c:v>
                </c:pt>
                <c:pt idx="1753">
                  <c:v>1.1509316565986529</c:v>
                </c:pt>
                <c:pt idx="1754">
                  <c:v>1.1505498935166889</c:v>
                </c:pt>
                <c:pt idx="1755">
                  <c:v>1.1261314106368703</c:v>
                </c:pt>
                <c:pt idx="1756">
                  <c:v>1.1255202628424621</c:v>
                </c:pt>
                <c:pt idx="1757">
                  <c:v>1.0925152356969143</c:v>
                </c:pt>
                <c:pt idx="1758">
                  <c:v>1.111860613111421</c:v>
                </c:pt>
                <c:pt idx="1759">
                  <c:v>1.1134088177315187</c:v>
                </c:pt>
                <c:pt idx="1760">
                  <c:v>1.1124883571649573</c:v>
                </c:pt>
                <c:pt idx="1761">
                  <c:v>1.081252147695694</c:v>
                </c:pt>
                <c:pt idx="1762">
                  <c:v>1.1828076863922152</c:v>
                </c:pt>
                <c:pt idx="1763">
                  <c:v>1.1845899431167448</c:v>
                </c:pt>
                <c:pt idx="1764">
                  <c:v>1.2034586651068198</c:v>
                </c:pt>
                <c:pt idx="1765">
                  <c:v>1.1931000863682617</c:v>
                </c:pt>
                <c:pt idx="1766">
                  <c:v>1.1900933992130929</c:v>
                </c:pt>
                <c:pt idx="1767">
                  <c:v>1.1656553087643768</c:v>
                </c:pt>
                <c:pt idx="1768">
                  <c:v>1.1702111510026874</c:v>
                </c:pt>
                <c:pt idx="1769">
                  <c:v>1.1881582386197553</c:v>
                </c:pt>
                <c:pt idx="1770">
                  <c:v>1.1949626551179062</c:v>
                </c:pt>
                <c:pt idx="1771">
                  <c:v>1.1956280992533326</c:v>
                </c:pt>
                <c:pt idx="1772">
                  <c:v>1.1742517304380615</c:v>
                </c:pt>
                <c:pt idx="1773">
                  <c:v>1.1975329045463696</c:v>
                </c:pt>
                <c:pt idx="1774">
                  <c:v>1.2185840662165175</c:v>
                </c:pt>
                <c:pt idx="1775">
                  <c:v>1.2223294136206893</c:v>
                </c:pt>
                <c:pt idx="1776">
                  <c:v>1.2475174888784009</c:v>
                </c:pt>
                <c:pt idx="1777">
                  <c:v>1.1759273181074008</c:v>
                </c:pt>
                <c:pt idx="1778">
                  <c:v>1.1806594689448755</c:v>
                </c:pt>
                <c:pt idx="1779">
                  <c:v>1.1684445402663155</c:v>
                </c:pt>
                <c:pt idx="1780">
                  <c:v>1.1925467773181706</c:v>
                </c:pt>
                <c:pt idx="1781">
                  <c:v>1.1852998553642184</c:v>
                </c:pt>
                <c:pt idx="1782">
                  <c:v>1.1815226879196885</c:v>
                </c:pt>
                <c:pt idx="1783">
                  <c:v>1.129869079996012</c:v>
                </c:pt>
                <c:pt idx="1784">
                  <c:v>1.1172748043815128</c:v>
                </c:pt>
                <c:pt idx="1785">
                  <c:v>1.1030286935753644</c:v>
                </c:pt>
                <c:pt idx="1786">
                  <c:v>1.0956017083996705</c:v>
                </c:pt>
                <c:pt idx="1787">
                  <c:v>1.1633918405733488</c:v>
                </c:pt>
                <c:pt idx="1788">
                  <c:v>1.163809094824148</c:v>
                </c:pt>
                <c:pt idx="1789">
                  <c:v>1.1793888929948173</c:v>
                </c:pt>
                <c:pt idx="1790">
                  <c:v>1.1650028858925334</c:v>
                </c:pt>
                <c:pt idx="1791">
                  <c:v>1.1111754674848746</c:v>
                </c:pt>
                <c:pt idx="1792">
                  <c:v>1.0958848836264323</c:v>
                </c:pt>
                <c:pt idx="1793">
                  <c:v>1.1163714312063848</c:v>
                </c:pt>
                <c:pt idx="1794">
                  <c:v>1.1171005676128352</c:v>
                </c:pt>
                <c:pt idx="1795">
                  <c:v>1.0568689389053822</c:v>
                </c:pt>
                <c:pt idx="1796">
                  <c:v>1.03721272161744</c:v>
                </c:pt>
                <c:pt idx="1797">
                  <c:v>1.1007556965322849</c:v>
                </c:pt>
                <c:pt idx="1798">
                  <c:v>1.117239825456561</c:v>
                </c:pt>
                <c:pt idx="1799">
                  <c:v>1.1345329688780599</c:v>
                </c:pt>
                <c:pt idx="1800">
                  <c:v>1.1383755819224344</c:v>
                </c:pt>
                <c:pt idx="1801">
                  <c:v>1.1445194243190799</c:v>
                </c:pt>
                <c:pt idx="1802">
                  <c:v>1.1620335425550281</c:v>
                </c:pt>
                <c:pt idx="1803">
                  <c:v>1.1581404040107999</c:v>
                </c:pt>
                <c:pt idx="1804">
                  <c:v>1.1524095695940542</c:v>
                </c:pt>
                <c:pt idx="1805">
                  <c:v>1.181561454713367</c:v>
                </c:pt>
                <c:pt idx="1806">
                  <c:v>1.104743169820193</c:v>
                </c:pt>
                <c:pt idx="1807">
                  <c:v>1.0931427328957359</c:v>
                </c:pt>
                <c:pt idx="1808">
                  <c:v>1.0936876878801778</c:v>
                </c:pt>
                <c:pt idx="1809">
                  <c:v>1.1187205849212021</c:v>
                </c:pt>
                <c:pt idx="1810">
                  <c:v>1.0918662711261797</c:v>
                </c:pt>
                <c:pt idx="1811">
                  <c:v>1.0849387397293528</c:v>
                </c:pt>
                <c:pt idx="1812">
                  <c:v>1.0849506053696423</c:v>
                </c:pt>
                <c:pt idx="1813">
                  <c:v>1.08449808296466</c:v>
                </c:pt>
                <c:pt idx="1814">
                  <c:v>1.0335509596565116</c:v>
                </c:pt>
                <c:pt idx="1815">
                  <c:v>1.0310035285400669</c:v>
                </c:pt>
                <c:pt idx="1816">
                  <c:v>1.0141153780512353</c:v>
                </c:pt>
                <c:pt idx="1817">
                  <c:v>0.89828988230062956</c:v>
                </c:pt>
                <c:pt idx="1818">
                  <c:v>0.89779992907310846</c:v>
                </c:pt>
                <c:pt idx="1819">
                  <c:v>0.90018618763775393</c:v>
                </c:pt>
                <c:pt idx="1820">
                  <c:v>0.97302118676062643</c:v>
                </c:pt>
                <c:pt idx="1821">
                  <c:v>1.0169544910081321</c:v>
                </c:pt>
                <c:pt idx="1822">
                  <c:v>1.0191651417738423</c:v>
                </c:pt>
                <c:pt idx="1823">
                  <c:v>0.98653119215940077</c:v>
                </c:pt>
                <c:pt idx="1824">
                  <c:v>1.0309525224025964</c:v>
                </c:pt>
                <c:pt idx="1825">
                  <c:v>1.0483101344216008</c:v>
                </c:pt>
                <c:pt idx="1826">
                  <c:v>1.0230774512539935</c:v>
                </c:pt>
                <c:pt idx="1827">
                  <c:v>0.98618625691769446</c:v>
                </c:pt>
                <c:pt idx="1828">
                  <c:v>0.9837785471766789</c:v>
                </c:pt>
                <c:pt idx="1829">
                  <c:v>0.99689408469102381</c:v>
                </c:pt>
                <c:pt idx="1830">
                  <c:v>0.99721451133103511</c:v>
                </c:pt>
                <c:pt idx="1831">
                  <c:v>1.0487378292417791</c:v>
                </c:pt>
                <c:pt idx="1832">
                  <c:v>1.0109656815121877</c:v>
                </c:pt>
                <c:pt idx="1833">
                  <c:v>1.0359117257026658</c:v>
                </c:pt>
                <c:pt idx="1834">
                  <c:v>1.0434316174191218</c:v>
                </c:pt>
                <c:pt idx="1835">
                  <c:v>0.98763947072701119</c:v>
                </c:pt>
                <c:pt idx="1836">
                  <c:v>0.98505971579298701</c:v>
                </c:pt>
                <c:pt idx="1837">
                  <c:v>0.99297654241835098</c:v>
                </c:pt>
                <c:pt idx="1838">
                  <c:v>0.99048716679531312</c:v>
                </c:pt>
                <c:pt idx="1839">
                  <c:v>1.0343667061340573</c:v>
                </c:pt>
                <c:pt idx="1840">
                  <c:v>1.0404458040976317</c:v>
                </c:pt>
                <c:pt idx="1841">
                  <c:v>0.99919070700518253</c:v>
                </c:pt>
                <c:pt idx="1842">
                  <c:v>0.99919070700518253</c:v>
                </c:pt>
                <c:pt idx="1843">
                  <c:v>1.000152861879841</c:v>
                </c:pt>
                <c:pt idx="1844">
                  <c:v>1.0007512120930691</c:v>
                </c:pt>
                <c:pt idx="1845">
                  <c:v>0.99992758358482758</c:v>
                </c:pt>
                <c:pt idx="1846">
                  <c:v>1.0288237341070958</c:v>
                </c:pt>
                <c:pt idx="1847">
                  <c:v>1.0235347811754427</c:v>
                </c:pt>
                <c:pt idx="1848">
                  <c:v>1.0334787254037059</c:v>
                </c:pt>
                <c:pt idx="1849">
                  <c:v>1.0489263805072961</c:v>
                </c:pt>
                <c:pt idx="1850">
                  <c:v>1.0444665360017935</c:v>
                </c:pt>
                <c:pt idx="1851">
                  <c:v>1.0066596635213507</c:v>
                </c:pt>
                <c:pt idx="1852">
                  <c:v>1.0158315205588568</c:v>
                </c:pt>
                <c:pt idx="1853">
                  <c:v>1.0343178106043291</c:v>
                </c:pt>
                <c:pt idx="1854">
                  <c:v>0.99882597750225377</c:v>
                </c:pt>
                <c:pt idx="1855">
                  <c:v>0.96267228641655733</c:v>
                </c:pt>
                <c:pt idx="1856">
                  <c:v>1.0131027225492888</c:v>
                </c:pt>
                <c:pt idx="1857">
                  <c:v>1.0472712764306968</c:v>
                </c:pt>
                <c:pt idx="1858">
                  <c:v>1.0832348850050728</c:v>
                </c:pt>
                <c:pt idx="1859">
                  <c:v>1.0744972628239178</c:v>
                </c:pt>
                <c:pt idx="1860">
                  <c:v>1.1208546103180663</c:v>
                </c:pt>
                <c:pt idx="1861">
                  <c:v>1.08289421692863</c:v>
                </c:pt>
                <c:pt idx="1862">
                  <c:v>1.1140802092505182</c:v>
                </c:pt>
                <c:pt idx="1863">
                  <c:v>1.1118507404168587</c:v>
                </c:pt>
                <c:pt idx="1864">
                  <c:v>1.1375851111268429</c:v>
                </c:pt>
                <c:pt idx="1865">
                  <c:v>1.1452532721940876</c:v>
                </c:pt>
                <c:pt idx="1866">
                  <c:v>1.1350849884631911</c:v>
                </c:pt>
                <c:pt idx="1867">
                  <c:v>1.156331148130989</c:v>
                </c:pt>
                <c:pt idx="1868">
                  <c:v>1.1493966933224968</c:v>
                </c:pt>
                <c:pt idx="1869">
                  <c:v>1.1410080237863487</c:v>
                </c:pt>
                <c:pt idx="1870">
                  <c:v>1.1475699462817925</c:v>
                </c:pt>
                <c:pt idx="1871">
                  <c:v>1.2106837148781944</c:v>
                </c:pt>
                <c:pt idx="1872">
                  <c:v>1.214752422626052</c:v>
                </c:pt>
                <c:pt idx="1873">
                  <c:v>1.2075844607666406</c:v>
                </c:pt>
                <c:pt idx="1874">
                  <c:v>1.2206180834917721</c:v>
                </c:pt>
                <c:pt idx="1875">
                  <c:v>1.2560576895748978</c:v>
                </c:pt>
                <c:pt idx="1876">
                  <c:v>1.2286019061022828</c:v>
                </c:pt>
                <c:pt idx="1877">
                  <c:v>1.2349640043151151</c:v>
                </c:pt>
                <c:pt idx="1878">
                  <c:v>1.2511715888828308</c:v>
                </c:pt>
                <c:pt idx="1879">
                  <c:v>1.2389692137594375</c:v>
                </c:pt>
                <c:pt idx="1880">
                  <c:v>1.2114610254118596</c:v>
                </c:pt>
                <c:pt idx="1881">
                  <c:v>1.2504750361730355</c:v>
                </c:pt>
                <c:pt idx="1882">
                  <c:v>1.2266898267428823</c:v>
                </c:pt>
                <c:pt idx="1883">
                  <c:v>1.2544248120933363</c:v>
                </c:pt>
                <c:pt idx="1884">
                  <c:v>1.2660003086923775</c:v>
                </c:pt>
                <c:pt idx="1885">
                  <c:v>1.2630816174791686</c:v>
                </c:pt>
                <c:pt idx="1886">
                  <c:v>1.2632762095476959</c:v>
                </c:pt>
                <c:pt idx="1887">
                  <c:v>1.2729486089074999</c:v>
                </c:pt>
                <c:pt idx="1888">
                  <c:v>1.2375495345943579</c:v>
                </c:pt>
                <c:pt idx="1889">
                  <c:v>1.2376453821487086</c:v>
                </c:pt>
                <c:pt idx="1890">
                  <c:v>1.1806908653581718</c:v>
                </c:pt>
                <c:pt idx="1891">
                  <c:v>1.1382433026782779</c:v>
                </c:pt>
                <c:pt idx="1892">
                  <c:v>1.1328440965668827</c:v>
                </c:pt>
                <c:pt idx="1893">
                  <c:v>1.1336080126907981</c:v>
                </c:pt>
                <c:pt idx="1894">
                  <c:v>1.1229374451620739</c:v>
                </c:pt>
                <c:pt idx="1895">
                  <c:v>1.1414101482100028</c:v>
                </c:pt>
                <c:pt idx="1896">
                  <c:v>1.231664092511269</c:v>
                </c:pt>
                <c:pt idx="1897">
                  <c:v>1.2193893327512688</c:v>
                </c:pt>
                <c:pt idx="1898">
                  <c:v>1.2113130047193821</c:v>
                </c:pt>
                <c:pt idx="1899">
                  <c:v>1.1470740388373852</c:v>
                </c:pt>
                <c:pt idx="1900">
                  <c:v>1.2178820885492956</c:v>
                </c:pt>
                <c:pt idx="1901">
                  <c:v>1.2080453005892871</c:v>
                </c:pt>
                <c:pt idx="1902">
                  <c:v>1.2246040880275519</c:v>
                </c:pt>
                <c:pt idx="1903">
                  <c:v>1.2236411182233522</c:v>
                </c:pt>
                <c:pt idx="1904">
                  <c:v>1.1851223807992419</c:v>
                </c:pt>
                <c:pt idx="1905">
                  <c:v>1.0900405982105095</c:v>
                </c:pt>
                <c:pt idx="1906">
                  <c:v>1.1267777779666845</c:v>
                </c:pt>
                <c:pt idx="1907">
                  <c:v>1.126494970934282</c:v>
                </c:pt>
                <c:pt idx="1908">
                  <c:v>1.1226215726603057</c:v>
                </c:pt>
                <c:pt idx="1909">
                  <c:v>1.1690178606936203</c:v>
                </c:pt>
                <c:pt idx="1910">
                  <c:v>1.1668937053306219</c:v>
                </c:pt>
                <c:pt idx="1911">
                  <c:v>1.1944046273324223</c:v>
                </c:pt>
                <c:pt idx="1912">
                  <c:v>1.1990793403139821</c:v>
                </c:pt>
                <c:pt idx="1913">
                  <c:v>1.2242767041301819</c:v>
                </c:pt>
                <c:pt idx="1914">
                  <c:v>1.1662408911078159</c:v>
                </c:pt>
                <c:pt idx="1915">
                  <c:v>1.1720262442630616</c:v>
                </c:pt>
                <c:pt idx="1916">
                  <c:v>1.040421499466309</c:v>
                </c:pt>
                <c:pt idx="1917">
                  <c:v>0.88903337666680782</c:v>
                </c:pt>
                <c:pt idx="1918">
                  <c:v>0.89128732934350396</c:v>
                </c:pt>
                <c:pt idx="1919">
                  <c:v>0.92389505300413688</c:v>
                </c:pt>
                <c:pt idx="1920">
                  <c:v>0.92646708757937857</c:v>
                </c:pt>
                <c:pt idx="1921">
                  <c:v>0.89044325782292189</c:v>
                </c:pt>
                <c:pt idx="1922">
                  <c:v>0.90518938134069682</c:v>
                </c:pt>
                <c:pt idx="1923">
                  <c:v>0.91392446681029527</c:v>
                </c:pt>
                <c:pt idx="1924">
                  <c:v>0.92201858759033073</c:v>
                </c:pt>
                <c:pt idx="1925">
                  <c:v>0.97343307629389109</c:v>
                </c:pt>
                <c:pt idx="1926">
                  <c:v>0.95072362035391278</c:v>
                </c:pt>
                <c:pt idx="1927">
                  <c:v>0.93047262740224013</c:v>
                </c:pt>
                <c:pt idx="1928">
                  <c:v>0.91300715712721392</c:v>
                </c:pt>
                <c:pt idx="1929">
                  <c:v>0.91708489936519955</c:v>
                </c:pt>
                <c:pt idx="1930">
                  <c:v>0.90998193742336531</c:v>
                </c:pt>
                <c:pt idx="1931">
                  <c:v>0.95890772391742951</c:v>
                </c:pt>
                <c:pt idx="1932">
                  <c:v>1.0825120317347858</c:v>
                </c:pt>
                <c:pt idx="1933">
                  <c:v>1.2033908509831228</c:v>
                </c:pt>
                <c:pt idx="1934">
                  <c:v>1.2080776503169826</c:v>
                </c:pt>
                <c:pt idx="1935">
                  <c:v>1.2772980192128445</c:v>
                </c:pt>
                <c:pt idx="1936">
                  <c:v>1.2466306313557682</c:v>
                </c:pt>
                <c:pt idx="1937">
                  <c:v>1.2644437239491844</c:v>
                </c:pt>
                <c:pt idx="1938">
                  <c:v>1.3503458901290823</c:v>
                </c:pt>
                <c:pt idx="1939">
                  <c:v>1.3379811949952503</c:v>
                </c:pt>
                <c:pt idx="1940">
                  <c:v>1.3449361818812562</c:v>
                </c:pt>
                <c:pt idx="1941">
                  <c:v>1.3779028292650213</c:v>
                </c:pt>
                <c:pt idx="1942">
                  <c:v>1.3363787490526551</c:v>
                </c:pt>
                <c:pt idx="1943">
                  <c:v>1.2962729952293686</c:v>
                </c:pt>
                <c:pt idx="1944">
                  <c:v>1.3034165537707725</c:v>
                </c:pt>
                <c:pt idx="1945">
                  <c:v>1.3048285658303531</c:v>
                </c:pt>
                <c:pt idx="1946">
                  <c:v>1.3047756666300472</c:v>
                </c:pt>
                <c:pt idx="1947">
                  <c:v>1.2842728610420737</c:v>
                </c:pt>
                <c:pt idx="1948">
                  <c:v>1.377918178175731</c:v>
                </c:pt>
                <c:pt idx="1949">
                  <c:v>1.3483391656950139</c:v>
                </c:pt>
                <c:pt idx="1950">
                  <c:v>1.3469754966241021</c:v>
                </c:pt>
                <c:pt idx="1951">
                  <c:v>1.3153594849745991</c:v>
                </c:pt>
                <c:pt idx="1952">
                  <c:v>1.2930415448784347</c:v>
                </c:pt>
                <c:pt idx="1953">
                  <c:v>1.3137978640514707</c:v>
                </c:pt>
                <c:pt idx="1954">
                  <c:v>1.2434472383188435</c:v>
                </c:pt>
                <c:pt idx="1955">
                  <c:v>1.3011611083509445</c:v>
                </c:pt>
                <c:pt idx="1956">
                  <c:v>1.2939879105477294</c:v>
                </c:pt>
                <c:pt idx="1957">
                  <c:v>1.2545162551688038</c:v>
                </c:pt>
                <c:pt idx="1958">
                  <c:v>1.1916042022050126</c:v>
                </c:pt>
                <c:pt idx="1959">
                  <c:v>1.1301807403009163</c:v>
                </c:pt>
                <c:pt idx="1960">
                  <c:v>1.1545064129190727</c:v>
                </c:pt>
                <c:pt idx="1961">
                  <c:v>1.1726884820198713</c:v>
                </c:pt>
                <c:pt idx="1962">
                  <c:v>1.2023155819587015</c:v>
                </c:pt>
                <c:pt idx="1963">
                  <c:v>1.1708826123715494</c:v>
                </c:pt>
                <c:pt idx="1964">
                  <c:v>1.1731547506469548</c:v>
                </c:pt>
                <c:pt idx="1965">
                  <c:v>1.1514576469170197</c:v>
                </c:pt>
                <c:pt idx="1966">
                  <c:v>1.1441374806869342</c:v>
                </c:pt>
                <c:pt idx="1967">
                  <c:v>1.1882636806334885</c:v>
                </c:pt>
                <c:pt idx="1968">
                  <c:v>1.1560619340685432</c:v>
                </c:pt>
                <c:pt idx="1969">
                  <c:v>1.1565893180272393</c:v>
                </c:pt>
                <c:pt idx="1970">
                  <c:v>1.1776069636850581</c:v>
                </c:pt>
                <c:pt idx="1971">
                  <c:v>1.1519074136644727</c:v>
                </c:pt>
                <c:pt idx="1972">
                  <c:v>1.1619323975824609</c:v>
                </c:pt>
                <c:pt idx="1973">
                  <c:v>1.1829614601042402</c:v>
                </c:pt>
                <c:pt idx="1974">
                  <c:v>1.1611928567532244</c:v>
                </c:pt>
                <c:pt idx="1975">
                  <c:v>1.1202175999618869</c:v>
                </c:pt>
                <c:pt idx="1976">
                  <c:v>1.1257165789362595</c:v>
                </c:pt>
                <c:pt idx="1977">
                  <c:v>1.1164756227038528</c:v>
                </c:pt>
                <c:pt idx="1978">
                  <c:v>1.1001588704500302</c:v>
                </c:pt>
                <c:pt idx="1979">
                  <c:v>1.0974073940455062</c:v>
                </c:pt>
                <c:pt idx="1980">
                  <c:v>1.1218849081463029</c:v>
                </c:pt>
                <c:pt idx="1981">
                  <c:v>1.1659995958280887</c:v>
                </c:pt>
                <c:pt idx="1982">
                  <c:v>1.1766541792180343</c:v>
                </c:pt>
                <c:pt idx="1983">
                  <c:v>1.1400494040514919</c:v>
                </c:pt>
                <c:pt idx="1984">
                  <c:v>1.1186159860014213</c:v>
                </c:pt>
                <c:pt idx="1985">
                  <c:v>1.1247083402263511</c:v>
                </c:pt>
                <c:pt idx="1986">
                  <c:v>1.1256681796047687</c:v>
                </c:pt>
                <c:pt idx="1987">
                  <c:v>1.1058172200404242</c:v>
                </c:pt>
                <c:pt idx="1988">
                  <c:v>1.107282268885629</c:v>
                </c:pt>
                <c:pt idx="1989">
                  <c:v>1.1095352656617667</c:v>
                </c:pt>
                <c:pt idx="1990">
                  <c:v>1.0599965300311893</c:v>
                </c:pt>
                <c:pt idx="1991">
                  <c:v>1.046617979686141</c:v>
                </c:pt>
                <c:pt idx="1992">
                  <c:v>1.0644023200137129</c:v>
                </c:pt>
                <c:pt idx="1993">
                  <c:v>1.0534054791239105</c:v>
                </c:pt>
                <c:pt idx="1994">
                  <c:v>1.0549995369612752</c:v>
                </c:pt>
                <c:pt idx="1995">
                  <c:v>1.0565320085342758</c:v>
                </c:pt>
                <c:pt idx="1996">
                  <c:v>1.0832699008838562</c:v>
                </c:pt>
                <c:pt idx="1997">
                  <c:v>1.0129656017579409</c:v>
                </c:pt>
                <c:pt idx="1998">
                  <c:v>1.0309242031515593</c:v>
                </c:pt>
                <c:pt idx="1999">
                  <c:v>1.0500084838190371</c:v>
                </c:pt>
                <c:pt idx="2000">
                  <c:v>1.0610526111735274</c:v>
                </c:pt>
                <c:pt idx="2001">
                  <c:v>1.070087760929894</c:v>
                </c:pt>
                <c:pt idx="2002">
                  <c:v>1.0790741561555248</c:v>
                </c:pt>
                <c:pt idx="2003">
                  <c:v>1.0671681292523467</c:v>
                </c:pt>
                <c:pt idx="2004">
                  <c:v>1.0721460378310321</c:v>
                </c:pt>
                <c:pt idx="2005">
                  <c:v>1.1270085008195547</c:v>
                </c:pt>
                <c:pt idx="2006">
                  <c:v>1.1338458611211706</c:v>
                </c:pt>
                <c:pt idx="2007">
                  <c:v>1.1516427048091911</c:v>
                </c:pt>
                <c:pt idx="2008">
                  <c:v>1.1310231356313334</c:v>
                </c:pt>
                <c:pt idx="2009">
                  <c:v>1.1275135904066631</c:v>
                </c:pt>
                <c:pt idx="2010">
                  <c:v>1.147004895318698</c:v>
                </c:pt>
                <c:pt idx="2011">
                  <c:v>1.1097379311630604</c:v>
                </c:pt>
                <c:pt idx="2012">
                  <c:v>1.1227495498659252</c:v>
                </c:pt>
                <c:pt idx="2013">
                  <c:v>1.1528001391913258</c:v>
                </c:pt>
                <c:pt idx="2014">
                  <c:v>1.163531287706207</c:v>
                </c:pt>
                <c:pt idx="2015">
                  <c:v>1.1278267169420468</c:v>
                </c:pt>
                <c:pt idx="2016">
                  <c:v>1.1301179370862748</c:v>
                </c:pt>
                <c:pt idx="2017">
                  <c:v>1.1702016723723259</c:v>
                </c:pt>
                <c:pt idx="2018">
                  <c:v>1.1877685540251663</c:v>
                </c:pt>
                <c:pt idx="2019">
                  <c:v>1.1874472281075188</c:v>
                </c:pt>
                <c:pt idx="2020">
                  <c:v>1.2376620989851665</c:v>
                </c:pt>
                <c:pt idx="2021">
                  <c:v>1.2577006935208228</c:v>
                </c:pt>
                <c:pt idx="2022">
                  <c:v>1.2198690809724804</c:v>
                </c:pt>
                <c:pt idx="2023">
                  <c:v>1.2166027695392503</c:v>
                </c:pt>
                <c:pt idx="2024">
                  <c:v>1.2641452066310563</c:v>
                </c:pt>
                <c:pt idx="2025">
                  <c:v>1.2982898123229689</c:v>
                </c:pt>
                <c:pt idx="2026">
                  <c:v>1.2875276584463604</c:v>
                </c:pt>
                <c:pt idx="2027">
                  <c:v>1.2967182272643276</c:v>
                </c:pt>
                <c:pt idx="2028">
                  <c:v>1.2692102712488893</c:v>
                </c:pt>
                <c:pt idx="2029">
                  <c:v>1.262843216122155</c:v>
                </c:pt>
                <c:pt idx="2030">
                  <c:v>1.2603026456453583</c:v>
                </c:pt>
                <c:pt idx="2031">
                  <c:v>1.2481969064379945</c:v>
                </c:pt>
                <c:pt idx="2032">
                  <c:v>1.210572962093456</c:v>
                </c:pt>
                <c:pt idx="2033">
                  <c:v>1.2109749563172587</c:v>
                </c:pt>
                <c:pt idx="2034">
                  <c:v>1.1566648944966387</c:v>
                </c:pt>
                <c:pt idx="2035">
                  <c:v>1.1869199006566165</c:v>
                </c:pt>
                <c:pt idx="2036">
                  <c:v>1.1636861764416466</c:v>
                </c:pt>
                <c:pt idx="2037">
                  <c:v>1.1617375017569613</c:v>
                </c:pt>
                <c:pt idx="2038">
                  <c:v>1.1688735612968797</c:v>
                </c:pt>
                <c:pt idx="2039">
                  <c:v>1.1754668429396784</c:v>
                </c:pt>
                <c:pt idx="2040">
                  <c:v>1.2270040609212509</c:v>
                </c:pt>
                <c:pt idx="2041">
                  <c:v>1.2715390710455585</c:v>
                </c:pt>
                <c:pt idx="2042">
                  <c:v>1.2893214824307673</c:v>
                </c:pt>
                <c:pt idx="2043">
                  <c:v>1.2935855898087762</c:v>
                </c:pt>
                <c:pt idx="2044">
                  <c:v>1.2865797570552584</c:v>
                </c:pt>
                <c:pt idx="2045">
                  <c:v>1.3279558658363597</c:v>
                </c:pt>
                <c:pt idx="2046">
                  <c:v>1.3591515693644132</c:v>
                </c:pt>
                <c:pt idx="2047">
                  <c:v>1.3430934014644966</c:v>
                </c:pt>
                <c:pt idx="2048">
                  <c:v>1.3368087320955442</c:v>
                </c:pt>
                <c:pt idx="2049">
                  <c:v>1.370126934299138</c:v>
                </c:pt>
                <c:pt idx="2050">
                  <c:v>1.3728669557393096</c:v>
                </c:pt>
                <c:pt idx="2051">
                  <c:v>1.346410511087839</c:v>
                </c:pt>
                <c:pt idx="2052">
                  <c:v>1.3463626605759327</c:v>
                </c:pt>
                <c:pt idx="2053">
                  <c:v>1.3644275882868102</c:v>
                </c:pt>
                <c:pt idx="2054">
                  <c:v>1.3448300324174627</c:v>
                </c:pt>
                <c:pt idx="2055">
                  <c:v>1.3123884079544947</c:v>
                </c:pt>
                <c:pt idx="2056">
                  <c:v>1.3254627905736935</c:v>
                </c:pt>
                <c:pt idx="2057">
                  <c:v>1.351185260871137</c:v>
                </c:pt>
                <c:pt idx="2058">
                  <c:v>1.3537415583842256</c:v>
                </c:pt>
                <c:pt idx="2059">
                  <c:v>1.340245988744166</c:v>
                </c:pt>
                <c:pt idx="2060">
                  <c:v>1.3511264351192904</c:v>
                </c:pt>
                <c:pt idx="2061">
                  <c:v>1.3537837991025909</c:v>
                </c:pt>
                <c:pt idx="2062">
                  <c:v>1.3361445651016119</c:v>
                </c:pt>
                <c:pt idx="2063">
                  <c:v>1.3381708651617761</c:v>
                </c:pt>
                <c:pt idx="2064">
                  <c:v>1.3333606750070188</c:v>
                </c:pt>
                <c:pt idx="2065">
                  <c:v>1.3069250125794318</c:v>
                </c:pt>
                <c:pt idx="2066">
                  <c:v>1.2977867986355249</c:v>
                </c:pt>
                <c:pt idx="2067">
                  <c:v>1.3514491583430759</c:v>
                </c:pt>
                <c:pt idx="2068">
                  <c:v>1.3222048809191551</c:v>
                </c:pt>
                <c:pt idx="2069">
                  <c:v>1.3014395212940966</c:v>
                </c:pt>
                <c:pt idx="2070">
                  <c:v>1.2600950976701775</c:v>
                </c:pt>
                <c:pt idx="2071">
                  <c:v>1.2182533662452226</c:v>
                </c:pt>
                <c:pt idx="2072">
                  <c:v>1.161030853887252</c:v>
                </c:pt>
                <c:pt idx="2073">
                  <c:v>1.1610308538872518</c:v>
                </c:pt>
                <c:pt idx="2074">
                  <c:v>1.1580623928558975</c:v>
                </c:pt>
                <c:pt idx="2075">
                  <c:v>1.118723667255753</c:v>
                </c:pt>
                <c:pt idx="2076">
                  <c:v>1.0777898308762384</c:v>
                </c:pt>
                <c:pt idx="2077">
                  <c:v>1.0775922500979973</c:v>
                </c:pt>
                <c:pt idx="2078">
                  <c:v>1.0576236646803787</c:v>
                </c:pt>
                <c:pt idx="2079">
                  <c:v>1.0525245512739752</c:v>
                </c:pt>
                <c:pt idx="2080">
                  <c:v>1.0251576273527603</c:v>
                </c:pt>
                <c:pt idx="2081">
                  <c:v>1.0040675894270921</c:v>
                </c:pt>
                <c:pt idx="2082">
                  <c:v>1.0083673500484231</c:v>
                </c:pt>
                <c:pt idx="2083">
                  <c:v>0.9945613600228872</c:v>
                </c:pt>
                <c:pt idx="2084">
                  <c:v>0.96800042747212034</c:v>
                </c:pt>
                <c:pt idx="2085">
                  <c:v>1.0265462685039146</c:v>
                </c:pt>
                <c:pt idx="2086">
                  <c:v>1.0177112026277511</c:v>
                </c:pt>
                <c:pt idx="2087">
                  <c:v>1.0140815447045399</c:v>
                </c:pt>
                <c:pt idx="2088">
                  <c:v>1.0165741996766773</c:v>
                </c:pt>
                <c:pt idx="2089">
                  <c:v>1.0208695865014685</c:v>
                </c:pt>
                <c:pt idx="2090">
                  <c:v>1.0115355346852797</c:v>
                </c:pt>
                <c:pt idx="2091">
                  <c:v>0.99488583068207082</c:v>
                </c:pt>
                <c:pt idx="2092">
                  <c:v>1.0436617675556923</c:v>
                </c:pt>
                <c:pt idx="2093">
                  <c:v>1.057032062715789</c:v>
                </c:pt>
                <c:pt idx="2094">
                  <c:v>1.0629923605655358</c:v>
                </c:pt>
                <c:pt idx="2095">
                  <c:v>1.0423624802485387</c:v>
                </c:pt>
                <c:pt idx="2096">
                  <c:v>1.0335381146734548</c:v>
                </c:pt>
                <c:pt idx="2097">
                  <c:v>0.99898137775608653</c:v>
                </c:pt>
                <c:pt idx="2098">
                  <c:v>1.0141404831384213</c:v>
                </c:pt>
                <c:pt idx="2099">
                  <c:v>1.0089644173122754</c:v>
                </c:pt>
                <c:pt idx="2100">
                  <c:v>1.0096832893673076</c:v>
                </c:pt>
                <c:pt idx="2101">
                  <c:v>1.0192158919889145</c:v>
                </c:pt>
                <c:pt idx="2102">
                  <c:v>1.0622357683613406</c:v>
                </c:pt>
                <c:pt idx="2103">
                  <c:v>1.0644738055765495</c:v>
                </c:pt>
                <c:pt idx="2104">
                  <c:v>1.1081731886722201</c:v>
                </c:pt>
                <c:pt idx="2105">
                  <c:v>1.110670347443226</c:v>
                </c:pt>
                <c:pt idx="2106">
                  <c:v>1.1390762540952555</c:v>
                </c:pt>
                <c:pt idx="2107">
                  <c:v>1.1601099828954988</c:v>
                </c:pt>
                <c:pt idx="2108">
                  <c:v>1.1556875845588417</c:v>
                </c:pt>
                <c:pt idx="2109">
                  <c:v>1.1591625990491945</c:v>
                </c:pt>
                <c:pt idx="2110">
                  <c:v>1.180878496285078</c:v>
                </c:pt>
                <c:pt idx="2111">
                  <c:v>1.1765222958548975</c:v>
                </c:pt>
                <c:pt idx="2112">
                  <c:v>1.1802036157852784</c:v>
                </c:pt>
                <c:pt idx="2113">
                  <c:v>1.1966994840695866</c:v>
                </c:pt>
                <c:pt idx="2114">
                  <c:v>1.1987140619425685</c:v>
                </c:pt>
                <c:pt idx="2115">
                  <c:v>1.1442690785553598</c:v>
                </c:pt>
                <c:pt idx="2116">
                  <c:v>1.1111953282259899</c:v>
                </c:pt>
                <c:pt idx="2117">
                  <c:v>1.1235662127719752</c:v>
                </c:pt>
                <c:pt idx="2118">
                  <c:v>1.1238464839737812</c:v>
                </c:pt>
                <c:pt idx="2119">
                  <c:v>1.1296790308063966</c:v>
                </c:pt>
                <c:pt idx="2120">
                  <c:v>1.1180484331416845</c:v>
                </c:pt>
                <c:pt idx="2121">
                  <c:v>1.1101752994019907</c:v>
                </c:pt>
                <c:pt idx="2122">
                  <c:v>1.0958605499002085</c:v>
                </c:pt>
                <c:pt idx="2123">
                  <c:v>1.0817533659885634</c:v>
                </c:pt>
                <c:pt idx="2124">
                  <c:v>1.0753850419760116</c:v>
                </c:pt>
                <c:pt idx="2125">
                  <c:v>1.0917612576374753</c:v>
                </c:pt>
                <c:pt idx="2126">
                  <c:v>1.0968158721824122</c:v>
                </c:pt>
                <c:pt idx="2127">
                  <c:v>1.09910041585741</c:v>
                </c:pt>
                <c:pt idx="2128">
                  <c:v>1.1243938852534745</c:v>
                </c:pt>
                <c:pt idx="2129">
                  <c:v>1.127975554067868</c:v>
                </c:pt>
                <c:pt idx="2130">
                  <c:v>1.1836987132197798</c:v>
                </c:pt>
                <c:pt idx="2131">
                  <c:v>1.190336811216864</c:v>
                </c:pt>
                <c:pt idx="2132">
                  <c:v>1.1464959609635561</c:v>
                </c:pt>
                <c:pt idx="2133">
                  <c:v>1.1113456687288163</c:v>
                </c:pt>
                <c:pt idx="2134">
                  <c:v>1.0746859471759516</c:v>
                </c:pt>
                <c:pt idx="2135">
                  <c:v>1.0983792134557739</c:v>
                </c:pt>
                <c:pt idx="2136">
                  <c:v>1.0946247454417126</c:v>
                </c:pt>
                <c:pt idx="2137">
                  <c:v>1.0728978912540894</c:v>
                </c:pt>
                <c:pt idx="2138">
                  <c:v>1.0897443019709538</c:v>
                </c:pt>
                <c:pt idx="2139">
                  <c:v>1.0557771556056947</c:v>
                </c:pt>
                <c:pt idx="2140">
                  <c:v>1.0407436002105952</c:v>
                </c:pt>
                <c:pt idx="2141">
                  <c:v>1.0885285333036028</c:v>
                </c:pt>
                <c:pt idx="2142">
                  <c:v>1.1021214652378075</c:v>
                </c:pt>
                <c:pt idx="2143">
                  <c:v>1.0576306745164694</c:v>
                </c:pt>
                <c:pt idx="2144">
                  <c:v>1.0632237359294039</c:v>
                </c:pt>
                <c:pt idx="2145">
                  <c:v>1.06357475730097</c:v>
                </c:pt>
                <c:pt idx="2146">
                  <c:v>1.0695409370809303</c:v>
                </c:pt>
                <c:pt idx="2147">
                  <c:v>1.0683171856688458</c:v>
                </c:pt>
                <c:pt idx="2148">
                  <c:v>1.0726296508190014</c:v>
                </c:pt>
                <c:pt idx="2149">
                  <c:v>1.0577117461440217</c:v>
                </c:pt>
                <c:pt idx="2150">
                  <c:v>1.051753653250816</c:v>
                </c:pt>
                <c:pt idx="2151">
                  <c:v>1.0548236765003658</c:v>
                </c:pt>
                <c:pt idx="2152">
                  <c:v>1.0334520324854353</c:v>
                </c:pt>
                <c:pt idx="2153">
                  <c:v>1.0725983597690758</c:v>
                </c:pt>
                <c:pt idx="2154">
                  <c:v>1.1167720828608998</c:v>
                </c:pt>
                <c:pt idx="2155">
                  <c:v>1.1727688525916762</c:v>
                </c:pt>
                <c:pt idx="2156">
                  <c:v>1.169634779425347</c:v>
                </c:pt>
                <c:pt idx="2157">
                  <c:v>1.156834960760083</c:v>
                </c:pt>
                <c:pt idx="2158">
                  <c:v>1.129768616326716</c:v>
                </c:pt>
                <c:pt idx="2159">
                  <c:v>1.1494988413247302</c:v>
                </c:pt>
                <c:pt idx="2160">
                  <c:v>1.1011955885027562</c:v>
                </c:pt>
                <c:pt idx="2161">
                  <c:v>1.1263235381735031</c:v>
                </c:pt>
                <c:pt idx="2162">
                  <c:v>1.1274711811695306</c:v>
                </c:pt>
                <c:pt idx="2163">
                  <c:v>1.1282263570062874</c:v>
                </c:pt>
                <c:pt idx="2164">
                  <c:v>1.129718711811083</c:v>
                </c:pt>
                <c:pt idx="2165">
                  <c:v>1.1235240126034476</c:v>
                </c:pt>
                <c:pt idx="2166">
                  <c:v>1.128685330246054</c:v>
                </c:pt>
                <c:pt idx="2167">
                  <c:v>1.1147249029224218</c:v>
                </c:pt>
                <c:pt idx="2168">
                  <c:v>1.0883999117126444</c:v>
                </c:pt>
                <c:pt idx="2169">
                  <c:v>1.0935980896148252</c:v>
                </c:pt>
                <c:pt idx="2170">
                  <c:v>1.080949401773923</c:v>
                </c:pt>
                <c:pt idx="2171">
                  <c:v>1.0529403275273168</c:v>
                </c:pt>
                <c:pt idx="2172">
                  <c:v>1.0653370304770913</c:v>
                </c:pt>
                <c:pt idx="2173">
                  <c:v>1.117421549613318</c:v>
                </c:pt>
                <c:pt idx="2174">
                  <c:v>1.1313090779645754</c:v>
                </c:pt>
                <c:pt idx="2175">
                  <c:v>1.1431161282908315</c:v>
                </c:pt>
                <c:pt idx="2176">
                  <c:v>1.148419403544185</c:v>
                </c:pt>
                <c:pt idx="2177">
                  <c:v>1.1690118137511079</c:v>
                </c:pt>
                <c:pt idx="2178">
                  <c:v>1.180221341017482</c:v>
                </c:pt>
                <c:pt idx="2179">
                  <c:v>1.178461104454722</c:v>
                </c:pt>
                <c:pt idx="2180">
                  <c:v>1.1774680121091312</c:v>
                </c:pt>
                <c:pt idx="2181">
                  <c:v>1.1564235393223583</c:v>
                </c:pt>
                <c:pt idx="2182">
                  <c:v>1.216772818546676</c:v>
                </c:pt>
                <c:pt idx="2183">
                  <c:v>1.1630736626833169</c:v>
                </c:pt>
                <c:pt idx="2184">
                  <c:v>1.1675753932190307</c:v>
                </c:pt>
                <c:pt idx="2185">
                  <c:v>1.1322304809838699</c:v>
                </c:pt>
                <c:pt idx="2186">
                  <c:v>1.1418122316798824</c:v>
                </c:pt>
                <c:pt idx="2187">
                  <c:v>1.1175064606771508</c:v>
                </c:pt>
                <c:pt idx="2188">
                  <c:v>1.1606595429809052</c:v>
                </c:pt>
                <c:pt idx="2189">
                  <c:v>1.145828817127986</c:v>
                </c:pt>
                <c:pt idx="2190">
                  <c:v>1.1551282956063125</c:v>
                </c:pt>
                <c:pt idx="2191">
                  <c:v>1.1391517816380727</c:v>
                </c:pt>
                <c:pt idx="2192">
                  <c:v>1.1403631706257182</c:v>
                </c:pt>
                <c:pt idx="2193">
                  <c:v>1.2102484308470789</c:v>
                </c:pt>
                <c:pt idx="2194">
                  <c:v>1.2115402944423566</c:v>
                </c:pt>
                <c:pt idx="2195">
                  <c:v>1.1800598562648492</c:v>
                </c:pt>
                <c:pt idx="2196">
                  <c:v>1.165757412512392</c:v>
                </c:pt>
                <c:pt idx="2197">
                  <c:v>1.1559682710516588</c:v>
                </c:pt>
                <c:pt idx="2198">
                  <c:v>1.1563687217707228</c:v>
                </c:pt>
                <c:pt idx="2199">
                  <c:v>1.1565523478569113</c:v>
                </c:pt>
                <c:pt idx="2200">
                  <c:v>1.1212741623378453</c:v>
                </c:pt>
                <c:pt idx="2201">
                  <c:v>1.1174182065260356</c:v>
                </c:pt>
                <c:pt idx="2202">
                  <c:v>1.1024443062013891</c:v>
                </c:pt>
                <c:pt idx="2203">
                  <c:v>1.0877109255088253</c:v>
                </c:pt>
                <c:pt idx="2204">
                  <c:v>1.0555376142859212</c:v>
                </c:pt>
                <c:pt idx="2205">
                  <c:v>1.0379345648544231</c:v>
                </c:pt>
                <c:pt idx="2206">
                  <c:v>1.0541358611645388</c:v>
                </c:pt>
                <c:pt idx="2207">
                  <c:v>1.012741187393738</c:v>
                </c:pt>
                <c:pt idx="2208">
                  <c:v>1.0178677284616495</c:v>
                </c:pt>
                <c:pt idx="2209">
                  <c:v>1.0685011523829435</c:v>
                </c:pt>
                <c:pt idx="2210">
                  <c:v>1.0923548852833034</c:v>
                </c:pt>
                <c:pt idx="2211">
                  <c:v>1.0891695138430277</c:v>
                </c:pt>
                <c:pt idx="2212">
                  <c:v>1.0402889187541884</c:v>
                </c:pt>
                <c:pt idx="2213">
                  <c:v>1.0776831790850032</c:v>
                </c:pt>
                <c:pt idx="2214">
                  <c:v>1.0605739608517557</c:v>
                </c:pt>
                <c:pt idx="2215">
                  <c:v>1.0582677235523361</c:v>
                </c:pt>
                <c:pt idx="2216">
                  <c:v>1.0629088260118049</c:v>
                </c:pt>
                <c:pt idx="2217">
                  <c:v>1.0858157588048563</c:v>
                </c:pt>
                <c:pt idx="2218">
                  <c:v>1.0530865963017213</c:v>
                </c:pt>
                <c:pt idx="2219">
                  <c:v>1.0907153088947963</c:v>
                </c:pt>
                <c:pt idx="2220">
                  <c:v>1.0657718049516438</c:v>
                </c:pt>
                <c:pt idx="2221">
                  <c:v>1.0597883111111461</c:v>
                </c:pt>
                <c:pt idx="2222">
                  <c:v>1.0831809265031533</c:v>
                </c:pt>
                <c:pt idx="2223">
                  <c:v>1.0403967523492419</c:v>
                </c:pt>
                <c:pt idx="2224">
                  <c:v>1.4313475685761878</c:v>
                </c:pt>
                <c:pt idx="2225">
                  <c:v>1.4977168831488028</c:v>
                </c:pt>
                <c:pt idx="2226">
                  <c:v>1.5568881429489951</c:v>
                </c:pt>
                <c:pt idx="2227">
                  <c:v>1.6831205624037171</c:v>
                </c:pt>
                <c:pt idx="2228">
                  <c:v>1.7047486078867913</c:v>
                </c:pt>
                <c:pt idx="2229">
                  <c:v>1.7042807833528328</c:v>
                </c:pt>
                <c:pt idx="2230">
                  <c:v>1.7935069351515704</c:v>
                </c:pt>
                <c:pt idx="2231">
                  <c:v>1.8913073991715144</c:v>
                </c:pt>
                <c:pt idx="2232">
                  <c:v>1.9062806055579633</c:v>
                </c:pt>
                <c:pt idx="2233">
                  <c:v>1.9886521745303691</c:v>
                </c:pt>
                <c:pt idx="2234">
                  <c:v>2.2643457353494845</c:v>
                </c:pt>
                <c:pt idx="2235">
                  <c:v>2.4243400808438986</c:v>
                </c:pt>
                <c:pt idx="2236">
                  <c:v>2.5242806190434051</c:v>
                </c:pt>
                <c:pt idx="2237">
                  <c:v>2.5216341171331043</c:v>
                </c:pt>
                <c:pt idx="2238">
                  <c:v>2.5483949422350514</c:v>
                </c:pt>
                <c:pt idx="2239">
                  <c:v>2.526664263183886</c:v>
                </c:pt>
                <c:pt idx="2240">
                  <c:v>2.6153867431207853</c:v>
                </c:pt>
                <c:pt idx="2241">
                  <c:v>2.7625324879766451</c:v>
                </c:pt>
                <c:pt idx="2242">
                  <c:v>2.761150871997224</c:v>
                </c:pt>
                <c:pt idx="2243">
                  <c:v>2.7968143002146308</c:v>
                </c:pt>
                <c:pt idx="2244">
                  <c:v>2.9273297235441085</c:v>
                </c:pt>
                <c:pt idx="2245">
                  <c:v>2.9542251838310509</c:v>
                </c:pt>
                <c:pt idx="2246">
                  <c:v>3.0432167645210662</c:v>
                </c:pt>
                <c:pt idx="2247">
                  <c:v>3.2300429519225227</c:v>
                </c:pt>
                <c:pt idx="2248">
                  <c:v>3.3958288308269986</c:v>
                </c:pt>
                <c:pt idx="2249">
                  <c:v>3.4413886531557232</c:v>
                </c:pt>
                <c:pt idx="2250">
                  <c:v>3.5559658306156074</c:v>
                </c:pt>
                <c:pt idx="2251">
                  <c:v>3.5528855683892999</c:v>
                </c:pt>
                <c:pt idx="2252">
                  <c:v>3.6214180241649987</c:v>
                </c:pt>
                <c:pt idx="2253">
                  <c:v>3.6859447236423835</c:v>
                </c:pt>
                <c:pt idx="2254">
                  <c:v>3.6262514922516709</c:v>
                </c:pt>
                <c:pt idx="2255">
                  <c:v>3.549750922134594</c:v>
                </c:pt>
                <c:pt idx="2256">
                  <c:v>3.6957160039171288</c:v>
                </c:pt>
                <c:pt idx="2257">
                  <c:v>3.7049840460667567</c:v>
                </c:pt>
                <c:pt idx="2258">
                  <c:v>3.8056543533893437</c:v>
                </c:pt>
                <c:pt idx="2259">
                  <c:v>3.8042768430873397</c:v>
                </c:pt>
                <c:pt idx="2260">
                  <c:v>3.7540697303366497</c:v>
                </c:pt>
                <c:pt idx="2261">
                  <c:v>3.6815697551545816</c:v>
                </c:pt>
                <c:pt idx="2262">
                  <c:v>3.7168944675304707</c:v>
                </c:pt>
                <c:pt idx="2263">
                  <c:v>3.7393320443537825</c:v>
                </c:pt>
                <c:pt idx="2264">
                  <c:v>3.6925906552346737</c:v>
                </c:pt>
                <c:pt idx="2265">
                  <c:v>3.7510804726963243</c:v>
                </c:pt>
                <c:pt idx="2266">
                  <c:v>3.6521676133307563</c:v>
                </c:pt>
                <c:pt idx="2267">
                  <c:v>3.6787869065016907</c:v>
                </c:pt>
                <c:pt idx="2268">
                  <c:v>3.6275002633934488</c:v>
                </c:pt>
                <c:pt idx="2269">
                  <c:v>3.6352075309538314</c:v>
                </c:pt>
                <c:pt idx="2270">
                  <c:v>3.6307562462302854</c:v>
                </c:pt>
                <c:pt idx="2271">
                  <c:v>3.6082160396109528</c:v>
                </c:pt>
                <c:pt idx="2272">
                  <c:v>3.6289000423325772</c:v>
                </c:pt>
                <c:pt idx="2273">
                  <c:v>3.6305926972511435</c:v>
                </c:pt>
                <c:pt idx="2274">
                  <c:v>3.3859207477944353</c:v>
                </c:pt>
                <c:pt idx="2275">
                  <c:v>3.3891540327154308</c:v>
                </c:pt>
                <c:pt idx="2276">
                  <c:v>7.592318478900749</c:v>
                </c:pt>
                <c:pt idx="2277">
                  <c:v>10.125905896752407</c:v>
                </c:pt>
                <c:pt idx="2278">
                  <c:v>12.025120182447221</c:v>
                </c:pt>
                <c:pt idx="2279">
                  <c:v>13.539455433963202</c:v>
                </c:pt>
                <c:pt idx="2280">
                  <c:v>14.813072857151017</c:v>
                </c:pt>
                <c:pt idx="2281">
                  <c:v>15.803068652972888</c:v>
                </c:pt>
                <c:pt idx="2282">
                  <c:v>16.708645170936975</c:v>
                </c:pt>
                <c:pt idx="2283">
                  <c:v>17.500400376372333</c:v>
                </c:pt>
                <c:pt idx="2284">
                  <c:v>18.062269778193155</c:v>
                </c:pt>
                <c:pt idx="2285">
                  <c:v>18.498970648592074</c:v>
                </c:pt>
                <c:pt idx="2286">
                  <c:v>18.653300789533933</c:v>
                </c:pt>
                <c:pt idx="2287">
                  <c:v>18.687649375868599</c:v>
                </c:pt>
                <c:pt idx="2288">
                  <c:v>18.619695245478177</c:v>
                </c:pt>
                <c:pt idx="2289">
                  <c:v>18.576639108695428</c:v>
                </c:pt>
                <c:pt idx="2290">
                  <c:v>18.597607870523216</c:v>
                </c:pt>
                <c:pt idx="2291">
                  <c:v>18.548949023733325</c:v>
                </c:pt>
                <c:pt idx="2292">
                  <c:v>18.68809665099101</c:v>
                </c:pt>
                <c:pt idx="2293">
                  <c:v>18.874144401708694</c:v>
                </c:pt>
                <c:pt idx="2294">
                  <c:v>19.051476489678734</c:v>
                </c:pt>
                <c:pt idx="2295">
                  <c:v>19.370010251066898</c:v>
                </c:pt>
                <c:pt idx="2296">
                  <c:v>19.582697233004964</c:v>
                </c:pt>
                <c:pt idx="2297">
                  <c:v>19.879510936073636</c:v>
                </c:pt>
                <c:pt idx="2298">
                  <c:v>20.068964330785604</c:v>
                </c:pt>
                <c:pt idx="2299">
                  <c:v>20.235473563641342</c:v>
                </c:pt>
                <c:pt idx="2300">
                  <c:v>20.367988522109432</c:v>
                </c:pt>
                <c:pt idx="2301">
                  <c:v>20.595699096276579</c:v>
                </c:pt>
                <c:pt idx="2302">
                  <c:v>20.740150258824563</c:v>
                </c:pt>
                <c:pt idx="2303">
                  <c:v>20.960055850697721</c:v>
                </c:pt>
                <c:pt idx="2304">
                  <c:v>21.100652340517868</c:v>
                </c:pt>
                <c:pt idx="2305">
                  <c:v>21.319161056686053</c:v>
                </c:pt>
                <c:pt idx="2306">
                  <c:v>21.394007636686972</c:v>
                </c:pt>
                <c:pt idx="2307">
                  <c:v>21.376028425887899</c:v>
                </c:pt>
                <c:pt idx="2308">
                  <c:v>21.23551201583593</c:v>
                </c:pt>
                <c:pt idx="2309">
                  <c:v>20.940242193046572</c:v>
                </c:pt>
                <c:pt idx="2310">
                  <c:v>20.593466514976246</c:v>
                </c:pt>
                <c:pt idx="2311">
                  <c:v>20.113883022178602</c:v>
                </c:pt>
                <c:pt idx="2312">
                  <c:v>19.554898272217663</c:v>
                </c:pt>
                <c:pt idx="2313">
                  <c:v>18.853029342848288</c:v>
                </c:pt>
                <c:pt idx="2314">
                  <c:v>18.038093025594463</c:v>
                </c:pt>
                <c:pt idx="2315">
                  <c:v>17.041628746831311</c:v>
                </c:pt>
                <c:pt idx="2316">
                  <c:v>15.8658892727068</c:v>
                </c:pt>
                <c:pt idx="2317">
                  <c:v>14.486596107492231</c:v>
                </c:pt>
                <c:pt idx="2318">
                  <c:v>12.804143909858549</c:v>
                </c:pt>
                <c:pt idx="2319">
                  <c:v>10.65550775501762</c:v>
                </c:pt>
                <c:pt idx="2320">
                  <c:v>7.7073688355894703</c:v>
                </c:pt>
                <c:pt idx="2321">
                  <c:v>1.1718565680542794</c:v>
                </c:pt>
                <c:pt idx="2322">
                  <c:v>1.15533987635027</c:v>
                </c:pt>
                <c:pt idx="2323">
                  <c:v>1.1613535503736654</c:v>
                </c:pt>
                <c:pt idx="2324">
                  <c:v>1.1622382785349801</c:v>
                </c:pt>
                <c:pt idx="2325">
                  <c:v>1.1432937394705898</c:v>
                </c:pt>
                <c:pt idx="2326">
                  <c:v>1.1984539849418452</c:v>
                </c:pt>
                <c:pt idx="2327">
                  <c:v>1.1308584878490455</c:v>
                </c:pt>
                <c:pt idx="2328">
                  <c:v>1.1503693060186735</c:v>
                </c:pt>
                <c:pt idx="2329">
                  <c:v>1.1767227527253852</c:v>
                </c:pt>
                <c:pt idx="2330">
                  <c:v>1.1982595136567726</c:v>
                </c:pt>
                <c:pt idx="2331">
                  <c:v>1.1588058161487751</c:v>
                </c:pt>
                <c:pt idx="2332">
                  <c:v>1.2014770603040164</c:v>
                </c:pt>
                <c:pt idx="2333">
                  <c:v>1.1574315600034211</c:v>
                </c:pt>
                <c:pt idx="2334">
                  <c:v>1.1526682688141603</c:v>
                </c:pt>
                <c:pt idx="2335">
                  <c:v>1.0884304844776393</c:v>
                </c:pt>
                <c:pt idx="2336">
                  <c:v>1.0886260981664893</c:v>
                </c:pt>
                <c:pt idx="2337">
                  <c:v>1.0727727528746913</c:v>
                </c:pt>
                <c:pt idx="2338">
                  <c:v>1.0832870900828775</c:v>
                </c:pt>
                <c:pt idx="2339">
                  <c:v>1.1398237411633163</c:v>
                </c:pt>
                <c:pt idx="2340">
                  <c:v>1.1552857535751886</c:v>
                </c:pt>
                <c:pt idx="2341">
                  <c:v>1.145813769947934</c:v>
                </c:pt>
                <c:pt idx="2342">
                  <c:v>1.1435273117174227</c:v>
                </c:pt>
                <c:pt idx="2343">
                  <c:v>1.1615754758976682</c:v>
                </c:pt>
                <c:pt idx="2344">
                  <c:v>1.2386442811285296</c:v>
                </c:pt>
                <c:pt idx="2345">
                  <c:v>1.2207789580295914</c:v>
                </c:pt>
                <c:pt idx="2346">
                  <c:v>1.2040852396603052</c:v>
                </c:pt>
                <c:pt idx="2347">
                  <c:v>1.21180097755176</c:v>
                </c:pt>
                <c:pt idx="2348">
                  <c:v>1.2702035767690074</c:v>
                </c:pt>
                <c:pt idx="2349">
                  <c:v>1.2435804814297711</c:v>
                </c:pt>
                <c:pt idx="2350">
                  <c:v>1.2722169987679071</c:v>
                </c:pt>
                <c:pt idx="2351">
                  <c:v>1.2960501001384797</c:v>
                </c:pt>
                <c:pt idx="2352">
                  <c:v>1.3119249698198365</c:v>
                </c:pt>
                <c:pt idx="2353">
                  <c:v>1.3163081426614285</c:v>
                </c:pt>
                <c:pt idx="2354">
                  <c:v>1.3431085919072854</c:v>
                </c:pt>
                <c:pt idx="2355">
                  <c:v>1.3515204294661498</c:v>
                </c:pt>
                <c:pt idx="2356">
                  <c:v>1.3478413989715581</c:v>
                </c:pt>
                <c:pt idx="2357">
                  <c:v>1.392895107899081</c:v>
                </c:pt>
                <c:pt idx="2358">
                  <c:v>1.3815174066321365</c:v>
                </c:pt>
                <c:pt idx="2359">
                  <c:v>1.3815270994217881</c:v>
                </c:pt>
                <c:pt idx="2360">
                  <c:v>1.3621747318167363</c:v>
                </c:pt>
                <c:pt idx="2361">
                  <c:v>1.3181029994812155</c:v>
                </c:pt>
                <c:pt idx="2362">
                  <c:v>1.3048410745700239</c:v>
                </c:pt>
                <c:pt idx="2363">
                  <c:v>1.3136181498739115</c:v>
                </c:pt>
                <c:pt idx="2364">
                  <c:v>1.2952552227086442</c:v>
                </c:pt>
                <c:pt idx="2365">
                  <c:v>1.3084903998259898</c:v>
                </c:pt>
                <c:pt idx="2366">
                  <c:v>1.28652521406958</c:v>
                </c:pt>
                <c:pt idx="2367">
                  <c:v>1.2512336900541137</c:v>
                </c:pt>
                <c:pt idx="2368">
                  <c:v>1.2555982225822564</c:v>
                </c:pt>
                <c:pt idx="2369">
                  <c:v>1.2284246523237716</c:v>
                </c:pt>
                <c:pt idx="2370">
                  <c:v>1.1923923600182464</c:v>
                </c:pt>
                <c:pt idx="2371">
                  <c:v>1.2319353991123903</c:v>
                </c:pt>
                <c:pt idx="2372">
                  <c:v>1.2254377120877642</c:v>
                </c:pt>
                <c:pt idx="2373">
                  <c:v>1.2592024934617259</c:v>
                </c:pt>
                <c:pt idx="2374">
                  <c:v>1.2110347053124701</c:v>
                </c:pt>
                <c:pt idx="2375">
                  <c:v>1.2543268103355021</c:v>
                </c:pt>
                <c:pt idx="2376">
                  <c:v>1.2608173320618588</c:v>
                </c:pt>
                <c:pt idx="2377">
                  <c:v>1.2836749060287085</c:v>
                </c:pt>
                <c:pt idx="2378">
                  <c:v>1.2394297910315653</c:v>
                </c:pt>
                <c:pt idx="2379">
                  <c:v>1.2370638207270155</c:v>
                </c:pt>
                <c:pt idx="2380">
                  <c:v>1.2028252182869812</c:v>
                </c:pt>
                <c:pt idx="2381">
                  <c:v>1.1785635129355509</c:v>
                </c:pt>
                <c:pt idx="2382">
                  <c:v>1.1397170953667679</c:v>
                </c:pt>
                <c:pt idx="2383">
                  <c:v>1.1124180972046904</c:v>
                </c:pt>
                <c:pt idx="2384">
                  <c:v>1.0975896266390939</c:v>
                </c:pt>
                <c:pt idx="2385">
                  <c:v>1.0724598966325296</c:v>
                </c:pt>
                <c:pt idx="2386">
                  <c:v>1.0340124390634426</c:v>
                </c:pt>
                <c:pt idx="2387">
                  <c:v>0.9995203447355282</c:v>
                </c:pt>
                <c:pt idx="2388">
                  <c:v>1.0499974822082565</c:v>
                </c:pt>
                <c:pt idx="2389">
                  <c:v>1.0875838453607405</c:v>
                </c:pt>
                <c:pt idx="2390">
                  <c:v>1.1243540163235906</c:v>
                </c:pt>
                <c:pt idx="2391">
                  <c:v>1.1182386087981833</c:v>
                </c:pt>
                <c:pt idx="2392">
                  <c:v>1.0836212703113872</c:v>
                </c:pt>
                <c:pt idx="2393">
                  <c:v>1.0739625306505716</c:v>
                </c:pt>
                <c:pt idx="2394">
                  <c:v>1.096740258859088</c:v>
                </c:pt>
                <c:pt idx="2395">
                  <c:v>1.0786060075580104</c:v>
                </c:pt>
                <c:pt idx="2396">
                  <c:v>1.082872138789025</c:v>
                </c:pt>
                <c:pt idx="2397">
                  <c:v>1.0750709145281383</c:v>
                </c:pt>
                <c:pt idx="2398">
                  <c:v>1.1133282916810616</c:v>
                </c:pt>
                <c:pt idx="2399">
                  <c:v>1.1057176896456897</c:v>
                </c:pt>
                <c:pt idx="2400">
                  <c:v>1.1169832627194565</c:v>
                </c:pt>
                <c:pt idx="2401">
                  <c:v>1.0571643376417921</c:v>
                </c:pt>
                <c:pt idx="2402">
                  <c:v>1.0667109724993808</c:v>
                </c:pt>
                <c:pt idx="2403">
                  <c:v>1.0171752637777718</c:v>
                </c:pt>
                <c:pt idx="2404">
                  <c:v>1.015595912492397</c:v>
                </c:pt>
                <c:pt idx="2405">
                  <c:v>1.0230917757509317</c:v>
                </c:pt>
                <c:pt idx="2406">
                  <c:v>1.0287236260777597</c:v>
                </c:pt>
                <c:pt idx="2407">
                  <c:v>0.99732377523233529</c:v>
                </c:pt>
                <c:pt idx="2408">
                  <c:v>0.99549998989706545</c:v>
                </c:pt>
                <c:pt idx="2409">
                  <c:v>1.019849493065397</c:v>
                </c:pt>
                <c:pt idx="2410">
                  <c:v>1.0219774048832753</c:v>
                </c:pt>
                <c:pt idx="2411">
                  <c:v>1.0295929337342025</c:v>
                </c:pt>
                <c:pt idx="2412">
                  <c:v>1.0431958522765017</c:v>
                </c:pt>
                <c:pt idx="2413">
                  <c:v>1.02919279830941</c:v>
                </c:pt>
                <c:pt idx="2414">
                  <c:v>1.0176576666231043</c:v>
                </c:pt>
                <c:pt idx="2415">
                  <c:v>0.98305411972019663</c:v>
                </c:pt>
                <c:pt idx="2416">
                  <c:v>1.0239643492357278</c:v>
                </c:pt>
                <c:pt idx="2417">
                  <c:v>1.053662250406189</c:v>
                </c:pt>
                <c:pt idx="2418">
                  <c:v>1.0192253086953136</c:v>
                </c:pt>
                <c:pt idx="2419">
                  <c:v>0.99778006467921776</c:v>
                </c:pt>
                <c:pt idx="2420">
                  <c:v>0.95707342468061696</c:v>
                </c:pt>
                <c:pt idx="2421">
                  <c:v>0.99371796919390065</c:v>
                </c:pt>
                <c:pt idx="2422">
                  <c:v>1.0312619765936373</c:v>
                </c:pt>
                <c:pt idx="2423">
                  <c:v>1.0258133302437371</c:v>
                </c:pt>
                <c:pt idx="2424">
                  <c:v>1.022586790371538</c:v>
                </c:pt>
                <c:pt idx="2425">
                  <c:v>1.0389432971068124</c:v>
                </c:pt>
                <c:pt idx="2426">
                  <c:v>1.0391751056895562</c:v>
                </c:pt>
                <c:pt idx="2427">
                  <c:v>1.057892244040006</c:v>
                </c:pt>
                <c:pt idx="2428">
                  <c:v>1.0243131031736992</c:v>
                </c:pt>
                <c:pt idx="2429">
                  <c:v>1.0304241423042642</c:v>
                </c:pt>
                <c:pt idx="2430">
                  <c:v>1.0335020475129397</c:v>
                </c:pt>
                <c:pt idx="2431">
                  <c:v>1.0524072590784612</c:v>
                </c:pt>
                <c:pt idx="2432">
                  <c:v>1.0646812623861615</c:v>
                </c:pt>
                <c:pt idx="2433">
                  <c:v>1.0894933636666559</c:v>
                </c:pt>
                <c:pt idx="2434">
                  <c:v>1.1189199575237854</c:v>
                </c:pt>
                <c:pt idx="2435">
                  <c:v>1.0598458390796182</c:v>
                </c:pt>
                <c:pt idx="2436">
                  <c:v>1.0626378803270109</c:v>
                </c:pt>
                <c:pt idx="2437">
                  <c:v>1.0888457190989</c:v>
                </c:pt>
                <c:pt idx="2438">
                  <c:v>1.0829435196106338</c:v>
                </c:pt>
                <c:pt idx="2439">
                  <c:v>1.0921148452268359</c:v>
                </c:pt>
                <c:pt idx="2440">
                  <c:v>1.1360491592830357</c:v>
                </c:pt>
                <c:pt idx="2441">
                  <c:v>1.1753229730202208</c:v>
                </c:pt>
                <c:pt idx="2442">
                  <c:v>1.1791969532463416</c:v>
                </c:pt>
                <c:pt idx="2443">
                  <c:v>1.242426389502949</c:v>
                </c:pt>
                <c:pt idx="2444">
                  <c:v>1.2199601541762657</c:v>
                </c:pt>
                <c:pt idx="2445">
                  <c:v>1.2694817559033407</c:v>
                </c:pt>
                <c:pt idx="2446">
                  <c:v>1.3135701986063273</c:v>
                </c:pt>
                <c:pt idx="2447">
                  <c:v>1.3571551127266184</c:v>
                </c:pt>
                <c:pt idx="2448">
                  <c:v>1.50985098602478</c:v>
                </c:pt>
                <c:pt idx="2449">
                  <c:v>1.5650851946992108</c:v>
                </c:pt>
                <c:pt idx="2450">
                  <c:v>1.7643790220169056</c:v>
                </c:pt>
                <c:pt idx="2451">
                  <c:v>0.38183766184073509</c:v>
                </c:pt>
              </c:numCache>
            </c:numRef>
          </c:val>
          <c:smooth val="0"/>
          <c:extLst>
            <c:ext xmlns:c16="http://schemas.microsoft.com/office/drawing/2014/chart" uri="{C3380CC4-5D6E-409C-BE32-E72D297353CC}">
              <c16:uniqueId val="{00000000-FC66-2144-AB8E-B2E86AA4D44E}"/>
            </c:ext>
          </c:extLst>
        </c:ser>
        <c:ser>
          <c:idx val="1"/>
          <c:order val="1"/>
          <c:tx>
            <c:strRef>
              <c:f>'DRT Rolling Stdev'!$D$1</c:f>
              <c:strCache>
                <c:ptCount val="1"/>
                <c:pt idx="0">
                  <c:v>Volumetric Flow Meter 2</c:v>
                </c:pt>
              </c:strCache>
            </c:strRef>
          </c:tx>
          <c:spPr>
            <a:ln w="28575" cap="rnd">
              <a:solidFill>
                <a:schemeClr val="accent2"/>
              </a:solidFill>
              <a:round/>
            </a:ln>
            <a:effectLst/>
          </c:spPr>
          <c:marker>
            <c:symbol val="none"/>
          </c:marker>
          <c:cat>
            <c:numRef>
              <c:f>'DRT Rolling Stdev'!$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D$2:$D$2453</c:f>
              <c:numCache>
                <c:formatCode>#,##0.00</c:formatCode>
                <c:ptCount val="2452"/>
                <c:pt idx="0">
                  <c:v>0.95842087556179822</c:v>
                </c:pt>
                <c:pt idx="1">
                  <c:v>1.0066843265559138</c:v>
                </c:pt>
                <c:pt idx="2">
                  <c:v>1.0257669404362542</c:v>
                </c:pt>
                <c:pt idx="3">
                  <c:v>1.0465756421361256</c:v>
                </c:pt>
                <c:pt idx="4">
                  <c:v>1.0349981953451977</c:v>
                </c:pt>
                <c:pt idx="5">
                  <c:v>1.0469812105154579</c:v>
                </c:pt>
                <c:pt idx="6">
                  <c:v>1.0050072911041059</c:v>
                </c:pt>
                <c:pt idx="7">
                  <c:v>1.01350019421713</c:v>
                </c:pt>
                <c:pt idx="8">
                  <c:v>1.0638093014657546</c:v>
                </c:pt>
                <c:pt idx="9">
                  <c:v>1.0665299301726239</c:v>
                </c:pt>
                <c:pt idx="10">
                  <c:v>1.0602626003067328</c:v>
                </c:pt>
                <c:pt idx="11">
                  <c:v>1.0581530211136538</c:v>
                </c:pt>
                <c:pt idx="12">
                  <c:v>1.0829547172159268</c:v>
                </c:pt>
                <c:pt idx="13">
                  <c:v>1.1187552606952658</c:v>
                </c:pt>
                <c:pt idx="14">
                  <c:v>1.1107673644517257</c:v>
                </c:pt>
                <c:pt idx="15">
                  <c:v>1.1097107420560013</c:v>
                </c:pt>
                <c:pt idx="16">
                  <c:v>1.1162558516920664</c:v>
                </c:pt>
                <c:pt idx="17">
                  <c:v>1.1367758399723429</c:v>
                </c:pt>
                <c:pt idx="18">
                  <c:v>1.1837447398807737</c:v>
                </c:pt>
                <c:pt idx="19">
                  <c:v>1.1590779133412046</c:v>
                </c:pt>
                <c:pt idx="20">
                  <c:v>1.1998634500852894</c:v>
                </c:pt>
                <c:pt idx="21">
                  <c:v>1.2061179771119586</c:v>
                </c:pt>
                <c:pt idx="22">
                  <c:v>1.2408416220591898</c:v>
                </c:pt>
                <c:pt idx="23">
                  <c:v>1.2402160082527702</c:v>
                </c:pt>
                <c:pt idx="24">
                  <c:v>1.2477002292493833</c:v>
                </c:pt>
                <c:pt idx="25">
                  <c:v>1.2159477170399684</c:v>
                </c:pt>
                <c:pt idx="26">
                  <c:v>1.2145573433271417</c:v>
                </c:pt>
                <c:pt idx="27">
                  <c:v>1.230538429950973</c:v>
                </c:pt>
                <c:pt idx="28">
                  <c:v>1.2319016231807638</c:v>
                </c:pt>
                <c:pt idx="29">
                  <c:v>1.2502549625033954</c:v>
                </c:pt>
                <c:pt idx="30">
                  <c:v>1.2543219993928665</c:v>
                </c:pt>
                <c:pt idx="31">
                  <c:v>1.2242529976679044</c:v>
                </c:pt>
                <c:pt idx="32">
                  <c:v>1.1991683420786581</c:v>
                </c:pt>
                <c:pt idx="33">
                  <c:v>1.2359262430100426</c:v>
                </c:pt>
                <c:pt idx="34">
                  <c:v>1.2609299615030531</c:v>
                </c:pt>
                <c:pt idx="35">
                  <c:v>1.2268953903453115</c:v>
                </c:pt>
                <c:pt idx="36">
                  <c:v>1.21540892319199</c:v>
                </c:pt>
                <c:pt idx="37">
                  <c:v>1.1974066325514323</c:v>
                </c:pt>
                <c:pt idx="38">
                  <c:v>1.1935738375765141</c:v>
                </c:pt>
                <c:pt idx="39">
                  <c:v>1.2127083776388294</c:v>
                </c:pt>
                <c:pt idx="40">
                  <c:v>1.209455087713224</c:v>
                </c:pt>
                <c:pt idx="41">
                  <c:v>1.2465038925021406</c:v>
                </c:pt>
                <c:pt idx="42">
                  <c:v>1.2226192441197521</c:v>
                </c:pt>
                <c:pt idx="43">
                  <c:v>1.1946838662298427</c:v>
                </c:pt>
                <c:pt idx="44">
                  <c:v>1.1856248170886741</c:v>
                </c:pt>
                <c:pt idx="45">
                  <c:v>1.1951740122426651</c:v>
                </c:pt>
                <c:pt idx="46">
                  <c:v>1.201423533042002</c:v>
                </c:pt>
                <c:pt idx="47">
                  <c:v>1.1929844735045751</c:v>
                </c:pt>
                <c:pt idx="48">
                  <c:v>1.2025316207279435</c:v>
                </c:pt>
                <c:pt idx="49">
                  <c:v>1.2070189363235682</c:v>
                </c:pt>
                <c:pt idx="50">
                  <c:v>1.2017210359629482</c:v>
                </c:pt>
                <c:pt idx="51">
                  <c:v>1.2323747750610996</c:v>
                </c:pt>
                <c:pt idx="52">
                  <c:v>1.2395503448715843</c:v>
                </c:pt>
                <c:pt idx="53">
                  <c:v>1.2358437947643186</c:v>
                </c:pt>
                <c:pt idx="54">
                  <c:v>1.2641577087704199</c:v>
                </c:pt>
                <c:pt idx="55">
                  <c:v>1.2827413622000541</c:v>
                </c:pt>
                <c:pt idx="56">
                  <c:v>1.2611591092525061</c:v>
                </c:pt>
                <c:pt idx="57">
                  <c:v>1.2509979464687244</c:v>
                </c:pt>
                <c:pt idx="58">
                  <c:v>1.2532261356700301</c:v>
                </c:pt>
                <c:pt idx="59">
                  <c:v>1.2611924661928524</c:v>
                </c:pt>
                <c:pt idx="60">
                  <c:v>1.2806596719668728</c:v>
                </c:pt>
                <c:pt idx="61">
                  <c:v>1.2952406246956851</c:v>
                </c:pt>
                <c:pt idx="62">
                  <c:v>1.3023217551830222</c:v>
                </c:pt>
                <c:pt idx="63">
                  <c:v>1.2630548627066425</c:v>
                </c:pt>
                <c:pt idx="64">
                  <c:v>1.283283504033359</c:v>
                </c:pt>
                <c:pt idx="65">
                  <c:v>1.2962217864008567</c:v>
                </c:pt>
                <c:pt idx="66">
                  <c:v>1.3102684203373489</c:v>
                </c:pt>
                <c:pt idx="67">
                  <c:v>1.3104248674889118</c:v>
                </c:pt>
                <c:pt idx="68">
                  <c:v>1.2907562160204384</c:v>
                </c:pt>
                <c:pt idx="69">
                  <c:v>1.3004501431091631</c:v>
                </c:pt>
                <c:pt idx="70">
                  <c:v>1.300673565556681</c:v>
                </c:pt>
                <c:pt idx="71">
                  <c:v>1.2938014912847233</c:v>
                </c:pt>
                <c:pt idx="72">
                  <c:v>1.319157864421225</c:v>
                </c:pt>
                <c:pt idx="73">
                  <c:v>1.3159581536162024</c:v>
                </c:pt>
                <c:pt idx="74">
                  <c:v>1.3537892754409195</c:v>
                </c:pt>
                <c:pt idx="75">
                  <c:v>1.3533398873064784</c:v>
                </c:pt>
                <c:pt idx="76">
                  <c:v>1.3495756676669222</c:v>
                </c:pt>
                <c:pt idx="77">
                  <c:v>1.3097291112392613</c:v>
                </c:pt>
                <c:pt idx="78">
                  <c:v>1.2934634962347999</c:v>
                </c:pt>
                <c:pt idx="79">
                  <c:v>1.2880382035456486</c:v>
                </c:pt>
                <c:pt idx="80">
                  <c:v>1.252531643209615</c:v>
                </c:pt>
                <c:pt idx="81">
                  <c:v>1.2283447885427892</c:v>
                </c:pt>
                <c:pt idx="82">
                  <c:v>1.1844624368749797</c:v>
                </c:pt>
                <c:pt idx="83">
                  <c:v>1.2108496114750149</c:v>
                </c:pt>
                <c:pt idx="84">
                  <c:v>1.2148466626669812</c:v>
                </c:pt>
                <c:pt idx="85">
                  <c:v>1.2089640763608458</c:v>
                </c:pt>
                <c:pt idx="86">
                  <c:v>1.2026476538497646</c:v>
                </c:pt>
                <c:pt idx="87">
                  <c:v>1.2017707720300681</c:v>
                </c:pt>
                <c:pt idx="88">
                  <c:v>1.2152805361763981</c:v>
                </c:pt>
                <c:pt idx="89">
                  <c:v>1.1806507070061076</c:v>
                </c:pt>
                <c:pt idx="90">
                  <c:v>1.1621433330001856</c:v>
                </c:pt>
                <c:pt idx="91">
                  <c:v>1.140188580893529</c:v>
                </c:pt>
                <c:pt idx="92">
                  <c:v>1.1436925979565877</c:v>
                </c:pt>
                <c:pt idx="93">
                  <c:v>1.173048930396106</c:v>
                </c:pt>
                <c:pt idx="94">
                  <c:v>1.1466350570355803</c:v>
                </c:pt>
                <c:pt idx="95">
                  <c:v>1.1338478886000356</c:v>
                </c:pt>
                <c:pt idx="96">
                  <c:v>1.1563907385610992</c:v>
                </c:pt>
                <c:pt idx="97">
                  <c:v>1.2037988242208089</c:v>
                </c:pt>
                <c:pt idx="98">
                  <c:v>1.1776381974689556</c:v>
                </c:pt>
                <c:pt idx="99">
                  <c:v>1.1776381974689554</c:v>
                </c:pt>
                <c:pt idx="100">
                  <c:v>1.1785506392155585</c:v>
                </c:pt>
                <c:pt idx="101">
                  <c:v>1.1842656680043511</c:v>
                </c:pt>
                <c:pt idx="102">
                  <c:v>1.1617280034599264</c:v>
                </c:pt>
                <c:pt idx="103">
                  <c:v>1.2088619137175183</c:v>
                </c:pt>
                <c:pt idx="104">
                  <c:v>1.1592881287743959</c:v>
                </c:pt>
                <c:pt idx="105">
                  <c:v>1.2181542944378885</c:v>
                </c:pt>
                <c:pt idx="106">
                  <c:v>1.238340055055162</c:v>
                </c:pt>
                <c:pt idx="107">
                  <c:v>1.2312119064648006</c:v>
                </c:pt>
                <c:pt idx="108">
                  <c:v>1.2127995541806109</c:v>
                </c:pt>
                <c:pt idx="109">
                  <c:v>1.217233720792553</c:v>
                </c:pt>
                <c:pt idx="110">
                  <c:v>1.2442528109155566</c:v>
                </c:pt>
                <c:pt idx="111">
                  <c:v>1.2298827623783504</c:v>
                </c:pt>
                <c:pt idx="112">
                  <c:v>1.2913044282572492</c:v>
                </c:pt>
                <c:pt idx="113">
                  <c:v>1.2819708695383163</c:v>
                </c:pt>
                <c:pt idx="114">
                  <c:v>1.2597655319154824</c:v>
                </c:pt>
                <c:pt idx="115">
                  <c:v>1.2470205410838495</c:v>
                </c:pt>
                <c:pt idx="116">
                  <c:v>1.2651989076275985</c:v>
                </c:pt>
                <c:pt idx="117">
                  <c:v>1.2555156929216036</c:v>
                </c:pt>
                <c:pt idx="118">
                  <c:v>1.2469053646952311</c:v>
                </c:pt>
                <c:pt idx="119">
                  <c:v>1.2472063494710568</c:v>
                </c:pt>
                <c:pt idx="120">
                  <c:v>1.249934067226665</c:v>
                </c:pt>
                <c:pt idx="121">
                  <c:v>1.2509371659293875</c:v>
                </c:pt>
                <c:pt idx="122">
                  <c:v>1.2458554739892442</c:v>
                </c:pt>
                <c:pt idx="123">
                  <c:v>1.2552217828487244</c:v>
                </c:pt>
                <c:pt idx="124">
                  <c:v>1.2578818631370734</c:v>
                </c:pt>
                <c:pt idx="125">
                  <c:v>1.2574049174537141</c:v>
                </c:pt>
                <c:pt idx="126">
                  <c:v>1.209935117477688</c:v>
                </c:pt>
                <c:pt idx="127">
                  <c:v>1.1713679987543397</c:v>
                </c:pt>
                <c:pt idx="128">
                  <c:v>1.2230429358728603</c:v>
                </c:pt>
                <c:pt idx="129">
                  <c:v>1.2078819688093336</c:v>
                </c:pt>
                <c:pt idx="130">
                  <c:v>1.2175228761805619</c:v>
                </c:pt>
                <c:pt idx="131">
                  <c:v>1.1986980005621615</c:v>
                </c:pt>
                <c:pt idx="132">
                  <c:v>1.1794518988111367</c:v>
                </c:pt>
                <c:pt idx="133">
                  <c:v>1.1448876871081959</c:v>
                </c:pt>
                <c:pt idx="134">
                  <c:v>1.1310261844382989</c:v>
                </c:pt>
                <c:pt idx="135">
                  <c:v>1.0781417069336874</c:v>
                </c:pt>
                <c:pt idx="136">
                  <c:v>1.0427102726278656</c:v>
                </c:pt>
                <c:pt idx="137">
                  <c:v>1.0542693171592579</c:v>
                </c:pt>
                <c:pt idx="138">
                  <c:v>1.0576002438833252</c:v>
                </c:pt>
                <c:pt idx="139">
                  <c:v>1.0489406259563068</c:v>
                </c:pt>
                <c:pt idx="140">
                  <c:v>1.0552737837266164</c:v>
                </c:pt>
                <c:pt idx="141">
                  <c:v>1.0653424251190884</c:v>
                </c:pt>
                <c:pt idx="142">
                  <c:v>1.0258305297962567</c:v>
                </c:pt>
                <c:pt idx="143">
                  <c:v>1.0491143500783073</c:v>
                </c:pt>
                <c:pt idx="144">
                  <c:v>1.0353940890019746</c:v>
                </c:pt>
                <c:pt idx="145">
                  <c:v>1.0328203213008318</c:v>
                </c:pt>
                <c:pt idx="146">
                  <c:v>1.0364907638026855</c:v>
                </c:pt>
                <c:pt idx="147">
                  <c:v>1.0668785709055508</c:v>
                </c:pt>
                <c:pt idx="148">
                  <c:v>1.0648509690125167</c:v>
                </c:pt>
                <c:pt idx="149">
                  <c:v>1.0985020626331088</c:v>
                </c:pt>
                <c:pt idx="150">
                  <c:v>1.1357211998013244</c:v>
                </c:pt>
                <c:pt idx="151">
                  <c:v>1.1164264109355715</c:v>
                </c:pt>
                <c:pt idx="152">
                  <c:v>1.1679622199054369</c:v>
                </c:pt>
                <c:pt idx="153">
                  <c:v>1.1502435524205543</c:v>
                </c:pt>
                <c:pt idx="154">
                  <c:v>1.1301319727633883</c:v>
                </c:pt>
                <c:pt idx="155">
                  <c:v>1.1238503193174274</c:v>
                </c:pt>
                <c:pt idx="156">
                  <c:v>1.1258263886902204</c:v>
                </c:pt>
                <c:pt idx="157">
                  <c:v>1.133982707808719</c:v>
                </c:pt>
                <c:pt idx="158">
                  <c:v>1.1061034434383643</c:v>
                </c:pt>
                <c:pt idx="159">
                  <c:v>1.1021825786962924</c:v>
                </c:pt>
                <c:pt idx="160">
                  <c:v>1.1416551807459805</c:v>
                </c:pt>
                <c:pt idx="161">
                  <c:v>1.1408575117292101</c:v>
                </c:pt>
                <c:pt idx="162">
                  <c:v>1.1405183334631306</c:v>
                </c:pt>
                <c:pt idx="163">
                  <c:v>1.1498965470708731</c:v>
                </c:pt>
                <c:pt idx="164">
                  <c:v>1.1450648227396829</c:v>
                </c:pt>
                <c:pt idx="165">
                  <c:v>1.151469026739421</c:v>
                </c:pt>
                <c:pt idx="166">
                  <c:v>1.1472768357859555</c:v>
                </c:pt>
                <c:pt idx="167">
                  <c:v>1.136824625826278</c:v>
                </c:pt>
                <c:pt idx="168">
                  <c:v>1.164135563066176</c:v>
                </c:pt>
                <c:pt idx="169">
                  <c:v>1.1677874255464338</c:v>
                </c:pt>
                <c:pt idx="170">
                  <c:v>1.1356624478260691</c:v>
                </c:pt>
                <c:pt idx="171">
                  <c:v>1.1017747438596044</c:v>
                </c:pt>
                <c:pt idx="172">
                  <c:v>1.0371960986845432</c:v>
                </c:pt>
                <c:pt idx="173">
                  <c:v>1.032658938255328</c:v>
                </c:pt>
                <c:pt idx="174">
                  <c:v>1.1010644797221221</c:v>
                </c:pt>
                <c:pt idx="175">
                  <c:v>1.0979042208503071</c:v>
                </c:pt>
                <c:pt idx="176">
                  <c:v>1.0914200914826309</c:v>
                </c:pt>
                <c:pt idx="177">
                  <c:v>1.1086442481542571</c:v>
                </c:pt>
                <c:pt idx="178">
                  <c:v>1.16305068528922</c:v>
                </c:pt>
                <c:pt idx="179">
                  <c:v>1.1770100928287275</c:v>
                </c:pt>
                <c:pt idx="180">
                  <c:v>1.1502148225140534</c:v>
                </c:pt>
                <c:pt idx="181">
                  <c:v>1.1241099160884032</c:v>
                </c:pt>
                <c:pt idx="182">
                  <c:v>1.0780399945665551</c:v>
                </c:pt>
                <c:pt idx="183">
                  <c:v>1.1074566492125359</c:v>
                </c:pt>
                <c:pt idx="184">
                  <c:v>1.1393585612240262</c:v>
                </c:pt>
                <c:pt idx="185">
                  <c:v>1.1447592227891943</c:v>
                </c:pt>
                <c:pt idx="186">
                  <c:v>1.1899919829730916</c:v>
                </c:pt>
                <c:pt idx="187">
                  <c:v>1.2079168445916617</c:v>
                </c:pt>
                <c:pt idx="188">
                  <c:v>1.205264124246384</c:v>
                </c:pt>
                <c:pt idx="189">
                  <c:v>1.2152226511853799</c:v>
                </c:pt>
                <c:pt idx="190">
                  <c:v>1.2273474341595096</c:v>
                </c:pt>
                <c:pt idx="191">
                  <c:v>1.188939641556445</c:v>
                </c:pt>
                <c:pt idx="192">
                  <c:v>1.1820517910741517</c:v>
                </c:pt>
                <c:pt idx="193">
                  <c:v>1.1851185012769676</c:v>
                </c:pt>
                <c:pt idx="194">
                  <c:v>1.189451916669592</c:v>
                </c:pt>
                <c:pt idx="195">
                  <c:v>1.2182767648863986</c:v>
                </c:pt>
                <c:pt idx="196">
                  <c:v>1.2375959268521042</c:v>
                </c:pt>
                <c:pt idx="197">
                  <c:v>1.2561762816478874</c:v>
                </c:pt>
                <c:pt idx="198">
                  <c:v>1.2436429616622104</c:v>
                </c:pt>
                <c:pt idx="199">
                  <c:v>1.2433906183838841</c:v>
                </c:pt>
                <c:pt idx="200">
                  <c:v>1.2610517868808573</c:v>
                </c:pt>
                <c:pt idx="201">
                  <c:v>1.3011961340667841</c:v>
                </c:pt>
                <c:pt idx="202">
                  <c:v>1.2712805111111529</c:v>
                </c:pt>
                <c:pt idx="203">
                  <c:v>1.2388158973738623</c:v>
                </c:pt>
                <c:pt idx="204">
                  <c:v>1.2466025553617652</c:v>
                </c:pt>
                <c:pt idx="205">
                  <c:v>1.2578874828617346</c:v>
                </c:pt>
                <c:pt idx="206">
                  <c:v>1.2578874828617346</c:v>
                </c:pt>
                <c:pt idx="207">
                  <c:v>1.2578874828617344</c:v>
                </c:pt>
                <c:pt idx="208">
                  <c:v>1.2571476563574613</c:v>
                </c:pt>
                <c:pt idx="209">
                  <c:v>1.2491818011857976</c:v>
                </c:pt>
                <c:pt idx="210">
                  <c:v>1.2581280109567639</c:v>
                </c:pt>
                <c:pt idx="211">
                  <c:v>1.2509099676341366</c:v>
                </c:pt>
                <c:pt idx="212">
                  <c:v>1.2649910271818434</c:v>
                </c:pt>
                <c:pt idx="213">
                  <c:v>1.2731387586789491</c:v>
                </c:pt>
                <c:pt idx="214">
                  <c:v>1.3208950727076878</c:v>
                </c:pt>
                <c:pt idx="215">
                  <c:v>1.3876511619014473</c:v>
                </c:pt>
                <c:pt idx="216">
                  <c:v>1.4366426378767676</c:v>
                </c:pt>
                <c:pt idx="217">
                  <c:v>1.4911462843662626</c:v>
                </c:pt>
                <c:pt idx="218">
                  <c:v>1.4855667288099603</c:v>
                </c:pt>
                <c:pt idx="219">
                  <c:v>1.4621862076175955</c:v>
                </c:pt>
                <c:pt idx="220">
                  <c:v>1.5021104310690465</c:v>
                </c:pt>
                <c:pt idx="221">
                  <c:v>1.5016389896284705</c:v>
                </c:pt>
                <c:pt idx="222">
                  <c:v>1.4926594718322646</c:v>
                </c:pt>
                <c:pt idx="223">
                  <c:v>1.4992958117177817</c:v>
                </c:pt>
                <c:pt idx="224">
                  <c:v>1.5130628524295671</c:v>
                </c:pt>
                <c:pt idx="225">
                  <c:v>1.5022528675828577</c:v>
                </c:pt>
                <c:pt idx="226">
                  <c:v>1.4962526370980898</c:v>
                </c:pt>
                <c:pt idx="227">
                  <c:v>1.4798866064047242</c:v>
                </c:pt>
                <c:pt idx="228">
                  <c:v>1.4726137526071852</c:v>
                </c:pt>
                <c:pt idx="229">
                  <c:v>1.4908218824049606</c:v>
                </c:pt>
                <c:pt idx="230">
                  <c:v>1.4702083674357727</c:v>
                </c:pt>
                <c:pt idx="231">
                  <c:v>1.4590075354520096</c:v>
                </c:pt>
                <c:pt idx="232">
                  <c:v>1.5075524809301399</c:v>
                </c:pt>
                <c:pt idx="233">
                  <c:v>1.5560532154124427</c:v>
                </c:pt>
                <c:pt idx="234">
                  <c:v>1.4743862545432951</c:v>
                </c:pt>
                <c:pt idx="235">
                  <c:v>1.4844781582424342</c:v>
                </c:pt>
                <c:pt idx="236">
                  <c:v>1.483741620162452</c:v>
                </c:pt>
                <c:pt idx="237">
                  <c:v>1.3835050025041546</c:v>
                </c:pt>
                <c:pt idx="238">
                  <c:v>1.3177696238755829</c:v>
                </c:pt>
                <c:pt idx="239">
                  <c:v>1.2591937303587213</c:v>
                </c:pt>
                <c:pt idx="240">
                  <c:v>1.2887617241403451</c:v>
                </c:pt>
                <c:pt idx="241">
                  <c:v>1.254210792747247</c:v>
                </c:pt>
                <c:pt idx="242">
                  <c:v>1.1639093854210742</c:v>
                </c:pt>
                <c:pt idx="243">
                  <c:v>1.0208876574801962</c:v>
                </c:pt>
                <c:pt idx="244">
                  <c:v>1.0163183499798412</c:v>
                </c:pt>
                <c:pt idx="245">
                  <c:v>1.0318137139183043</c:v>
                </c:pt>
                <c:pt idx="246">
                  <c:v>1.0385815370953795</c:v>
                </c:pt>
                <c:pt idx="247">
                  <c:v>1.0206392520173913</c:v>
                </c:pt>
                <c:pt idx="248">
                  <c:v>1.0366740030046795</c:v>
                </c:pt>
                <c:pt idx="249">
                  <c:v>1.0153251560036285</c:v>
                </c:pt>
                <c:pt idx="250">
                  <c:v>0.98931510036797199</c:v>
                </c:pt>
                <c:pt idx="251">
                  <c:v>1.0006195781763834</c:v>
                </c:pt>
                <c:pt idx="252">
                  <c:v>1.0271610803848976</c:v>
                </c:pt>
                <c:pt idx="253">
                  <c:v>1.0410701832425997</c:v>
                </c:pt>
                <c:pt idx="254">
                  <c:v>1.0712588469839481</c:v>
                </c:pt>
                <c:pt idx="255">
                  <c:v>1.0632219521530906</c:v>
                </c:pt>
                <c:pt idx="256">
                  <c:v>1.0785345528119132</c:v>
                </c:pt>
                <c:pt idx="257">
                  <c:v>1.1712810552317603</c:v>
                </c:pt>
                <c:pt idx="258">
                  <c:v>1.2877827331565252</c:v>
                </c:pt>
                <c:pt idx="259">
                  <c:v>1.3215277209507856</c:v>
                </c:pt>
                <c:pt idx="260">
                  <c:v>1.356202821097944</c:v>
                </c:pt>
                <c:pt idx="261">
                  <c:v>1.3696908368335339</c:v>
                </c:pt>
                <c:pt idx="262">
                  <c:v>1.3842513226065312</c:v>
                </c:pt>
                <c:pt idx="263">
                  <c:v>1.337944082469851</c:v>
                </c:pt>
                <c:pt idx="264">
                  <c:v>1.3747026846792607</c:v>
                </c:pt>
                <c:pt idx="265">
                  <c:v>1.4450752277279904</c:v>
                </c:pt>
                <c:pt idx="266">
                  <c:v>1.4555442952388287</c:v>
                </c:pt>
                <c:pt idx="267">
                  <c:v>1.5227982409888123</c:v>
                </c:pt>
                <c:pt idx="268">
                  <c:v>1.5203232036899788</c:v>
                </c:pt>
                <c:pt idx="269">
                  <c:v>1.5609515223646164</c:v>
                </c:pt>
                <c:pt idx="270">
                  <c:v>1.5450032548416406</c:v>
                </c:pt>
                <c:pt idx="271">
                  <c:v>1.5493556688203474</c:v>
                </c:pt>
                <c:pt idx="272">
                  <c:v>1.5546547090488663</c:v>
                </c:pt>
                <c:pt idx="273">
                  <c:v>1.5602601094674573</c:v>
                </c:pt>
                <c:pt idx="274">
                  <c:v>1.5081479850557056</c:v>
                </c:pt>
                <c:pt idx="275">
                  <c:v>1.4501307511401511</c:v>
                </c:pt>
                <c:pt idx="276">
                  <c:v>1.4971501279922219</c:v>
                </c:pt>
                <c:pt idx="277">
                  <c:v>1.4790358773325212</c:v>
                </c:pt>
                <c:pt idx="278">
                  <c:v>1.4086293982482387</c:v>
                </c:pt>
                <c:pt idx="279">
                  <c:v>1.3736119012197054</c:v>
                </c:pt>
                <c:pt idx="280">
                  <c:v>1.3938182074439616</c:v>
                </c:pt>
                <c:pt idx="281">
                  <c:v>1.2534689795757294</c:v>
                </c:pt>
                <c:pt idx="282">
                  <c:v>1.2612526158226749</c:v>
                </c:pt>
                <c:pt idx="283">
                  <c:v>1.1870179481353269</c:v>
                </c:pt>
                <c:pt idx="284">
                  <c:v>1.2051308413726642</c:v>
                </c:pt>
                <c:pt idx="285">
                  <c:v>1.1778002094299922</c:v>
                </c:pt>
                <c:pt idx="286">
                  <c:v>1.1649488173848828</c:v>
                </c:pt>
                <c:pt idx="287">
                  <c:v>1.1567235237276137</c:v>
                </c:pt>
                <c:pt idx="288">
                  <c:v>1.1484366685234302</c:v>
                </c:pt>
                <c:pt idx="289">
                  <c:v>1.1512552369868532</c:v>
                </c:pt>
                <c:pt idx="290">
                  <c:v>1.1560626797627496</c:v>
                </c:pt>
                <c:pt idx="291">
                  <c:v>1.1607569864571978</c:v>
                </c:pt>
                <c:pt idx="292">
                  <c:v>1.2171693655230633</c:v>
                </c:pt>
                <c:pt idx="293">
                  <c:v>1.2466222869966592</c:v>
                </c:pt>
                <c:pt idx="294">
                  <c:v>1.2510804525891106</c:v>
                </c:pt>
                <c:pt idx="295">
                  <c:v>1.2253669401167282</c:v>
                </c:pt>
                <c:pt idx="296">
                  <c:v>1.2801506736030863</c:v>
                </c:pt>
                <c:pt idx="297">
                  <c:v>1.2506386874060711</c:v>
                </c:pt>
                <c:pt idx="298">
                  <c:v>1.259880901140052</c:v>
                </c:pt>
                <c:pt idx="299">
                  <c:v>1.2892833704021007</c:v>
                </c:pt>
                <c:pt idx="300">
                  <c:v>1.3105147273398767</c:v>
                </c:pt>
                <c:pt idx="301">
                  <c:v>1.3175126338027592</c:v>
                </c:pt>
                <c:pt idx="302">
                  <c:v>1.3214737941048038</c:v>
                </c:pt>
                <c:pt idx="303">
                  <c:v>1.3378942108927105</c:v>
                </c:pt>
                <c:pt idx="304">
                  <c:v>1.389318240150107</c:v>
                </c:pt>
                <c:pt idx="305">
                  <c:v>1.3424571741280293</c:v>
                </c:pt>
                <c:pt idx="306">
                  <c:v>1.3266579304281167</c:v>
                </c:pt>
                <c:pt idx="307">
                  <c:v>1.3385940471212714</c:v>
                </c:pt>
                <c:pt idx="308">
                  <c:v>1.351471951903408</c:v>
                </c:pt>
                <c:pt idx="309">
                  <c:v>1.378158066105776</c:v>
                </c:pt>
                <c:pt idx="310">
                  <c:v>1.3511925766930275</c:v>
                </c:pt>
                <c:pt idx="311">
                  <c:v>1.3513074128923919</c:v>
                </c:pt>
                <c:pt idx="312">
                  <c:v>1.3438769186252852</c:v>
                </c:pt>
                <c:pt idx="313">
                  <c:v>1.317073951266005</c:v>
                </c:pt>
                <c:pt idx="314">
                  <c:v>1.2949759683564357</c:v>
                </c:pt>
                <c:pt idx="315">
                  <c:v>1.3041269594777878</c:v>
                </c:pt>
                <c:pt idx="316">
                  <c:v>1.32291718752818</c:v>
                </c:pt>
                <c:pt idx="317">
                  <c:v>1.366242603118023</c:v>
                </c:pt>
                <c:pt idx="318">
                  <c:v>1.3424280626716181</c:v>
                </c:pt>
                <c:pt idx="319">
                  <c:v>1.3813305679420234</c:v>
                </c:pt>
                <c:pt idx="320">
                  <c:v>1.3637008469602114</c:v>
                </c:pt>
                <c:pt idx="321">
                  <c:v>1.395980436578659</c:v>
                </c:pt>
                <c:pt idx="322">
                  <c:v>1.374882440115492</c:v>
                </c:pt>
                <c:pt idx="323">
                  <c:v>1.3534928845419709</c:v>
                </c:pt>
                <c:pt idx="324">
                  <c:v>1.3479198107053521</c:v>
                </c:pt>
                <c:pt idx="325">
                  <c:v>1.3404820285872971</c:v>
                </c:pt>
                <c:pt idx="326">
                  <c:v>1.3405233152096565</c:v>
                </c:pt>
                <c:pt idx="327">
                  <c:v>1.33851418740522</c:v>
                </c:pt>
                <c:pt idx="328">
                  <c:v>1.3036066679898444</c:v>
                </c:pt>
                <c:pt idx="329">
                  <c:v>1.2784783070545993</c:v>
                </c:pt>
                <c:pt idx="330">
                  <c:v>1.2705463120384406</c:v>
                </c:pt>
                <c:pt idx="331">
                  <c:v>1.260248151079322</c:v>
                </c:pt>
                <c:pt idx="332">
                  <c:v>1.2361975440098929</c:v>
                </c:pt>
                <c:pt idx="333">
                  <c:v>1.2563740932019272</c:v>
                </c:pt>
                <c:pt idx="334">
                  <c:v>1.2207751447432851</c:v>
                </c:pt>
                <c:pt idx="335">
                  <c:v>1.236754605418144</c:v>
                </c:pt>
                <c:pt idx="336">
                  <c:v>1.1919085921135157</c:v>
                </c:pt>
                <c:pt idx="337">
                  <c:v>1.1657517430554334</c:v>
                </c:pt>
                <c:pt idx="338">
                  <c:v>1.1785974520687665</c:v>
                </c:pt>
                <c:pt idx="339">
                  <c:v>1.1595691332183018</c:v>
                </c:pt>
                <c:pt idx="340">
                  <c:v>1.1992190945701326</c:v>
                </c:pt>
                <c:pt idx="341">
                  <c:v>1.201690619430636</c:v>
                </c:pt>
                <c:pt idx="342">
                  <c:v>1.2034997337745454</c:v>
                </c:pt>
                <c:pt idx="343">
                  <c:v>1.2347015554515519</c:v>
                </c:pt>
                <c:pt idx="344">
                  <c:v>1.2212872895752906</c:v>
                </c:pt>
                <c:pt idx="345">
                  <c:v>1.1811262889059859</c:v>
                </c:pt>
                <c:pt idx="346">
                  <c:v>1.1703833736768945</c:v>
                </c:pt>
                <c:pt idx="347">
                  <c:v>1.115430126819287</c:v>
                </c:pt>
                <c:pt idx="348">
                  <c:v>1.1058508972264527</c:v>
                </c:pt>
                <c:pt idx="349">
                  <c:v>1.0357084309896234</c:v>
                </c:pt>
                <c:pt idx="350">
                  <c:v>1.0562444858048265</c:v>
                </c:pt>
                <c:pt idx="351">
                  <c:v>1.034058236648985</c:v>
                </c:pt>
                <c:pt idx="352">
                  <c:v>1.0369428984821887</c:v>
                </c:pt>
                <c:pt idx="353">
                  <c:v>1.0314819714717576</c:v>
                </c:pt>
                <c:pt idx="354">
                  <c:v>1.041835030071967</c:v>
                </c:pt>
                <c:pt idx="355">
                  <c:v>1.0337433928682931</c:v>
                </c:pt>
                <c:pt idx="356">
                  <c:v>0.98817194511048934</c:v>
                </c:pt>
                <c:pt idx="357">
                  <c:v>0.98844595315012052</c:v>
                </c:pt>
                <c:pt idx="358">
                  <c:v>1.0338803150012703</c:v>
                </c:pt>
                <c:pt idx="359">
                  <c:v>1.0566333436857391</c:v>
                </c:pt>
                <c:pt idx="360">
                  <c:v>1.060948177095733</c:v>
                </c:pt>
                <c:pt idx="361">
                  <c:v>1.0344091544696299</c:v>
                </c:pt>
                <c:pt idx="362">
                  <c:v>1.0958949525964778</c:v>
                </c:pt>
                <c:pt idx="363">
                  <c:v>1.0889277653549467</c:v>
                </c:pt>
                <c:pt idx="364">
                  <c:v>1.0933818148768744</c:v>
                </c:pt>
                <c:pt idx="365">
                  <c:v>1.1059174170494523</c:v>
                </c:pt>
                <c:pt idx="366">
                  <c:v>1.1566460132642136</c:v>
                </c:pt>
                <c:pt idx="367">
                  <c:v>1.1795683995408668</c:v>
                </c:pt>
                <c:pt idx="368">
                  <c:v>1.1260879796583543</c:v>
                </c:pt>
                <c:pt idx="369">
                  <c:v>1.1229896469364429</c:v>
                </c:pt>
                <c:pt idx="370">
                  <c:v>1.0701399629160127</c:v>
                </c:pt>
                <c:pt idx="371">
                  <c:v>1.0693773029627822</c:v>
                </c:pt>
                <c:pt idx="372">
                  <c:v>1.0579455801574635</c:v>
                </c:pt>
                <c:pt idx="373">
                  <c:v>1.0209486235624312</c:v>
                </c:pt>
                <c:pt idx="374">
                  <c:v>1.0105648812967651</c:v>
                </c:pt>
                <c:pt idx="375">
                  <c:v>1.0163726350769848</c:v>
                </c:pt>
                <c:pt idx="376">
                  <c:v>1.0085145557677404</c:v>
                </c:pt>
                <c:pt idx="377">
                  <c:v>1.0173447521993644</c:v>
                </c:pt>
                <c:pt idx="378">
                  <c:v>1.0394882140392152</c:v>
                </c:pt>
                <c:pt idx="379">
                  <c:v>1.0479723717512899</c:v>
                </c:pt>
                <c:pt idx="380">
                  <c:v>1.0911820544080029</c:v>
                </c:pt>
                <c:pt idx="381">
                  <c:v>1.0698157538223287</c:v>
                </c:pt>
                <c:pt idx="382">
                  <c:v>1.0750207161863838</c:v>
                </c:pt>
                <c:pt idx="383">
                  <c:v>1.0717479545867679</c:v>
                </c:pt>
                <c:pt idx="384">
                  <c:v>1.0431508966124936</c:v>
                </c:pt>
                <c:pt idx="385">
                  <c:v>1.0859779744173177</c:v>
                </c:pt>
                <c:pt idx="386">
                  <c:v>1.1191360070602907</c:v>
                </c:pt>
                <c:pt idx="387">
                  <c:v>1.1106392484645433</c:v>
                </c:pt>
                <c:pt idx="388">
                  <c:v>1.1183592764690462</c:v>
                </c:pt>
                <c:pt idx="389">
                  <c:v>1.108444078815918</c:v>
                </c:pt>
                <c:pt idx="390">
                  <c:v>1.0881229752171406</c:v>
                </c:pt>
                <c:pt idx="391">
                  <c:v>1.109953970258206</c:v>
                </c:pt>
                <c:pt idx="392">
                  <c:v>1.077170409895307</c:v>
                </c:pt>
                <c:pt idx="393">
                  <c:v>1.0446274152929407</c:v>
                </c:pt>
                <c:pt idx="394">
                  <c:v>1.0410521313699359</c:v>
                </c:pt>
                <c:pt idx="395">
                  <c:v>1.001292555454796</c:v>
                </c:pt>
                <c:pt idx="396">
                  <c:v>0.95712548571349787</c:v>
                </c:pt>
                <c:pt idx="397">
                  <c:v>0.94325219991457154</c:v>
                </c:pt>
                <c:pt idx="398">
                  <c:v>0.97019941071499571</c:v>
                </c:pt>
                <c:pt idx="399">
                  <c:v>1.0288161369643078</c:v>
                </c:pt>
                <c:pt idx="400">
                  <c:v>1.046390841465773</c:v>
                </c:pt>
                <c:pt idx="401">
                  <c:v>1.1067078651796847</c:v>
                </c:pt>
                <c:pt idx="402">
                  <c:v>1.1264198702694883</c:v>
                </c:pt>
                <c:pt idx="403">
                  <c:v>1.1134622920701307</c:v>
                </c:pt>
                <c:pt idx="404">
                  <c:v>1.1148550238205555</c:v>
                </c:pt>
                <c:pt idx="405">
                  <c:v>1.1531680002417726</c:v>
                </c:pt>
                <c:pt idx="406">
                  <c:v>1.1702529935725512</c:v>
                </c:pt>
                <c:pt idx="407">
                  <c:v>1.1374561252116975</c:v>
                </c:pt>
                <c:pt idx="408">
                  <c:v>1.1578777653708656</c:v>
                </c:pt>
                <c:pt idx="409">
                  <c:v>1.1281976267735501</c:v>
                </c:pt>
                <c:pt idx="410">
                  <c:v>1.1074216196544837</c:v>
                </c:pt>
                <c:pt idx="411">
                  <c:v>1.1067961944694034</c:v>
                </c:pt>
                <c:pt idx="412">
                  <c:v>1.1066001053241625</c:v>
                </c:pt>
                <c:pt idx="413">
                  <c:v>1.1350074687080205</c:v>
                </c:pt>
                <c:pt idx="414">
                  <c:v>1.1279676057140244</c:v>
                </c:pt>
                <c:pt idx="415">
                  <c:v>1.1466192686007137</c:v>
                </c:pt>
                <c:pt idx="416">
                  <c:v>1.126746103436437</c:v>
                </c:pt>
                <c:pt idx="417">
                  <c:v>1.1334102746025869</c:v>
                </c:pt>
                <c:pt idx="418">
                  <c:v>1.1050467301712033</c:v>
                </c:pt>
                <c:pt idx="419">
                  <c:v>1.1138870534376861</c:v>
                </c:pt>
                <c:pt idx="420">
                  <c:v>1.1540989419525916</c:v>
                </c:pt>
                <c:pt idx="421">
                  <c:v>1.1559006042461222</c:v>
                </c:pt>
                <c:pt idx="422">
                  <c:v>1.19035182667326</c:v>
                </c:pt>
                <c:pt idx="423">
                  <c:v>1.189843078613368</c:v>
                </c:pt>
                <c:pt idx="424">
                  <c:v>1.2185540706052009</c:v>
                </c:pt>
                <c:pt idx="425">
                  <c:v>1.2241677914441278</c:v>
                </c:pt>
                <c:pt idx="426">
                  <c:v>1.221626765433284</c:v>
                </c:pt>
                <c:pt idx="427">
                  <c:v>1.1931104909764891</c:v>
                </c:pt>
                <c:pt idx="428">
                  <c:v>1.2130070926818812</c:v>
                </c:pt>
                <c:pt idx="429">
                  <c:v>1.223771680680992</c:v>
                </c:pt>
                <c:pt idx="430">
                  <c:v>1.217914412937698</c:v>
                </c:pt>
                <c:pt idx="431">
                  <c:v>1.2042845446022359</c:v>
                </c:pt>
                <c:pt idx="432">
                  <c:v>1.2001808292871974</c:v>
                </c:pt>
                <c:pt idx="433">
                  <c:v>1.2204510189496225</c:v>
                </c:pt>
                <c:pt idx="434">
                  <c:v>1.2140416493830763</c:v>
                </c:pt>
                <c:pt idx="435">
                  <c:v>1.1730158106155357</c:v>
                </c:pt>
                <c:pt idx="436">
                  <c:v>1.1654040293924408</c:v>
                </c:pt>
                <c:pt idx="437">
                  <c:v>1.1959575589286686</c:v>
                </c:pt>
                <c:pt idx="438">
                  <c:v>1.1655882043281687</c:v>
                </c:pt>
                <c:pt idx="439">
                  <c:v>1.2010660494628982</c:v>
                </c:pt>
                <c:pt idx="440">
                  <c:v>1.2269197483802747</c:v>
                </c:pt>
                <c:pt idx="441">
                  <c:v>1.22635915685789</c:v>
                </c:pt>
                <c:pt idx="442">
                  <c:v>1.2430466835446141</c:v>
                </c:pt>
                <c:pt idx="443">
                  <c:v>1.2152761381488664</c:v>
                </c:pt>
                <c:pt idx="444">
                  <c:v>1.2458619321670392</c:v>
                </c:pt>
                <c:pt idx="445">
                  <c:v>1.2321237156124838</c:v>
                </c:pt>
                <c:pt idx="446">
                  <c:v>1.2290431751719635</c:v>
                </c:pt>
                <c:pt idx="447">
                  <c:v>1.2234955105630003</c:v>
                </c:pt>
                <c:pt idx="448">
                  <c:v>1.2159484260085394</c:v>
                </c:pt>
                <c:pt idx="449">
                  <c:v>1.1989044807752569</c:v>
                </c:pt>
                <c:pt idx="450">
                  <c:v>1.1794782111487745</c:v>
                </c:pt>
                <c:pt idx="451">
                  <c:v>1.1426547532205302</c:v>
                </c:pt>
                <c:pt idx="452">
                  <c:v>1.1439958202640468</c:v>
                </c:pt>
                <c:pt idx="453">
                  <c:v>1.1503723035529017</c:v>
                </c:pt>
                <c:pt idx="454">
                  <c:v>1.0969202445886874</c:v>
                </c:pt>
                <c:pt idx="455">
                  <c:v>1.0813093382827468</c:v>
                </c:pt>
                <c:pt idx="456">
                  <c:v>1.1441349188988503</c:v>
                </c:pt>
                <c:pt idx="457">
                  <c:v>1.1592705296519623</c:v>
                </c:pt>
                <c:pt idx="458">
                  <c:v>1.1776791905532127</c:v>
                </c:pt>
                <c:pt idx="459">
                  <c:v>1.1700997108508893</c:v>
                </c:pt>
                <c:pt idx="460">
                  <c:v>1.1746745208290927</c:v>
                </c:pt>
                <c:pt idx="461">
                  <c:v>1.1523334147939024</c:v>
                </c:pt>
                <c:pt idx="462">
                  <c:v>1.1532076703848635</c:v>
                </c:pt>
                <c:pt idx="463">
                  <c:v>1.1302470994199134</c:v>
                </c:pt>
                <c:pt idx="464">
                  <c:v>1.1796590682232644</c:v>
                </c:pt>
                <c:pt idx="465">
                  <c:v>1.1828273647124692</c:v>
                </c:pt>
                <c:pt idx="466">
                  <c:v>1.2285373510758661</c:v>
                </c:pt>
                <c:pt idx="467">
                  <c:v>1.2114610254118601</c:v>
                </c:pt>
                <c:pt idx="468">
                  <c:v>1.2515781302387616</c:v>
                </c:pt>
                <c:pt idx="469">
                  <c:v>1.225670072424379</c:v>
                </c:pt>
                <c:pt idx="470">
                  <c:v>1.2348402102408178</c:v>
                </c:pt>
                <c:pt idx="471">
                  <c:v>1.2736951402689847</c:v>
                </c:pt>
                <c:pt idx="472">
                  <c:v>1.2683967615961447</c:v>
                </c:pt>
                <c:pt idx="473">
                  <c:v>1.2679452560792182</c:v>
                </c:pt>
                <c:pt idx="474">
                  <c:v>1.2368575308919532</c:v>
                </c:pt>
                <c:pt idx="475">
                  <c:v>1.2119950779460773</c:v>
                </c:pt>
                <c:pt idx="476">
                  <c:v>1.2192097025739976</c:v>
                </c:pt>
                <c:pt idx="477">
                  <c:v>1.2107670220191811</c:v>
                </c:pt>
                <c:pt idx="478">
                  <c:v>1.2095299742547476</c:v>
                </c:pt>
                <c:pt idx="479">
                  <c:v>1.2123180512849199</c:v>
                </c:pt>
                <c:pt idx="480">
                  <c:v>1.2042847354915416</c:v>
                </c:pt>
                <c:pt idx="481">
                  <c:v>1.1903045104452086</c:v>
                </c:pt>
                <c:pt idx="482">
                  <c:v>1.1358373790838807</c:v>
                </c:pt>
                <c:pt idx="483">
                  <c:v>1.1167512920412777</c:v>
                </c:pt>
                <c:pt idx="484">
                  <c:v>1.1080244924468365</c:v>
                </c:pt>
                <c:pt idx="485">
                  <c:v>1.0830140997373423</c:v>
                </c:pt>
                <c:pt idx="486">
                  <c:v>1.0629585690610099</c:v>
                </c:pt>
                <c:pt idx="487">
                  <c:v>1.0322505821591073</c:v>
                </c:pt>
                <c:pt idx="488">
                  <c:v>1.0334564813530247</c:v>
                </c:pt>
                <c:pt idx="489">
                  <c:v>1.0187046654464185</c:v>
                </c:pt>
                <c:pt idx="490">
                  <c:v>1.0537575895201252</c:v>
                </c:pt>
                <c:pt idx="491">
                  <c:v>1.0725081249859696</c:v>
                </c:pt>
                <c:pt idx="492">
                  <c:v>1.0746023589612381</c:v>
                </c:pt>
                <c:pt idx="493">
                  <c:v>1.0905376191817386</c:v>
                </c:pt>
                <c:pt idx="494">
                  <c:v>1.016714394960325</c:v>
                </c:pt>
                <c:pt idx="495">
                  <c:v>1.024855246296797</c:v>
                </c:pt>
                <c:pt idx="496">
                  <c:v>0.98366129344906383</c:v>
                </c:pt>
                <c:pt idx="497">
                  <c:v>0.95460529244699666</c:v>
                </c:pt>
                <c:pt idx="498">
                  <c:v>0.91950317669599313</c:v>
                </c:pt>
                <c:pt idx="499">
                  <c:v>0.94441911843437809</c:v>
                </c:pt>
                <c:pt idx="500">
                  <c:v>0.87820774909739463</c:v>
                </c:pt>
                <c:pt idx="501">
                  <c:v>0.83720999439366661</c:v>
                </c:pt>
                <c:pt idx="502">
                  <c:v>0.9063328281609897</c:v>
                </c:pt>
                <c:pt idx="503">
                  <c:v>0.91359646767439173</c:v>
                </c:pt>
                <c:pt idx="504">
                  <c:v>0.96027797699595674</c:v>
                </c:pt>
                <c:pt idx="505">
                  <c:v>1.0078296357582677</c:v>
                </c:pt>
                <c:pt idx="506">
                  <c:v>0.99258405359358604</c:v>
                </c:pt>
                <c:pt idx="507">
                  <c:v>1.0368822076994459</c:v>
                </c:pt>
                <c:pt idx="508">
                  <c:v>1.0373327866913427</c:v>
                </c:pt>
                <c:pt idx="509">
                  <c:v>1.0656205897876172</c:v>
                </c:pt>
                <c:pt idx="510">
                  <c:v>1.0917423067591614</c:v>
                </c:pt>
                <c:pt idx="511">
                  <c:v>1.1474760408687472</c:v>
                </c:pt>
                <c:pt idx="512">
                  <c:v>1.1915331570576686</c:v>
                </c:pt>
                <c:pt idx="513">
                  <c:v>1.1984534574422032</c:v>
                </c:pt>
                <c:pt idx="514">
                  <c:v>1.1953865339367178</c:v>
                </c:pt>
                <c:pt idx="515">
                  <c:v>1.1891222011195488</c:v>
                </c:pt>
                <c:pt idx="516">
                  <c:v>1.1684789208649617</c:v>
                </c:pt>
                <c:pt idx="517">
                  <c:v>1.194476800773546</c:v>
                </c:pt>
                <c:pt idx="518">
                  <c:v>1.1958685584943693</c:v>
                </c:pt>
                <c:pt idx="519">
                  <c:v>1.1961186751562198</c:v>
                </c:pt>
                <c:pt idx="520">
                  <c:v>1.2089228130100329</c:v>
                </c:pt>
                <c:pt idx="521">
                  <c:v>1.1791140254688983</c:v>
                </c:pt>
                <c:pt idx="522">
                  <c:v>1.1407970595309587</c:v>
                </c:pt>
                <c:pt idx="523">
                  <c:v>1.1476825224833704</c:v>
                </c:pt>
                <c:pt idx="524">
                  <c:v>1.1411438604947344</c:v>
                </c:pt>
                <c:pt idx="525">
                  <c:v>1.1859338916660989</c:v>
                </c:pt>
                <c:pt idx="526">
                  <c:v>1.1651126431656158</c:v>
                </c:pt>
                <c:pt idx="527">
                  <c:v>1.1552749585640021</c:v>
                </c:pt>
                <c:pt idx="528">
                  <c:v>1.1483229150554208</c:v>
                </c:pt>
                <c:pt idx="529">
                  <c:v>1.1156811228196393</c:v>
                </c:pt>
                <c:pt idx="530">
                  <c:v>1.1303605873663785</c:v>
                </c:pt>
                <c:pt idx="531">
                  <c:v>1.1649399866146724</c:v>
                </c:pt>
                <c:pt idx="532">
                  <c:v>1.1408264800009089</c:v>
                </c:pt>
                <c:pt idx="533">
                  <c:v>1.1289761916795722</c:v>
                </c:pt>
                <c:pt idx="534">
                  <c:v>1.0391428828772697</c:v>
                </c:pt>
                <c:pt idx="535">
                  <c:v>1.05590126018694</c:v>
                </c:pt>
                <c:pt idx="536">
                  <c:v>1.059029104263977</c:v>
                </c:pt>
                <c:pt idx="537">
                  <c:v>1.0564232106499742</c:v>
                </c:pt>
                <c:pt idx="538">
                  <c:v>1.1253729905307361</c:v>
                </c:pt>
                <c:pt idx="539">
                  <c:v>1.1298622131435565</c:v>
                </c:pt>
                <c:pt idx="540">
                  <c:v>1.1285796688606069</c:v>
                </c:pt>
                <c:pt idx="541">
                  <c:v>1.0984584810008793</c:v>
                </c:pt>
                <c:pt idx="542">
                  <c:v>1.1499765614802866</c:v>
                </c:pt>
                <c:pt idx="543">
                  <c:v>1.1881004350130342</c:v>
                </c:pt>
                <c:pt idx="544">
                  <c:v>1.2033199286036582</c:v>
                </c:pt>
                <c:pt idx="545">
                  <c:v>1.2663854345994026</c:v>
                </c:pt>
                <c:pt idx="546">
                  <c:v>1.2671400053283177</c:v>
                </c:pt>
                <c:pt idx="547">
                  <c:v>1.2591166398089093</c:v>
                </c:pt>
                <c:pt idx="548">
                  <c:v>1.2614024306120641</c:v>
                </c:pt>
                <c:pt idx="549">
                  <c:v>1.2600971044501603</c:v>
                </c:pt>
                <c:pt idx="550">
                  <c:v>1.2476338985566187</c:v>
                </c:pt>
                <c:pt idx="551">
                  <c:v>1.2537715515389065</c:v>
                </c:pt>
                <c:pt idx="552">
                  <c:v>1.2537433145786165</c:v>
                </c:pt>
                <c:pt idx="553">
                  <c:v>1.2382911844438145</c:v>
                </c:pt>
                <c:pt idx="554">
                  <c:v>1.2511328659562351</c:v>
                </c:pt>
                <c:pt idx="555">
                  <c:v>1.2393328294162813</c:v>
                </c:pt>
                <c:pt idx="556">
                  <c:v>1.2627367195850867</c:v>
                </c:pt>
                <c:pt idx="557">
                  <c:v>1.2870749605298786</c:v>
                </c:pt>
                <c:pt idx="558">
                  <c:v>1.2749047293682445</c:v>
                </c:pt>
                <c:pt idx="559">
                  <c:v>1.2594742563065155</c:v>
                </c:pt>
                <c:pt idx="560">
                  <c:v>1.2930570121930467</c:v>
                </c:pt>
                <c:pt idx="561">
                  <c:v>1.2951620410758176</c:v>
                </c:pt>
                <c:pt idx="562">
                  <c:v>1.3214725328861034</c:v>
                </c:pt>
                <c:pt idx="563">
                  <c:v>1.363875647414087</c:v>
                </c:pt>
                <c:pt idx="564">
                  <c:v>1.3982488637783588</c:v>
                </c:pt>
                <c:pt idx="565">
                  <c:v>1.3601291351808533</c:v>
                </c:pt>
                <c:pt idx="566">
                  <c:v>1.3653013645682606</c:v>
                </c:pt>
                <c:pt idx="567">
                  <c:v>1.3465801724812154</c:v>
                </c:pt>
                <c:pt idx="568">
                  <c:v>1.3141057883551484</c:v>
                </c:pt>
                <c:pt idx="569">
                  <c:v>1.3123769783615276</c:v>
                </c:pt>
                <c:pt idx="570">
                  <c:v>1.2955918187915283</c:v>
                </c:pt>
                <c:pt idx="571">
                  <c:v>1.2913033601040818</c:v>
                </c:pt>
                <c:pt idx="572">
                  <c:v>1.2804965362352001</c:v>
                </c:pt>
                <c:pt idx="573">
                  <c:v>1.2592786203530026</c:v>
                </c:pt>
                <c:pt idx="574">
                  <c:v>1.2722988516131313</c:v>
                </c:pt>
                <c:pt idx="575">
                  <c:v>1.28079878093375</c:v>
                </c:pt>
                <c:pt idx="576">
                  <c:v>1.2986292065450995</c:v>
                </c:pt>
                <c:pt idx="577">
                  <c:v>1.2888797595131827</c:v>
                </c:pt>
                <c:pt idx="578">
                  <c:v>1.2642722680720686</c:v>
                </c:pt>
                <c:pt idx="579">
                  <c:v>1.2694694792001462</c:v>
                </c:pt>
                <c:pt idx="580">
                  <c:v>1.2501860091487447</c:v>
                </c:pt>
                <c:pt idx="581">
                  <c:v>1.2523223943179909</c:v>
                </c:pt>
                <c:pt idx="582">
                  <c:v>1.2481583674938161</c:v>
                </c:pt>
                <c:pt idx="583">
                  <c:v>1.2580515860263639</c:v>
                </c:pt>
                <c:pt idx="584">
                  <c:v>1.2541169444453051</c:v>
                </c:pt>
                <c:pt idx="585">
                  <c:v>1.2294478715933908</c:v>
                </c:pt>
                <c:pt idx="586">
                  <c:v>1.2192703678368713</c:v>
                </c:pt>
                <c:pt idx="587">
                  <c:v>1.1587103413590538</c:v>
                </c:pt>
                <c:pt idx="588">
                  <c:v>1.1245840099353628</c:v>
                </c:pt>
                <c:pt idx="589">
                  <c:v>1.1154703147051952</c:v>
                </c:pt>
                <c:pt idx="590">
                  <c:v>1.1216935574307318</c:v>
                </c:pt>
                <c:pt idx="591">
                  <c:v>1.0726542972362116</c:v>
                </c:pt>
                <c:pt idx="592">
                  <c:v>1.0015137967384533</c:v>
                </c:pt>
                <c:pt idx="593">
                  <c:v>0.96458936531467221</c:v>
                </c:pt>
                <c:pt idx="594">
                  <c:v>0.93304131310142102</c:v>
                </c:pt>
                <c:pt idx="595">
                  <c:v>0.9656231982090846</c:v>
                </c:pt>
                <c:pt idx="596">
                  <c:v>1.0188082399966434</c:v>
                </c:pt>
                <c:pt idx="597">
                  <c:v>1.073237876814775</c:v>
                </c:pt>
                <c:pt idx="598">
                  <c:v>1.120534355287383</c:v>
                </c:pt>
                <c:pt idx="599">
                  <c:v>1.1111245727153884</c:v>
                </c:pt>
                <c:pt idx="600">
                  <c:v>1.1145809480047526</c:v>
                </c:pt>
                <c:pt idx="601">
                  <c:v>1.1412797817493678</c:v>
                </c:pt>
                <c:pt idx="602">
                  <c:v>1.0996854827265568</c:v>
                </c:pt>
                <c:pt idx="603">
                  <c:v>1.1439638688933027</c:v>
                </c:pt>
                <c:pt idx="604">
                  <c:v>1.1323729534685671</c:v>
                </c:pt>
                <c:pt idx="605">
                  <c:v>1.1409387645127216</c:v>
                </c:pt>
                <c:pt idx="606">
                  <c:v>1.212898873839414</c:v>
                </c:pt>
                <c:pt idx="607">
                  <c:v>1.2434550031374616</c:v>
                </c:pt>
                <c:pt idx="608">
                  <c:v>1.2416616600994486</c:v>
                </c:pt>
                <c:pt idx="609">
                  <c:v>1.2811792340984363</c:v>
                </c:pt>
                <c:pt idx="610">
                  <c:v>1.3157682516134905</c:v>
                </c:pt>
                <c:pt idx="611">
                  <c:v>1.2655045334323893</c:v>
                </c:pt>
                <c:pt idx="612">
                  <c:v>1.2615314539064815</c:v>
                </c:pt>
                <c:pt idx="613">
                  <c:v>1.2288231918309513</c:v>
                </c:pt>
                <c:pt idx="614">
                  <c:v>1.2515456650574661</c:v>
                </c:pt>
                <c:pt idx="615">
                  <c:v>1.1916039610541742</c:v>
                </c:pt>
                <c:pt idx="616">
                  <c:v>1.1670585877009068</c:v>
                </c:pt>
                <c:pt idx="617">
                  <c:v>1.1444792019421581</c:v>
                </c:pt>
                <c:pt idx="618">
                  <c:v>1.1283779936491682</c:v>
                </c:pt>
                <c:pt idx="619">
                  <c:v>1.0299872223289561</c:v>
                </c:pt>
                <c:pt idx="620">
                  <c:v>1.0323382676480486</c:v>
                </c:pt>
                <c:pt idx="621">
                  <c:v>1.0478033947372893</c:v>
                </c:pt>
                <c:pt idx="622">
                  <c:v>1.0276526650576054</c:v>
                </c:pt>
                <c:pt idx="623">
                  <c:v>0.99960589935383404</c:v>
                </c:pt>
                <c:pt idx="624">
                  <c:v>0.93211562599812903</c:v>
                </c:pt>
                <c:pt idx="625">
                  <c:v>0.9358136787733492</c:v>
                </c:pt>
                <c:pt idx="626">
                  <c:v>0.93668190358613534</c:v>
                </c:pt>
                <c:pt idx="627">
                  <c:v>0.93583480465795577</c:v>
                </c:pt>
                <c:pt idx="628">
                  <c:v>0.93554974925619649</c:v>
                </c:pt>
                <c:pt idx="629">
                  <c:v>0.94070803610652809</c:v>
                </c:pt>
                <c:pt idx="630">
                  <c:v>0.96461391240226213</c:v>
                </c:pt>
                <c:pt idx="631">
                  <c:v>0.79370772581787807</c:v>
                </c:pt>
                <c:pt idx="632">
                  <c:v>0.72370883838641942</c:v>
                </c:pt>
                <c:pt idx="633">
                  <c:v>0.76408227576480992</c:v>
                </c:pt>
                <c:pt idx="634">
                  <c:v>0.81817016188144098</c:v>
                </c:pt>
                <c:pt idx="635">
                  <c:v>0.80410448511900834</c:v>
                </c:pt>
                <c:pt idx="636">
                  <c:v>0.76424735720086434</c:v>
                </c:pt>
                <c:pt idx="637">
                  <c:v>0.76674000149011234</c:v>
                </c:pt>
                <c:pt idx="638">
                  <c:v>0.79377636620160852</c:v>
                </c:pt>
                <c:pt idx="639">
                  <c:v>0.81447740808193214</c:v>
                </c:pt>
                <c:pt idx="640">
                  <c:v>0.81182609541416106</c:v>
                </c:pt>
                <c:pt idx="641">
                  <c:v>0.81205826188128627</c:v>
                </c:pt>
                <c:pt idx="642">
                  <c:v>0.84108338728559884</c:v>
                </c:pt>
                <c:pt idx="643">
                  <c:v>0.87454027331802919</c:v>
                </c:pt>
                <c:pt idx="644">
                  <c:v>0.87657221640587812</c:v>
                </c:pt>
                <c:pt idx="645">
                  <c:v>0.87367508887431444</c:v>
                </c:pt>
                <c:pt idx="646">
                  <c:v>1.0247139213896022</c:v>
                </c:pt>
                <c:pt idx="647">
                  <c:v>1.1751576074292549</c:v>
                </c:pt>
                <c:pt idx="648">
                  <c:v>1.176829414683525</c:v>
                </c:pt>
                <c:pt idx="649">
                  <c:v>1.1608015462968067</c:v>
                </c:pt>
                <c:pt idx="650">
                  <c:v>1.227926202432658</c:v>
                </c:pt>
                <c:pt idx="651">
                  <c:v>1.231105708039653</c:v>
                </c:pt>
                <c:pt idx="652">
                  <c:v>1.3050530002008855</c:v>
                </c:pt>
                <c:pt idx="653">
                  <c:v>1.3017848490067194</c:v>
                </c:pt>
                <c:pt idx="654">
                  <c:v>1.3082658962047482</c:v>
                </c:pt>
                <c:pt idx="655">
                  <c:v>1.3161305179312133</c:v>
                </c:pt>
                <c:pt idx="656">
                  <c:v>1.389484151365733</c:v>
                </c:pt>
                <c:pt idx="657">
                  <c:v>1.3874337511366452</c:v>
                </c:pt>
                <c:pt idx="658">
                  <c:v>1.3837791415698093</c:v>
                </c:pt>
                <c:pt idx="659">
                  <c:v>1.4028675067087806</c:v>
                </c:pt>
                <c:pt idx="660">
                  <c:v>1.3504235180716155</c:v>
                </c:pt>
                <c:pt idx="661">
                  <c:v>1.3536131300143057</c:v>
                </c:pt>
                <c:pt idx="662">
                  <c:v>1.2765894307539305</c:v>
                </c:pt>
                <c:pt idx="663">
                  <c:v>1.2779367800455168</c:v>
                </c:pt>
                <c:pt idx="664">
                  <c:v>1.3317797270492262</c:v>
                </c:pt>
                <c:pt idx="665">
                  <c:v>1.3177865454277278</c:v>
                </c:pt>
                <c:pt idx="666">
                  <c:v>1.3254199074385757</c:v>
                </c:pt>
                <c:pt idx="667">
                  <c:v>1.3654499069082913</c:v>
                </c:pt>
                <c:pt idx="668">
                  <c:v>1.3915733673729203</c:v>
                </c:pt>
                <c:pt idx="669">
                  <c:v>1.3586468927982522</c:v>
                </c:pt>
                <c:pt idx="670">
                  <c:v>1.3957859813549951</c:v>
                </c:pt>
                <c:pt idx="671">
                  <c:v>1.3547381729475918</c:v>
                </c:pt>
                <c:pt idx="672">
                  <c:v>1.2580128921364873</c:v>
                </c:pt>
                <c:pt idx="673">
                  <c:v>1.2902892841458495</c:v>
                </c:pt>
                <c:pt idx="674">
                  <c:v>1.3192492204838047</c:v>
                </c:pt>
                <c:pt idx="675">
                  <c:v>1.3141493905525563</c:v>
                </c:pt>
                <c:pt idx="676">
                  <c:v>1.3379029739917956</c:v>
                </c:pt>
                <c:pt idx="677">
                  <c:v>1.3162929485630397</c:v>
                </c:pt>
                <c:pt idx="678">
                  <c:v>1.3178380501551701</c:v>
                </c:pt>
                <c:pt idx="679">
                  <c:v>1.2966298047533502</c:v>
                </c:pt>
                <c:pt idx="680">
                  <c:v>1.3234300610295884</c:v>
                </c:pt>
                <c:pt idx="681">
                  <c:v>1.3451674253782868</c:v>
                </c:pt>
                <c:pt idx="682">
                  <c:v>1.3003138436369974</c:v>
                </c:pt>
                <c:pt idx="683">
                  <c:v>1.2930282108380262</c:v>
                </c:pt>
                <c:pt idx="684">
                  <c:v>1.3134953368779041</c:v>
                </c:pt>
                <c:pt idx="685">
                  <c:v>1.3140162178183548</c:v>
                </c:pt>
                <c:pt idx="686">
                  <c:v>1.3173732572246082</c:v>
                </c:pt>
                <c:pt idx="687">
                  <c:v>1.2992415559431791</c:v>
                </c:pt>
                <c:pt idx="688">
                  <c:v>1.2991119867136114</c:v>
                </c:pt>
                <c:pt idx="689">
                  <c:v>1.2489791693688248</c:v>
                </c:pt>
                <c:pt idx="690">
                  <c:v>1.263871128669793</c:v>
                </c:pt>
                <c:pt idx="691">
                  <c:v>1.2744423617148526</c:v>
                </c:pt>
                <c:pt idx="692">
                  <c:v>1.3274485508570237</c:v>
                </c:pt>
                <c:pt idx="693">
                  <c:v>1.3560985706552942</c:v>
                </c:pt>
                <c:pt idx="694">
                  <c:v>1.3230053300906517</c:v>
                </c:pt>
                <c:pt idx="695">
                  <c:v>1.3159334783871974</c:v>
                </c:pt>
                <c:pt idx="696">
                  <c:v>1.2996808184646935</c:v>
                </c:pt>
                <c:pt idx="697">
                  <c:v>1.3065403997167302</c:v>
                </c:pt>
                <c:pt idx="698">
                  <c:v>1.2842668197722058</c:v>
                </c:pt>
                <c:pt idx="699">
                  <c:v>1.2526384109174307</c:v>
                </c:pt>
                <c:pt idx="700">
                  <c:v>1.2135167854239786</c:v>
                </c:pt>
                <c:pt idx="701">
                  <c:v>1.1846260867958467</c:v>
                </c:pt>
                <c:pt idx="702">
                  <c:v>1.1952328681873678</c:v>
                </c:pt>
                <c:pt idx="703">
                  <c:v>1.1490437803649616</c:v>
                </c:pt>
                <c:pt idx="704">
                  <c:v>1.1122765822412604</c:v>
                </c:pt>
                <c:pt idx="705">
                  <c:v>1.1054589726579118</c:v>
                </c:pt>
                <c:pt idx="706">
                  <c:v>1.0649108213701581</c:v>
                </c:pt>
                <c:pt idx="707">
                  <c:v>1.0555713711257191</c:v>
                </c:pt>
                <c:pt idx="708">
                  <c:v>1.0763903599050639</c:v>
                </c:pt>
                <c:pt idx="709">
                  <c:v>1.0734295666147637</c:v>
                </c:pt>
                <c:pt idx="710">
                  <c:v>1.063122758669008</c:v>
                </c:pt>
                <c:pt idx="711">
                  <c:v>1.0371470594802392</c:v>
                </c:pt>
                <c:pt idx="712">
                  <c:v>1.0347160196784966</c:v>
                </c:pt>
                <c:pt idx="713">
                  <c:v>1.038948407334767</c:v>
                </c:pt>
                <c:pt idx="714">
                  <c:v>1.0135532693869913</c:v>
                </c:pt>
                <c:pt idx="715">
                  <c:v>1.0551082093005129</c:v>
                </c:pt>
                <c:pt idx="716">
                  <c:v>1.0635981005719368</c:v>
                </c:pt>
                <c:pt idx="717">
                  <c:v>1.0631156228680907</c:v>
                </c:pt>
                <c:pt idx="718">
                  <c:v>1.0609722281782492</c:v>
                </c:pt>
                <c:pt idx="719">
                  <c:v>1.0600219039159575</c:v>
                </c:pt>
                <c:pt idx="720">
                  <c:v>1.0477112987446697</c:v>
                </c:pt>
                <c:pt idx="721">
                  <c:v>1.0579346610856639</c:v>
                </c:pt>
                <c:pt idx="722">
                  <c:v>1.0435851666251306</c:v>
                </c:pt>
                <c:pt idx="723">
                  <c:v>1.0210801695477587</c:v>
                </c:pt>
                <c:pt idx="724">
                  <c:v>1.0690671086319241</c:v>
                </c:pt>
                <c:pt idx="725">
                  <c:v>1.0835054328375597</c:v>
                </c:pt>
                <c:pt idx="726">
                  <c:v>1.1080673866391588</c:v>
                </c:pt>
                <c:pt idx="727">
                  <c:v>1.1053878499651495</c:v>
                </c:pt>
                <c:pt idx="728">
                  <c:v>1.1768546136244684</c:v>
                </c:pt>
                <c:pt idx="729">
                  <c:v>1.1378228858395454</c:v>
                </c:pt>
                <c:pt idx="730">
                  <c:v>1.1805432219324188</c:v>
                </c:pt>
                <c:pt idx="731">
                  <c:v>1.1884225515024283</c:v>
                </c:pt>
                <c:pt idx="732">
                  <c:v>1.2564875783240996</c:v>
                </c:pt>
                <c:pt idx="733">
                  <c:v>1.2826642531102588</c:v>
                </c:pt>
                <c:pt idx="734">
                  <c:v>1.2784816785151252</c:v>
                </c:pt>
                <c:pt idx="735">
                  <c:v>1.2676541825106653</c:v>
                </c:pt>
                <c:pt idx="736">
                  <c:v>1.2801474861151345</c:v>
                </c:pt>
                <c:pt idx="737">
                  <c:v>1.285958473436176</c:v>
                </c:pt>
                <c:pt idx="738">
                  <c:v>1.2841987975870943</c:v>
                </c:pt>
                <c:pt idx="739">
                  <c:v>1.2825221648955141</c:v>
                </c:pt>
                <c:pt idx="740">
                  <c:v>1.2682545250184944</c:v>
                </c:pt>
                <c:pt idx="741">
                  <c:v>1.2716800815791129</c:v>
                </c:pt>
                <c:pt idx="742">
                  <c:v>1.2870829979757179</c:v>
                </c:pt>
                <c:pt idx="743">
                  <c:v>1.3124698573440774</c:v>
                </c:pt>
                <c:pt idx="744">
                  <c:v>1.3148455614918104</c:v>
                </c:pt>
                <c:pt idx="745">
                  <c:v>1.2943369580289135</c:v>
                </c:pt>
                <c:pt idx="746">
                  <c:v>1.239362275759075</c:v>
                </c:pt>
                <c:pt idx="747">
                  <c:v>1.2388300468819251</c:v>
                </c:pt>
                <c:pt idx="748">
                  <c:v>1.284852556503673</c:v>
                </c:pt>
                <c:pt idx="749">
                  <c:v>1.2841961124269199</c:v>
                </c:pt>
                <c:pt idx="750">
                  <c:v>1.2950445339167249</c:v>
                </c:pt>
                <c:pt idx="751">
                  <c:v>1.2614780602736317</c:v>
                </c:pt>
                <c:pt idx="752">
                  <c:v>1.2149321914761571</c:v>
                </c:pt>
                <c:pt idx="753">
                  <c:v>1.190861998239332</c:v>
                </c:pt>
                <c:pt idx="754">
                  <c:v>1.1851834815999893</c:v>
                </c:pt>
                <c:pt idx="755">
                  <c:v>1.137931375827187</c:v>
                </c:pt>
                <c:pt idx="756">
                  <c:v>1.1465690950200831</c:v>
                </c:pt>
                <c:pt idx="757">
                  <c:v>1.1053841065387662</c:v>
                </c:pt>
                <c:pt idx="758">
                  <c:v>1.0822751684437211</c:v>
                </c:pt>
                <c:pt idx="759">
                  <c:v>1.1162836536482557</c:v>
                </c:pt>
                <c:pt idx="760">
                  <c:v>1.0965121821107331</c:v>
                </c:pt>
                <c:pt idx="761">
                  <c:v>1.0602032444490206</c:v>
                </c:pt>
                <c:pt idx="762">
                  <c:v>0.9883051787969046</c:v>
                </c:pt>
                <c:pt idx="763">
                  <c:v>0.93896304996277768</c:v>
                </c:pt>
                <c:pt idx="764">
                  <c:v>0.96958629642074456</c:v>
                </c:pt>
                <c:pt idx="765">
                  <c:v>0.97188973406061541</c:v>
                </c:pt>
                <c:pt idx="766">
                  <c:v>0.97578874668696547</c:v>
                </c:pt>
                <c:pt idx="767">
                  <c:v>0.98830570215877023</c:v>
                </c:pt>
                <c:pt idx="768">
                  <c:v>0.9573544125684943</c:v>
                </c:pt>
                <c:pt idx="769">
                  <c:v>0.95968080181866189</c:v>
                </c:pt>
                <c:pt idx="770">
                  <c:v>0.97629307122376929</c:v>
                </c:pt>
                <c:pt idx="771">
                  <c:v>0.98225198677184733</c:v>
                </c:pt>
                <c:pt idx="772">
                  <c:v>0.93936270888862416</c:v>
                </c:pt>
                <c:pt idx="773">
                  <c:v>0.92819042834127918</c:v>
                </c:pt>
                <c:pt idx="774">
                  <c:v>0.94400230128299234</c:v>
                </c:pt>
                <c:pt idx="775">
                  <c:v>0.95567325970246997</c:v>
                </c:pt>
                <c:pt idx="776">
                  <c:v>0.9962605946306381</c:v>
                </c:pt>
                <c:pt idx="777">
                  <c:v>0.99313968643973183</c:v>
                </c:pt>
                <c:pt idx="778">
                  <c:v>0.96687011335129924</c:v>
                </c:pt>
                <c:pt idx="779">
                  <c:v>0.96624935502796261</c:v>
                </c:pt>
                <c:pt idx="780">
                  <c:v>0.96900019572255236</c:v>
                </c:pt>
                <c:pt idx="781">
                  <c:v>1.0017628714295179</c:v>
                </c:pt>
                <c:pt idx="782">
                  <c:v>1.0144573318582302</c:v>
                </c:pt>
                <c:pt idx="783">
                  <c:v>1.0196055130779014</c:v>
                </c:pt>
                <c:pt idx="784">
                  <c:v>0.98005447889859421</c:v>
                </c:pt>
                <c:pt idx="785">
                  <c:v>1.029525110923958</c:v>
                </c:pt>
                <c:pt idx="786">
                  <c:v>1.0252002327552308</c:v>
                </c:pt>
                <c:pt idx="787">
                  <c:v>1.0349177323071037</c:v>
                </c:pt>
                <c:pt idx="788">
                  <c:v>1.0083230644485182</c:v>
                </c:pt>
                <c:pt idx="789">
                  <c:v>1.027810360879396</c:v>
                </c:pt>
                <c:pt idx="790">
                  <c:v>1.0220587742057865</c:v>
                </c:pt>
                <c:pt idx="791">
                  <c:v>1.0875029396181697</c:v>
                </c:pt>
                <c:pt idx="792">
                  <c:v>1.1049284056486173</c:v>
                </c:pt>
                <c:pt idx="793">
                  <c:v>1.104050484019806</c:v>
                </c:pt>
                <c:pt idx="794">
                  <c:v>1.0800436879201194</c:v>
                </c:pt>
                <c:pt idx="795">
                  <c:v>1.0879454960147823</c:v>
                </c:pt>
                <c:pt idx="796">
                  <c:v>1.0997546225795363</c:v>
                </c:pt>
                <c:pt idx="797">
                  <c:v>1.0969383201260317</c:v>
                </c:pt>
                <c:pt idx="798">
                  <c:v>1.1146098229745083</c:v>
                </c:pt>
                <c:pt idx="799">
                  <c:v>1.107064254850556</c:v>
                </c:pt>
                <c:pt idx="800">
                  <c:v>1.1105119974821183</c:v>
                </c:pt>
                <c:pt idx="801">
                  <c:v>1.1157452537494248</c:v>
                </c:pt>
                <c:pt idx="802">
                  <c:v>1.1540772798283887</c:v>
                </c:pt>
                <c:pt idx="803">
                  <c:v>1.1832157623315729</c:v>
                </c:pt>
                <c:pt idx="804">
                  <c:v>1.1772773967784811</c:v>
                </c:pt>
                <c:pt idx="805">
                  <c:v>1.1662391170600133</c:v>
                </c:pt>
                <c:pt idx="806">
                  <c:v>1.1325629565612292</c:v>
                </c:pt>
                <c:pt idx="807">
                  <c:v>1.1324361391245876</c:v>
                </c:pt>
                <c:pt idx="808">
                  <c:v>1.1364607289764777</c:v>
                </c:pt>
                <c:pt idx="809">
                  <c:v>1.1627729441039767</c:v>
                </c:pt>
                <c:pt idx="810">
                  <c:v>1.1577165396619746</c:v>
                </c:pt>
                <c:pt idx="811">
                  <c:v>1.1301551109085175</c:v>
                </c:pt>
                <c:pt idx="812">
                  <c:v>1.1597267315855155</c:v>
                </c:pt>
                <c:pt idx="813">
                  <c:v>1.1351996634346173</c:v>
                </c:pt>
                <c:pt idx="814">
                  <c:v>1.134801820765984</c:v>
                </c:pt>
                <c:pt idx="815">
                  <c:v>1.136636700316221</c:v>
                </c:pt>
                <c:pt idx="816">
                  <c:v>1.156080576279428</c:v>
                </c:pt>
                <c:pt idx="817">
                  <c:v>1.1430862137013211</c:v>
                </c:pt>
                <c:pt idx="818">
                  <c:v>1.1758569875509579</c:v>
                </c:pt>
                <c:pt idx="819">
                  <c:v>1.1591844140373548</c:v>
                </c:pt>
                <c:pt idx="820">
                  <c:v>1.1446983741650425</c:v>
                </c:pt>
                <c:pt idx="821">
                  <c:v>1.0840590495856328</c:v>
                </c:pt>
                <c:pt idx="822">
                  <c:v>1.1212311070436363</c:v>
                </c:pt>
                <c:pt idx="823">
                  <c:v>1.1267650776581088</c:v>
                </c:pt>
                <c:pt idx="824">
                  <c:v>1.1318586585738102</c:v>
                </c:pt>
                <c:pt idx="825">
                  <c:v>1.1486141574778801</c:v>
                </c:pt>
                <c:pt idx="826">
                  <c:v>1.1284502647436436</c:v>
                </c:pt>
                <c:pt idx="827">
                  <c:v>1.1346531699563325</c:v>
                </c:pt>
                <c:pt idx="828">
                  <c:v>1.131805799515134</c:v>
                </c:pt>
                <c:pt idx="829">
                  <c:v>1.1278063337456399</c:v>
                </c:pt>
                <c:pt idx="830">
                  <c:v>1.1149438932329603</c:v>
                </c:pt>
                <c:pt idx="831">
                  <c:v>1.0918511645445272</c:v>
                </c:pt>
                <c:pt idx="832">
                  <c:v>1.0492011739644003</c:v>
                </c:pt>
                <c:pt idx="833">
                  <c:v>1.0120104038354865</c:v>
                </c:pt>
                <c:pt idx="834">
                  <c:v>1.0360160208231817</c:v>
                </c:pt>
                <c:pt idx="835">
                  <c:v>1.0546464788744612</c:v>
                </c:pt>
                <c:pt idx="836">
                  <c:v>1.0752131571615615</c:v>
                </c:pt>
                <c:pt idx="837">
                  <c:v>1.124088391828542</c:v>
                </c:pt>
                <c:pt idx="838">
                  <c:v>1.1310261844382989</c:v>
                </c:pt>
                <c:pt idx="839">
                  <c:v>1.1424368490306096</c:v>
                </c:pt>
                <c:pt idx="840">
                  <c:v>1.1366787675898828</c:v>
                </c:pt>
                <c:pt idx="841">
                  <c:v>1.181970106784995</c:v>
                </c:pt>
                <c:pt idx="842">
                  <c:v>1.1381265610491289</c:v>
                </c:pt>
                <c:pt idx="843">
                  <c:v>1.1488919699522184</c:v>
                </c:pt>
                <c:pt idx="844">
                  <c:v>1.1491300557628237</c:v>
                </c:pt>
                <c:pt idx="845">
                  <c:v>1.087713038982439</c:v>
                </c:pt>
                <c:pt idx="846">
                  <c:v>1.0433842483261722</c:v>
                </c:pt>
                <c:pt idx="847">
                  <c:v>1.0698654443272368</c:v>
                </c:pt>
                <c:pt idx="848">
                  <c:v>1.0467102816888265</c:v>
                </c:pt>
                <c:pt idx="849">
                  <c:v>1.0258039179886764</c:v>
                </c:pt>
                <c:pt idx="850">
                  <c:v>1.0374928333778235</c:v>
                </c:pt>
                <c:pt idx="851">
                  <c:v>1.0394683101548077</c:v>
                </c:pt>
                <c:pt idx="852">
                  <c:v>1.0049978555475485</c:v>
                </c:pt>
                <c:pt idx="853">
                  <c:v>1.0580322768472492</c:v>
                </c:pt>
                <c:pt idx="854">
                  <c:v>1.0608600393023129</c:v>
                </c:pt>
                <c:pt idx="855">
                  <c:v>1.0591788730226213</c:v>
                </c:pt>
                <c:pt idx="856">
                  <c:v>1.0859000186825265</c:v>
                </c:pt>
                <c:pt idx="857">
                  <c:v>1.1181318574187533</c:v>
                </c:pt>
                <c:pt idx="858">
                  <c:v>1.1153887523933153</c:v>
                </c:pt>
                <c:pt idx="859">
                  <c:v>1.1178530839253333</c:v>
                </c:pt>
                <c:pt idx="860">
                  <c:v>1.1320728622828302</c:v>
                </c:pt>
                <c:pt idx="861">
                  <c:v>1.168973614049875</c:v>
                </c:pt>
                <c:pt idx="862">
                  <c:v>1.1911290886159758</c:v>
                </c:pt>
                <c:pt idx="863">
                  <c:v>1.2163113636455642</c:v>
                </c:pt>
                <c:pt idx="864">
                  <c:v>1.1821439708496129</c:v>
                </c:pt>
                <c:pt idx="865">
                  <c:v>1.2188283897572123</c:v>
                </c:pt>
                <c:pt idx="866">
                  <c:v>1.255920278969344</c:v>
                </c:pt>
                <c:pt idx="867">
                  <c:v>1.2184692205301324</c:v>
                </c:pt>
                <c:pt idx="868">
                  <c:v>1.2108420647413618</c:v>
                </c:pt>
                <c:pt idx="869">
                  <c:v>1.166153959591641</c:v>
                </c:pt>
                <c:pt idx="870">
                  <c:v>1.1561480337145704</c:v>
                </c:pt>
                <c:pt idx="871">
                  <c:v>1.1375705611561835</c:v>
                </c:pt>
                <c:pt idx="872">
                  <c:v>1.13400825069471</c:v>
                </c:pt>
                <c:pt idx="873">
                  <c:v>1.1633510850669437</c:v>
                </c:pt>
                <c:pt idx="874">
                  <c:v>1.1532913420034971</c:v>
                </c:pt>
                <c:pt idx="875">
                  <c:v>1.1492470798634689</c:v>
                </c:pt>
                <c:pt idx="876">
                  <c:v>1.1691242915940974</c:v>
                </c:pt>
                <c:pt idx="877">
                  <c:v>1.1181616686514424</c:v>
                </c:pt>
                <c:pt idx="878">
                  <c:v>1.1403921991210262</c:v>
                </c:pt>
                <c:pt idx="879">
                  <c:v>1.1478097583568929</c:v>
                </c:pt>
                <c:pt idx="880">
                  <c:v>1.1454176570995407</c:v>
                </c:pt>
                <c:pt idx="881">
                  <c:v>1.1744167542417283</c:v>
                </c:pt>
                <c:pt idx="882">
                  <c:v>1.190834537856424</c:v>
                </c:pt>
                <c:pt idx="883">
                  <c:v>1.1668535646683815</c:v>
                </c:pt>
                <c:pt idx="884">
                  <c:v>1.1607657500274464</c:v>
                </c:pt>
                <c:pt idx="885">
                  <c:v>1.1520670578343628</c:v>
                </c:pt>
                <c:pt idx="886">
                  <c:v>1.1269548023043252</c:v>
                </c:pt>
                <c:pt idx="887">
                  <c:v>1.0968863456039608</c:v>
                </c:pt>
                <c:pt idx="888">
                  <c:v>1.083556564091698</c:v>
                </c:pt>
                <c:pt idx="889">
                  <c:v>1.0777957497415354</c:v>
                </c:pt>
                <c:pt idx="890">
                  <c:v>1.0821808547090681</c:v>
                </c:pt>
                <c:pt idx="891">
                  <c:v>1.0450193310646696</c:v>
                </c:pt>
                <c:pt idx="892">
                  <c:v>1.0617614945289582</c:v>
                </c:pt>
                <c:pt idx="893">
                  <c:v>1.0342313487603341</c:v>
                </c:pt>
                <c:pt idx="894">
                  <c:v>1.0629185585306919</c:v>
                </c:pt>
                <c:pt idx="895">
                  <c:v>1.0238269991253064</c:v>
                </c:pt>
                <c:pt idx="896">
                  <c:v>0.99257062055130807</c:v>
                </c:pt>
                <c:pt idx="897">
                  <c:v>0.95092598549259189</c:v>
                </c:pt>
                <c:pt idx="898">
                  <c:v>0.96222975008779599</c:v>
                </c:pt>
                <c:pt idx="899">
                  <c:v>0.95562845663282558</c:v>
                </c:pt>
                <c:pt idx="900">
                  <c:v>1.0145491043106147</c:v>
                </c:pt>
                <c:pt idx="901">
                  <c:v>1.0135158448766803</c:v>
                </c:pt>
                <c:pt idx="902">
                  <c:v>1.0048034633698271</c:v>
                </c:pt>
                <c:pt idx="903">
                  <c:v>0.99093593283748937</c:v>
                </c:pt>
                <c:pt idx="904">
                  <c:v>1.0229652638454947</c:v>
                </c:pt>
                <c:pt idx="905">
                  <c:v>1.0230889108675889</c:v>
                </c:pt>
                <c:pt idx="906">
                  <c:v>1.0593149488794824</c:v>
                </c:pt>
                <c:pt idx="907">
                  <c:v>1.0710546955779336</c:v>
                </c:pt>
                <c:pt idx="908">
                  <c:v>1.0786060075580099</c:v>
                </c:pt>
                <c:pt idx="909">
                  <c:v>1.0893336569169036</c:v>
                </c:pt>
                <c:pt idx="910">
                  <c:v>1.129689256429375</c:v>
                </c:pt>
                <c:pt idx="911">
                  <c:v>1.0856980910122236</c:v>
                </c:pt>
                <c:pt idx="912">
                  <c:v>1.1065232388707071</c:v>
                </c:pt>
                <c:pt idx="913">
                  <c:v>1.0990729635972061</c:v>
                </c:pt>
                <c:pt idx="914">
                  <c:v>1.0972096269707272</c:v>
                </c:pt>
                <c:pt idx="915">
                  <c:v>1.0768167754154339</c:v>
                </c:pt>
                <c:pt idx="916">
                  <c:v>1.0974610196518022</c:v>
                </c:pt>
                <c:pt idx="917">
                  <c:v>1.0827117934086654</c:v>
                </c:pt>
                <c:pt idx="918">
                  <c:v>1.1155774753231069</c:v>
                </c:pt>
                <c:pt idx="919">
                  <c:v>1.1177031559531303</c:v>
                </c:pt>
                <c:pt idx="920">
                  <c:v>1.1134119147709998</c:v>
                </c:pt>
                <c:pt idx="921">
                  <c:v>1.1178676848892009</c:v>
                </c:pt>
                <c:pt idx="922">
                  <c:v>1.1011365601676899</c:v>
                </c:pt>
                <c:pt idx="923">
                  <c:v>1.1426308119483712</c:v>
                </c:pt>
                <c:pt idx="924">
                  <c:v>1.0963440289822619</c:v>
                </c:pt>
                <c:pt idx="925">
                  <c:v>1.076529385219642</c:v>
                </c:pt>
                <c:pt idx="926">
                  <c:v>1.0686322227905203</c:v>
                </c:pt>
                <c:pt idx="927">
                  <c:v>1.112543167185245</c:v>
                </c:pt>
                <c:pt idx="928">
                  <c:v>1.0916109049547342</c:v>
                </c:pt>
                <c:pt idx="929">
                  <c:v>1.110140510936787</c:v>
                </c:pt>
                <c:pt idx="930">
                  <c:v>1.0962305320097354</c:v>
                </c:pt>
                <c:pt idx="931">
                  <c:v>1.0941037900712522</c:v>
                </c:pt>
                <c:pt idx="932">
                  <c:v>1.0941037900712522</c:v>
                </c:pt>
                <c:pt idx="933">
                  <c:v>1.1060982475952741</c:v>
                </c:pt>
                <c:pt idx="934">
                  <c:v>1.0889497734952722</c:v>
                </c:pt>
                <c:pt idx="935">
                  <c:v>1.0893256376435783</c:v>
                </c:pt>
                <c:pt idx="936">
                  <c:v>1.0341213161673661</c:v>
                </c:pt>
                <c:pt idx="937">
                  <c:v>1.0676380634291569</c:v>
                </c:pt>
                <c:pt idx="938">
                  <c:v>1.0545350339988881</c:v>
                </c:pt>
                <c:pt idx="939">
                  <c:v>1.0804580233539323</c:v>
                </c:pt>
                <c:pt idx="940">
                  <c:v>1.0505595662783007</c:v>
                </c:pt>
                <c:pt idx="941">
                  <c:v>1.0611157108082694</c:v>
                </c:pt>
                <c:pt idx="942">
                  <c:v>1.0465481849624874</c:v>
                </c:pt>
                <c:pt idx="943">
                  <c:v>1.0448048269589794</c:v>
                </c:pt>
                <c:pt idx="944">
                  <c:v>1.0378264754299966</c:v>
                </c:pt>
                <c:pt idx="945">
                  <c:v>1.03530666232642</c:v>
                </c:pt>
                <c:pt idx="946">
                  <c:v>0.9893604110679316</c:v>
                </c:pt>
                <c:pt idx="947">
                  <c:v>1.0515748452546847</c:v>
                </c:pt>
                <c:pt idx="948">
                  <c:v>1.0287541846397481</c:v>
                </c:pt>
                <c:pt idx="949">
                  <c:v>1.0253381275764932</c:v>
                </c:pt>
                <c:pt idx="950">
                  <c:v>1.0236013165155731</c:v>
                </c:pt>
                <c:pt idx="951">
                  <c:v>1.0483750425706717</c:v>
                </c:pt>
                <c:pt idx="952">
                  <c:v>1.0362285728411538</c:v>
                </c:pt>
                <c:pt idx="953">
                  <c:v>1.0017862781683711</c:v>
                </c:pt>
                <c:pt idx="954">
                  <c:v>1.0206234853512708</c:v>
                </c:pt>
                <c:pt idx="955">
                  <c:v>1.0650513451548203</c:v>
                </c:pt>
                <c:pt idx="956">
                  <c:v>1.124805985824723</c:v>
                </c:pt>
                <c:pt idx="957">
                  <c:v>1.0980562240907192</c:v>
                </c:pt>
                <c:pt idx="958">
                  <c:v>1.1409528685602495</c:v>
                </c:pt>
                <c:pt idx="959">
                  <c:v>1.1207716963781247</c:v>
                </c:pt>
                <c:pt idx="960">
                  <c:v>1.1471024966981089</c:v>
                </c:pt>
                <c:pt idx="961">
                  <c:v>1.1732759912842918</c:v>
                </c:pt>
                <c:pt idx="962">
                  <c:v>1.207443818449804</c:v>
                </c:pt>
                <c:pt idx="963">
                  <c:v>1.2253971441616553</c:v>
                </c:pt>
                <c:pt idx="964">
                  <c:v>1.2118657127533261</c:v>
                </c:pt>
                <c:pt idx="965">
                  <c:v>1.2118657127533259</c:v>
                </c:pt>
                <c:pt idx="966">
                  <c:v>1.2110300071265452</c:v>
                </c:pt>
                <c:pt idx="967">
                  <c:v>1.1873066690778682</c:v>
                </c:pt>
                <c:pt idx="968">
                  <c:v>1.2396022721435489</c:v>
                </c:pt>
                <c:pt idx="969">
                  <c:v>1.2516398898217906</c:v>
                </c:pt>
                <c:pt idx="970">
                  <c:v>1.2499078126925545</c:v>
                </c:pt>
                <c:pt idx="971">
                  <c:v>1.2336710938560944</c:v>
                </c:pt>
                <c:pt idx="972">
                  <c:v>1.2302871359083658</c:v>
                </c:pt>
                <c:pt idx="973">
                  <c:v>1.2407526914656728</c:v>
                </c:pt>
                <c:pt idx="974">
                  <c:v>1.2484852431241833</c:v>
                </c:pt>
                <c:pt idx="975">
                  <c:v>1.2796389577021192</c:v>
                </c:pt>
                <c:pt idx="976">
                  <c:v>1.2914343802999397</c:v>
                </c:pt>
                <c:pt idx="977">
                  <c:v>1.2600265003598918</c:v>
                </c:pt>
                <c:pt idx="978">
                  <c:v>1.2463650136001241</c:v>
                </c:pt>
                <c:pt idx="979">
                  <c:v>1.2516591288017056</c:v>
                </c:pt>
                <c:pt idx="980">
                  <c:v>1.2536769368816538</c:v>
                </c:pt>
                <c:pt idx="981">
                  <c:v>1.2451035132151422</c:v>
                </c:pt>
                <c:pt idx="982">
                  <c:v>1.2386661346397783</c:v>
                </c:pt>
                <c:pt idx="983">
                  <c:v>1.2623703302021612</c:v>
                </c:pt>
                <c:pt idx="984">
                  <c:v>1.2767296584201586</c:v>
                </c:pt>
                <c:pt idx="985">
                  <c:v>1.2339498769603956</c:v>
                </c:pt>
                <c:pt idx="986">
                  <c:v>1.1864532773397969</c:v>
                </c:pt>
                <c:pt idx="987">
                  <c:v>1.1854185448341787</c:v>
                </c:pt>
                <c:pt idx="988">
                  <c:v>1.1376214852393396</c:v>
                </c:pt>
                <c:pt idx="989">
                  <c:v>1.1386832484189291</c:v>
                </c:pt>
                <c:pt idx="990">
                  <c:v>1.0890397014178899</c:v>
                </c:pt>
                <c:pt idx="991">
                  <c:v>1.0793540000719248</c:v>
                </c:pt>
                <c:pt idx="992">
                  <c:v>1.1022482770990465</c:v>
                </c:pt>
                <c:pt idx="993">
                  <c:v>1.0725145552692363</c:v>
                </c:pt>
                <c:pt idx="994">
                  <c:v>1.0537412275851428</c:v>
                </c:pt>
                <c:pt idx="995">
                  <c:v>1.0613247523190334</c:v>
                </c:pt>
                <c:pt idx="996">
                  <c:v>1.0812506594244218</c:v>
                </c:pt>
                <c:pt idx="997">
                  <c:v>1.0918277410342503</c:v>
                </c:pt>
                <c:pt idx="998">
                  <c:v>1.0349044044919231</c:v>
                </c:pt>
                <c:pt idx="999">
                  <c:v>0.97997237821734851</c:v>
                </c:pt>
                <c:pt idx="1000">
                  <c:v>0.98207293078432345</c:v>
                </c:pt>
                <c:pt idx="1001">
                  <c:v>0.97828615093102922</c:v>
                </c:pt>
                <c:pt idx="1002">
                  <c:v>0.96652482114276717</c:v>
                </c:pt>
                <c:pt idx="1003">
                  <c:v>1.0032934845258163</c:v>
                </c:pt>
                <c:pt idx="1004">
                  <c:v>0.99770593184403911</c:v>
                </c:pt>
                <c:pt idx="1005">
                  <c:v>0.99075270352405809</c:v>
                </c:pt>
                <c:pt idx="1006">
                  <c:v>0.99998528724808944</c:v>
                </c:pt>
                <c:pt idx="1007">
                  <c:v>1.0052575011797531</c:v>
                </c:pt>
                <c:pt idx="1008">
                  <c:v>1.0067236034747093</c:v>
                </c:pt>
                <c:pt idx="1009">
                  <c:v>1.0671634439447193</c:v>
                </c:pt>
                <c:pt idx="1010">
                  <c:v>1.0425072011107726</c:v>
                </c:pt>
                <c:pt idx="1011">
                  <c:v>1.0180748679648317</c:v>
                </c:pt>
                <c:pt idx="1012">
                  <c:v>1.0578086761802907</c:v>
                </c:pt>
                <c:pt idx="1013">
                  <c:v>1.035316654320138</c:v>
                </c:pt>
                <c:pt idx="1014">
                  <c:v>1.0598963840053359</c:v>
                </c:pt>
                <c:pt idx="1015">
                  <c:v>1.0871014397147514</c:v>
                </c:pt>
                <c:pt idx="1016">
                  <c:v>1.0785326344984472</c:v>
                </c:pt>
                <c:pt idx="1017">
                  <c:v>1.0611033078287229</c:v>
                </c:pt>
                <c:pt idx="1018">
                  <c:v>1.0597703069289475</c:v>
                </c:pt>
                <c:pt idx="1019">
                  <c:v>1.0848743239889931</c:v>
                </c:pt>
                <c:pt idx="1020">
                  <c:v>1.136007376129526</c:v>
                </c:pt>
                <c:pt idx="1021">
                  <c:v>1.1249012217171293</c:v>
                </c:pt>
                <c:pt idx="1022">
                  <c:v>1.1130007074178536</c:v>
                </c:pt>
                <c:pt idx="1023">
                  <c:v>1.1212538650479897</c:v>
                </c:pt>
                <c:pt idx="1024">
                  <c:v>1.1233931052688173</c:v>
                </c:pt>
                <c:pt idx="1025">
                  <c:v>1.1145949730834908</c:v>
                </c:pt>
                <c:pt idx="1026">
                  <c:v>1.0993130561411057</c:v>
                </c:pt>
                <c:pt idx="1027">
                  <c:v>1.1121081254799909</c:v>
                </c:pt>
                <c:pt idx="1028">
                  <c:v>1.1140152602186375</c:v>
                </c:pt>
                <c:pt idx="1029">
                  <c:v>1.130033515930583</c:v>
                </c:pt>
                <c:pt idx="1030">
                  <c:v>1.1302850825416082</c:v>
                </c:pt>
                <c:pt idx="1031">
                  <c:v>1.1560453795332726</c:v>
                </c:pt>
                <c:pt idx="1032">
                  <c:v>1.1370530573251241</c:v>
                </c:pt>
                <c:pt idx="1033">
                  <c:v>1.1510040094999912</c:v>
                </c:pt>
                <c:pt idx="1034">
                  <c:v>1.1927270501216751</c:v>
                </c:pt>
                <c:pt idx="1035">
                  <c:v>1.1790362321750796</c:v>
                </c:pt>
                <c:pt idx="1036">
                  <c:v>1.1696587575850494</c:v>
                </c:pt>
                <c:pt idx="1037">
                  <c:v>1.1639453812678289</c:v>
                </c:pt>
                <c:pt idx="1038">
                  <c:v>1.1778102124500887</c:v>
                </c:pt>
                <c:pt idx="1039">
                  <c:v>1.1211451965397421</c:v>
                </c:pt>
                <c:pt idx="1040">
                  <c:v>1.1200484390182084</c:v>
                </c:pt>
                <c:pt idx="1041">
                  <c:v>1.1289199395373688</c:v>
                </c:pt>
                <c:pt idx="1042">
                  <c:v>1.1046250208924333</c:v>
                </c:pt>
                <c:pt idx="1043">
                  <c:v>1.1718167445290324</c:v>
                </c:pt>
                <c:pt idx="1044">
                  <c:v>1.1352421889562627</c:v>
                </c:pt>
                <c:pt idx="1045">
                  <c:v>1.205111193419822</c:v>
                </c:pt>
                <c:pt idx="1046">
                  <c:v>1.2144690907609765</c:v>
                </c:pt>
                <c:pt idx="1047">
                  <c:v>1.2277613025714544</c:v>
                </c:pt>
                <c:pt idx="1048">
                  <c:v>1.274273514009354</c:v>
                </c:pt>
                <c:pt idx="1049">
                  <c:v>1.3084134904795828</c:v>
                </c:pt>
                <c:pt idx="1050">
                  <c:v>1.3394612487047206</c:v>
                </c:pt>
                <c:pt idx="1051">
                  <c:v>1.3364011115808316</c:v>
                </c:pt>
                <c:pt idx="1052">
                  <c:v>1.2862903982016456</c:v>
                </c:pt>
                <c:pt idx="1053">
                  <c:v>1.2786327108264528</c:v>
                </c:pt>
                <c:pt idx="1054">
                  <c:v>1.3359169221880929</c:v>
                </c:pt>
                <c:pt idx="1055">
                  <c:v>1.401078402394089</c:v>
                </c:pt>
                <c:pt idx="1056">
                  <c:v>1.3998308600618896</c:v>
                </c:pt>
                <c:pt idx="1057">
                  <c:v>1.3420742652079038</c:v>
                </c:pt>
                <c:pt idx="1058">
                  <c:v>1.3403869744888273</c:v>
                </c:pt>
                <c:pt idx="1059">
                  <c:v>1.3101880184455064</c:v>
                </c:pt>
                <c:pt idx="1060">
                  <c:v>1.3091499830656996</c:v>
                </c:pt>
                <c:pt idx="1061">
                  <c:v>1.2419442025706515</c:v>
                </c:pt>
                <c:pt idx="1062">
                  <c:v>1.2576638167102008</c:v>
                </c:pt>
                <c:pt idx="1063">
                  <c:v>1.1446079989517668</c:v>
                </c:pt>
                <c:pt idx="1064">
                  <c:v>1.169263644891249</c:v>
                </c:pt>
                <c:pt idx="1065">
                  <c:v>1.0487278007185659</c:v>
                </c:pt>
                <c:pt idx="1066">
                  <c:v>1.0334272853098994</c:v>
                </c:pt>
                <c:pt idx="1067">
                  <c:v>0.98237742354904001</c:v>
                </c:pt>
                <c:pt idx="1068">
                  <c:v>0.88568987333272431</c:v>
                </c:pt>
                <c:pt idx="1069">
                  <c:v>0.87705024168332613</c:v>
                </c:pt>
                <c:pt idx="1070">
                  <c:v>0.86502036385570558</c:v>
                </c:pt>
                <c:pt idx="1071">
                  <c:v>0.8887946118586485</c:v>
                </c:pt>
                <c:pt idx="1072">
                  <c:v>0.88975839417226077</c:v>
                </c:pt>
                <c:pt idx="1073">
                  <c:v>0.88880916069645199</c:v>
                </c:pt>
                <c:pt idx="1074">
                  <c:v>0.91998100929924886</c:v>
                </c:pt>
                <c:pt idx="1075">
                  <c:v>0.90902726840983361</c:v>
                </c:pt>
                <c:pt idx="1076">
                  <c:v>0.90434843503708406</c:v>
                </c:pt>
                <c:pt idx="1077">
                  <c:v>0.94381647592627083</c:v>
                </c:pt>
                <c:pt idx="1078">
                  <c:v>0.97744617983946236</c:v>
                </c:pt>
                <c:pt idx="1079">
                  <c:v>0.97592043203079437</c:v>
                </c:pt>
                <c:pt idx="1080">
                  <c:v>0.94607987318026232</c:v>
                </c:pt>
                <c:pt idx="1081">
                  <c:v>0.98905766134804507</c:v>
                </c:pt>
                <c:pt idx="1082">
                  <c:v>0.99003216016497131</c:v>
                </c:pt>
                <c:pt idx="1083">
                  <c:v>0.98201879795665303</c:v>
                </c:pt>
                <c:pt idx="1084">
                  <c:v>1.0966358693226557</c:v>
                </c:pt>
                <c:pt idx="1085">
                  <c:v>1.0572401721506777</c:v>
                </c:pt>
                <c:pt idx="1086">
                  <c:v>1.0776946446588831</c:v>
                </c:pt>
                <c:pt idx="1087">
                  <c:v>1.0850122622327369</c:v>
                </c:pt>
                <c:pt idx="1088">
                  <c:v>1.0962679112941931</c:v>
                </c:pt>
                <c:pt idx="1089">
                  <c:v>1.1842650856558454</c:v>
                </c:pt>
                <c:pt idx="1090">
                  <c:v>1.2809562250813697</c:v>
                </c:pt>
                <c:pt idx="1091">
                  <c:v>1.3294078277239803</c:v>
                </c:pt>
                <c:pt idx="1092">
                  <c:v>1.3265633154452361</c:v>
                </c:pt>
                <c:pt idx="1093">
                  <c:v>1.3691219184521903</c:v>
                </c:pt>
                <c:pt idx="1094">
                  <c:v>1.3174995474273465</c:v>
                </c:pt>
                <c:pt idx="1095">
                  <c:v>1.3346840859152405</c:v>
                </c:pt>
                <c:pt idx="1096">
                  <c:v>1.3886174799948057</c:v>
                </c:pt>
                <c:pt idx="1097">
                  <c:v>1.4230209487880541</c:v>
                </c:pt>
                <c:pt idx="1098">
                  <c:v>1.4113088406433794</c:v>
                </c:pt>
                <c:pt idx="1099">
                  <c:v>1.4155312962187419</c:v>
                </c:pt>
                <c:pt idx="1100">
                  <c:v>1.3203038661045314</c:v>
                </c:pt>
                <c:pt idx="1101">
                  <c:v>1.326596197516172</c:v>
                </c:pt>
                <c:pt idx="1102">
                  <c:v>1.318765357812191</c:v>
                </c:pt>
                <c:pt idx="1103">
                  <c:v>1.2880521246681234</c:v>
                </c:pt>
                <c:pt idx="1104">
                  <c:v>1.2933099743121022</c:v>
                </c:pt>
                <c:pt idx="1105">
                  <c:v>1.2984360176589453</c:v>
                </c:pt>
                <c:pt idx="1106">
                  <c:v>1.2797121174108941</c:v>
                </c:pt>
                <c:pt idx="1107">
                  <c:v>1.285120013180038</c:v>
                </c:pt>
                <c:pt idx="1108">
                  <c:v>1.3129857612310198</c:v>
                </c:pt>
                <c:pt idx="1109">
                  <c:v>1.3073710129558631</c:v>
                </c:pt>
                <c:pt idx="1110">
                  <c:v>1.2719150192099913</c:v>
                </c:pt>
                <c:pt idx="1111">
                  <c:v>1.1242425802780922</c:v>
                </c:pt>
                <c:pt idx="1112">
                  <c:v>1.0435752538005232</c:v>
                </c:pt>
                <c:pt idx="1113">
                  <c:v>0.937418808744792</c:v>
                </c:pt>
                <c:pt idx="1114">
                  <c:v>0.93548690377067056</c:v>
                </c:pt>
                <c:pt idx="1115">
                  <c:v>0.94046607423213746</c:v>
                </c:pt>
                <c:pt idx="1116">
                  <c:v>1.0537287923446388</c:v>
                </c:pt>
                <c:pt idx="1117">
                  <c:v>1.0392959597506488</c:v>
                </c:pt>
                <c:pt idx="1118">
                  <c:v>1.0956929261913422</c:v>
                </c:pt>
                <c:pt idx="1119">
                  <c:v>1.0897434054194459</c:v>
                </c:pt>
                <c:pt idx="1120">
                  <c:v>1.0710302806498817</c:v>
                </c:pt>
                <c:pt idx="1121">
                  <c:v>1.0887556959746481</c:v>
                </c:pt>
                <c:pt idx="1122">
                  <c:v>1.1732646760215697</c:v>
                </c:pt>
                <c:pt idx="1123">
                  <c:v>1.2215483391284956</c:v>
                </c:pt>
                <c:pt idx="1124">
                  <c:v>1.2661506510934502</c:v>
                </c:pt>
                <c:pt idx="1125">
                  <c:v>1.2477356041770364</c:v>
                </c:pt>
                <c:pt idx="1126">
                  <c:v>1.2200810694752844</c:v>
                </c:pt>
                <c:pt idx="1127">
                  <c:v>1.1896534799254994</c:v>
                </c:pt>
                <c:pt idx="1128">
                  <c:v>1.1542841738597081</c:v>
                </c:pt>
                <c:pt idx="1129">
                  <c:v>1.1656919902323917</c:v>
                </c:pt>
                <c:pt idx="1130">
                  <c:v>1.1762047382181797</c:v>
                </c:pt>
                <c:pt idx="1131">
                  <c:v>1.1797732102341563</c:v>
                </c:pt>
                <c:pt idx="1132">
                  <c:v>1.1864484333747807</c:v>
                </c:pt>
                <c:pt idx="1133">
                  <c:v>1.1788761451133201</c:v>
                </c:pt>
                <c:pt idx="1134">
                  <c:v>1.2219930959038936</c:v>
                </c:pt>
                <c:pt idx="1135">
                  <c:v>1.2279833013953192</c:v>
                </c:pt>
                <c:pt idx="1136">
                  <c:v>1.2266086786643544</c:v>
                </c:pt>
                <c:pt idx="1137">
                  <c:v>1.2266086786643542</c:v>
                </c:pt>
                <c:pt idx="1138">
                  <c:v>1.1935680594937514</c:v>
                </c:pt>
                <c:pt idx="1139">
                  <c:v>1.2104081196406256</c:v>
                </c:pt>
                <c:pt idx="1140">
                  <c:v>1.2188681389838221</c:v>
                </c:pt>
                <c:pt idx="1141">
                  <c:v>1.2081126631637267</c:v>
                </c:pt>
                <c:pt idx="1142">
                  <c:v>1.1565178114823231</c:v>
                </c:pt>
                <c:pt idx="1143">
                  <c:v>1.1277500742119497</c:v>
                </c:pt>
                <c:pt idx="1144">
                  <c:v>1.1251923973412208</c:v>
                </c:pt>
                <c:pt idx="1145">
                  <c:v>1.154263262068459</c:v>
                </c:pt>
                <c:pt idx="1146">
                  <c:v>1.099208963222001</c:v>
                </c:pt>
                <c:pt idx="1147">
                  <c:v>1.0980066055116091</c:v>
                </c:pt>
                <c:pt idx="1148">
                  <c:v>1.1219954002405359</c:v>
                </c:pt>
                <c:pt idx="1149">
                  <c:v>1.1442588325471075</c:v>
                </c:pt>
                <c:pt idx="1150">
                  <c:v>1.1784581783673613</c:v>
                </c:pt>
                <c:pt idx="1151">
                  <c:v>1.1739394333199002</c:v>
                </c:pt>
                <c:pt idx="1152">
                  <c:v>1.1648308544764039</c:v>
                </c:pt>
                <c:pt idx="1153">
                  <c:v>1.1143208333062022</c:v>
                </c:pt>
                <c:pt idx="1154">
                  <c:v>1.109763824931429</c:v>
                </c:pt>
                <c:pt idx="1155">
                  <c:v>1.1329853252034801</c:v>
                </c:pt>
                <c:pt idx="1156">
                  <c:v>1.1518575203237746</c:v>
                </c:pt>
                <c:pt idx="1157">
                  <c:v>1.1702794636276002</c:v>
                </c:pt>
                <c:pt idx="1158">
                  <c:v>1.1854220355210412</c:v>
                </c:pt>
                <c:pt idx="1159">
                  <c:v>1.1799873854770886</c:v>
                </c:pt>
                <c:pt idx="1160">
                  <c:v>1.1836877889076978</c:v>
                </c:pt>
                <c:pt idx="1161">
                  <c:v>1.1971930773136865</c:v>
                </c:pt>
                <c:pt idx="1162">
                  <c:v>1.2484282071892421</c:v>
                </c:pt>
                <c:pt idx="1163">
                  <c:v>1.2383537459062326</c:v>
                </c:pt>
                <c:pt idx="1164">
                  <c:v>1.2169163969810652</c:v>
                </c:pt>
                <c:pt idx="1165">
                  <c:v>1.2075736097598786</c:v>
                </c:pt>
                <c:pt idx="1166">
                  <c:v>1.2194110600340362</c:v>
                </c:pt>
                <c:pt idx="1167">
                  <c:v>1.2384686966749205</c:v>
                </c:pt>
                <c:pt idx="1168">
                  <c:v>1.2398935808987885</c:v>
                </c:pt>
                <c:pt idx="1169">
                  <c:v>1.2743456287872581</c:v>
                </c:pt>
                <c:pt idx="1170">
                  <c:v>1.2835980768871942</c:v>
                </c:pt>
                <c:pt idx="1171">
                  <c:v>1.3310053239614748</c:v>
                </c:pt>
                <c:pt idx="1172">
                  <c:v>1.3527226270552006</c:v>
                </c:pt>
                <c:pt idx="1173">
                  <c:v>1.3520103804947337</c:v>
                </c:pt>
                <c:pt idx="1174">
                  <c:v>1.3449922445616673</c:v>
                </c:pt>
                <c:pt idx="1175">
                  <c:v>1.3360535900188648</c:v>
                </c:pt>
                <c:pt idx="1176">
                  <c:v>1.3605146085213482</c:v>
                </c:pt>
                <c:pt idx="1177">
                  <c:v>1.3600794432510259</c:v>
                </c:pt>
                <c:pt idx="1178">
                  <c:v>1.3365488238821235</c:v>
                </c:pt>
                <c:pt idx="1179">
                  <c:v>1.3105181917983744</c:v>
                </c:pt>
                <c:pt idx="1180">
                  <c:v>1.3299140063807937</c:v>
                </c:pt>
                <c:pt idx="1181">
                  <c:v>1.3227931524384038</c:v>
                </c:pt>
                <c:pt idx="1182">
                  <c:v>1.2839606915600115</c:v>
                </c:pt>
                <c:pt idx="1183">
                  <c:v>1.2840424671603594</c:v>
                </c:pt>
                <c:pt idx="1184">
                  <c:v>1.2620508760716034</c:v>
                </c:pt>
                <c:pt idx="1185">
                  <c:v>1.2465330772360903</c:v>
                </c:pt>
                <c:pt idx="1186">
                  <c:v>1.2578518451581711</c:v>
                </c:pt>
                <c:pt idx="1187">
                  <c:v>1.2755827606668035</c:v>
                </c:pt>
                <c:pt idx="1188">
                  <c:v>1.2597144814253121</c:v>
                </c:pt>
                <c:pt idx="1189">
                  <c:v>1.2782587384011304</c:v>
                </c:pt>
                <c:pt idx="1190">
                  <c:v>1.2630845750297799</c:v>
                </c:pt>
                <c:pt idx="1191">
                  <c:v>1.2554992138038428</c:v>
                </c:pt>
                <c:pt idx="1192">
                  <c:v>1.2061097336706854</c:v>
                </c:pt>
                <c:pt idx="1193">
                  <c:v>1.2424127897884358</c:v>
                </c:pt>
                <c:pt idx="1194">
                  <c:v>1.2284121607919745</c:v>
                </c:pt>
                <c:pt idx="1195">
                  <c:v>1.22253082136828</c:v>
                </c:pt>
                <c:pt idx="1196">
                  <c:v>1.2103361839426756</c:v>
                </c:pt>
                <c:pt idx="1197">
                  <c:v>1.2372597177615543</c:v>
                </c:pt>
                <c:pt idx="1198">
                  <c:v>1.2754805269829261</c:v>
                </c:pt>
                <c:pt idx="1199">
                  <c:v>1.2197962897573291</c:v>
                </c:pt>
                <c:pt idx="1200">
                  <c:v>1.2007109484006526</c:v>
                </c:pt>
                <c:pt idx="1201">
                  <c:v>1.1567014139005536</c:v>
                </c:pt>
                <c:pt idx="1202">
                  <c:v>1.1469467714552948</c:v>
                </c:pt>
                <c:pt idx="1203">
                  <c:v>1.1649026401032578</c:v>
                </c:pt>
                <c:pt idx="1204">
                  <c:v>1.1207770805864186</c:v>
                </c:pt>
                <c:pt idx="1205">
                  <c:v>1.1737012876552864</c:v>
                </c:pt>
                <c:pt idx="1206">
                  <c:v>1.1802359008305057</c:v>
                </c:pt>
                <c:pt idx="1207">
                  <c:v>1.2001166609959213</c:v>
                </c:pt>
                <c:pt idx="1208">
                  <c:v>1.2021265161868526</c:v>
                </c:pt>
                <c:pt idx="1209">
                  <c:v>1.1887632905332919</c:v>
                </c:pt>
                <c:pt idx="1210">
                  <c:v>1.1807819832441648</c:v>
                </c:pt>
                <c:pt idx="1211">
                  <c:v>1.1615356462335813</c:v>
                </c:pt>
                <c:pt idx="1212">
                  <c:v>1.1671442700568064</c:v>
                </c:pt>
                <c:pt idx="1213">
                  <c:v>1.1786315852687399</c:v>
                </c:pt>
                <c:pt idx="1214">
                  <c:v>1.1567276475362349</c:v>
                </c:pt>
                <c:pt idx="1215">
                  <c:v>1.1424253792377146</c:v>
                </c:pt>
                <c:pt idx="1216">
                  <c:v>1.1211816426708332</c:v>
                </c:pt>
                <c:pt idx="1217">
                  <c:v>1.1207155452358697</c:v>
                </c:pt>
                <c:pt idx="1218">
                  <c:v>1.1044851611788937</c:v>
                </c:pt>
                <c:pt idx="1219">
                  <c:v>1.1363072374719052</c:v>
                </c:pt>
                <c:pt idx="1220">
                  <c:v>1.146481072924761</c:v>
                </c:pt>
                <c:pt idx="1221">
                  <c:v>1.1439463856900514</c:v>
                </c:pt>
                <c:pt idx="1222">
                  <c:v>1.1776327316165729</c:v>
                </c:pt>
                <c:pt idx="1223">
                  <c:v>1.134528156517516</c:v>
                </c:pt>
                <c:pt idx="1224">
                  <c:v>1.1113479958213319</c:v>
                </c:pt>
                <c:pt idx="1225">
                  <c:v>1.1224472954372875</c:v>
                </c:pt>
                <c:pt idx="1226">
                  <c:v>1.1395224347551669</c:v>
                </c:pt>
                <c:pt idx="1227">
                  <c:v>1.0922654407713572</c:v>
                </c:pt>
                <c:pt idx="1228">
                  <c:v>1.1118195193817024</c:v>
                </c:pt>
                <c:pt idx="1229">
                  <c:v>1.1244926825477555</c:v>
                </c:pt>
                <c:pt idx="1230">
                  <c:v>1.1095750455057982</c:v>
                </c:pt>
                <c:pt idx="1231">
                  <c:v>1.1274834147670252</c:v>
                </c:pt>
                <c:pt idx="1232">
                  <c:v>1.1425951505939969</c:v>
                </c:pt>
                <c:pt idx="1233">
                  <c:v>1.1342266087515309</c:v>
                </c:pt>
                <c:pt idx="1234">
                  <c:v>1.2340539677835398</c:v>
                </c:pt>
                <c:pt idx="1235">
                  <c:v>1.1820955481928992</c:v>
                </c:pt>
                <c:pt idx="1236">
                  <c:v>1.146550298158304</c:v>
                </c:pt>
                <c:pt idx="1237">
                  <c:v>1.2297578959936055</c:v>
                </c:pt>
                <c:pt idx="1238">
                  <c:v>1.2231946114462997</c:v>
                </c:pt>
                <c:pt idx="1239">
                  <c:v>1.2963893714076991</c:v>
                </c:pt>
                <c:pt idx="1240">
                  <c:v>1.2492931334692159</c:v>
                </c:pt>
                <c:pt idx="1241">
                  <c:v>1.2409942713845197</c:v>
                </c:pt>
                <c:pt idx="1242">
                  <c:v>1.2767008488566396</c:v>
                </c:pt>
                <c:pt idx="1243">
                  <c:v>1.3542356286595894</c:v>
                </c:pt>
                <c:pt idx="1244">
                  <c:v>1.3495988761245992</c:v>
                </c:pt>
                <c:pt idx="1245">
                  <c:v>1.3942278380407611</c:v>
                </c:pt>
                <c:pt idx="1246">
                  <c:v>1.3993579808686154</c:v>
                </c:pt>
                <c:pt idx="1247">
                  <c:v>1.3563737999008496</c:v>
                </c:pt>
                <c:pt idx="1248">
                  <c:v>1.3787879484882912</c:v>
                </c:pt>
                <c:pt idx="1249">
                  <c:v>1.3084868860766175</c:v>
                </c:pt>
                <c:pt idx="1250">
                  <c:v>1.3446874610169055</c:v>
                </c:pt>
                <c:pt idx="1251">
                  <c:v>1.3761931500363227</c:v>
                </c:pt>
                <c:pt idx="1252">
                  <c:v>1.2997796453386943</c:v>
                </c:pt>
                <c:pt idx="1253">
                  <c:v>1.3068004710989232</c:v>
                </c:pt>
                <c:pt idx="1254">
                  <c:v>1.3227361488748355</c:v>
                </c:pt>
                <c:pt idx="1255">
                  <c:v>1.2678092245622201</c:v>
                </c:pt>
                <c:pt idx="1256">
                  <c:v>1.1846180819150109</c:v>
                </c:pt>
                <c:pt idx="1257">
                  <c:v>1.2054341040929382</c:v>
                </c:pt>
                <c:pt idx="1258">
                  <c:v>1.2110506979905706</c:v>
                </c:pt>
                <c:pt idx="1259">
                  <c:v>1.1356229745077742</c:v>
                </c:pt>
                <c:pt idx="1260">
                  <c:v>1.1040468922241864</c:v>
                </c:pt>
                <c:pt idx="1261">
                  <c:v>0.95547328345815041</c:v>
                </c:pt>
                <c:pt idx="1262">
                  <c:v>0.96132146835345411</c:v>
                </c:pt>
                <c:pt idx="1263">
                  <c:v>0.93457126441800131</c:v>
                </c:pt>
                <c:pt idx="1264">
                  <c:v>0.92098029981301865</c:v>
                </c:pt>
                <c:pt idx="1265">
                  <c:v>0.91306261194582561</c:v>
                </c:pt>
                <c:pt idx="1266">
                  <c:v>0.86945913958178533</c:v>
                </c:pt>
                <c:pt idx="1267">
                  <c:v>0.84714673239462857</c:v>
                </c:pt>
                <c:pt idx="1268">
                  <c:v>0.86639535983304405</c:v>
                </c:pt>
                <c:pt idx="1269">
                  <c:v>0.85873496908326519</c:v>
                </c:pt>
                <c:pt idx="1270">
                  <c:v>0.85453415419727663</c:v>
                </c:pt>
                <c:pt idx="1271">
                  <c:v>0.85508754677148568</c:v>
                </c:pt>
                <c:pt idx="1272">
                  <c:v>0.85560787022222207</c:v>
                </c:pt>
                <c:pt idx="1273">
                  <c:v>0.87533120168521217</c:v>
                </c:pt>
                <c:pt idx="1274">
                  <c:v>0.88017115629167009</c:v>
                </c:pt>
                <c:pt idx="1275">
                  <c:v>0.89394746432076022</c:v>
                </c:pt>
                <c:pt idx="1276">
                  <c:v>1.0459805936530799</c:v>
                </c:pt>
                <c:pt idx="1277">
                  <c:v>1.198599565968647</c:v>
                </c:pt>
                <c:pt idx="1278">
                  <c:v>1.2710969558866734</c:v>
                </c:pt>
                <c:pt idx="1279">
                  <c:v>1.3352306615488685</c:v>
                </c:pt>
                <c:pt idx="1280">
                  <c:v>1.3856391529070489</c:v>
                </c:pt>
                <c:pt idx="1281">
                  <c:v>1.3380463112443011</c:v>
                </c:pt>
                <c:pt idx="1282">
                  <c:v>1.4244650538553658</c:v>
                </c:pt>
                <c:pt idx="1283">
                  <c:v>1.4603399068977603</c:v>
                </c:pt>
                <c:pt idx="1284">
                  <c:v>1.4210085862861099</c:v>
                </c:pt>
                <c:pt idx="1285">
                  <c:v>1.4377872926307886</c:v>
                </c:pt>
                <c:pt idx="1286">
                  <c:v>1.4369083990033724</c:v>
                </c:pt>
                <c:pt idx="1287">
                  <c:v>1.3976412395471007</c:v>
                </c:pt>
                <c:pt idx="1288">
                  <c:v>1.394636235684795</c:v>
                </c:pt>
                <c:pt idx="1289">
                  <c:v>1.4019410189767803</c:v>
                </c:pt>
                <c:pt idx="1290">
                  <c:v>1.3883631725346841</c:v>
                </c:pt>
                <c:pt idx="1291">
                  <c:v>1.3856598909304301</c:v>
                </c:pt>
                <c:pt idx="1292">
                  <c:v>1.3496148875985268</c:v>
                </c:pt>
                <c:pt idx="1293">
                  <c:v>1.3465197370624944</c:v>
                </c:pt>
                <c:pt idx="1294">
                  <c:v>1.3686120160858997</c:v>
                </c:pt>
                <c:pt idx="1295">
                  <c:v>1.3120127995590956</c:v>
                </c:pt>
                <c:pt idx="1296">
                  <c:v>1.2697582809157109</c:v>
                </c:pt>
                <c:pt idx="1297">
                  <c:v>1.2732097641191236</c:v>
                </c:pt>
                <c:pt idx="1298">
                  <c:v>1.215402114055498</c:v>
                </c:pt>
                <c:pt idx="1299">
                  <c:v>1.2101762482069034</c:v>
                </c:pt>
                <c:pt idx="1300">
                  <c:v>1.2559158859747244</c:v>
                </c:pt>
                <c:pt idx="1301">
                  <c:v>1.2726375905109859</c:v>
                </c:pt>
                <c:pt idx="1302">
                  <c:v>1.2336901006200121</c:v>
                </c:pt>
                <c:pt idx="1303">
                  <c:v>1.2770129028412309</c:v>
                </c:pt>
                <c:pt idx="1304">
                  <c:v>1.176636009499358</c:v>
                </c:pt>
                <c:pt idx="1305">
                  <c:v>1.1841246827795688</c:v>
                </c:pt>
                <c:pt idx="1306">
                  <c:v>1.1712555401063782</c:v>
                </c:pt>
                <c:pt idx="1307">
                  <c:v>1.1822552479326816</c:v>
                </c:pt>
                <c:pt idx="1308">
                  <c:v>1.1773996772549238</c:v>
                </c:pt>
                <c:pt idx="1309">
                  <c:v>1.2104029916927874</c:v>
                </c:pt>
                <c:pt idx="1310">
                  <c:v>1.1908374335329939</c:v>
                </c:pt>
                <c:pt idx="1311">
                  <c:v>1.2280652946061508</c:v>
                </c:pt>
                <c:pt idx="1312">
                  <c:v>1.1810671192738731</c:v>
                </c:pt>
                <c:pt idx="1313">
                  <c:v>1.1717937914390792</c:v>
                </c:pt>
                <c:pt idx="1314">
                  <c:v>1.1645410521183721</c:v>
                </c:pt>
                <c:pt idx="1315">
                  <c:v>1.2106501055882828</c:v>
                </c:pt>
                <c:pt idx="1316">
                  <c:v>1.2088714695471383</c:v>
                </c:pt>
                <c:pt idx="1317">
                  <c:v>1.2117103424593638</c:v>
                </c:pt>
                <c:pt idx="1318">
                  <c:v>1.2005271351780644</c:v>
                </c:pt>
                <c:pt idx="1319">
                  <c:v>1.212128175006125</c:v>
                </c:pt>
                <c:pt idx="1320">
                  <c:v>1.2018462808357071</c:v>
                </c:pt>
                <c:pt idx="1321">
                  <c:v>1.1797461737521164</c:v>
                </c:pt>
                <c:pt idx="1322">
                  <c:v>1.1816180704304657</c:v>
                </c:pt>
                <c:pt idx="1323">
                  <c:v>1.1850377558367589</c:v>
                </c:pt>
                <c:pt idx="1324">
                  <c:v>1.216831621631481</c:v>
                </c:pt>
                <c:pt idx="1325">
                  <c:v>1.2210705685312926</c:v>
                </c:pt>
                <c:pt idx="1326">
                  <c:v>1.211707069793895</c:v>
                </c:pt>
                <c:pt idx="1327">
                  <c:v>1.1877933273536045</c:v>
                </c:pt>
                <c:pt idx="1328">
                  <c:v>1.1457194697866822</c:v>
                </c:pt>
                <c:pt idx="1329">
                  <c:v>1.1630147605827426</c:v>
                </c:pt>
                <c:pt idx="1330">
                  <c:v>1.146911695285042</c:v>
                </c:pt>
                <c:pt idx="1331">
                  <c:v>1.1554532871780558</c:v>
                </c:pt>
                <c:pt idx="1332">
                  <c:v>1.138666744057711</c:v>
                </c:pt>
                <c:pt idx="1333">
                  <c:v>1.1157243922852229</c:v>
                </c:pt>
                <c:pt idx="1334">
                  <c:v>1.1389369917885572</c:v>
                </c:pt>
                <c:pt idx="1335">
                  <c:v>1.0981794757322412</c:v>
                </c:pt>
                <c:pt idx="1336">
                  <c:v>1.1078289838559308</c:v>
                </c:pt>
                <c:pt idx="1337">
                  <c:v>1.0943439224894773</c:v>
                </c:pt>
                <c:pt idx="1338">
                  <c:v>1.1005614554587031</c:v>
                </c:pt>
                <c:pt idx="1339">
                  <c:v>1.0705136805430768</c:v>
                </c:pt>
                <c:pt idx="1340">
                  <c:v>1.1298243175404517</c:v>
                </c:pt>
                <c:pt idx="1341">
                  <c:v>1.1176581119342419</c:v>
                </c:pt>
                <c:pt idx="1342">
                  <c:v>1.1662753366677789</c:v>
                </c:pt>
                <c:pt idx="1343">
                  <c:v>1.1931326486360936</c:v>
                </c:pt>
                <c:pt idx="1344">
                  <c:v>1.2174747277227889</c:v>
                </c:pt>
                <c:pt idx="1345">
                  <c:v>1.1951323208615088</c:v>
                </c:pt>
                <c:pt idx="1346">
                  <c:v>1.1941151198859474</c:v>
                </c:pt>
                <c:pt idx="1347">
                  <c:v>1.1876708104618001</c:v>
                </c:pt>
                <c:pt idx="1348">
                  <c:v>1.1985777491217064</c:v>
                </c:pt>
                <c:pt idx="1349">
                  <c:v>1.1958049758342228</c:v>
                </c:pt>
                <c:pt idx="1350">
                  <c:v>1.1850590945059514</c:v>
                </c:pt>
                <c:pt idx="1351">
                  <c:v>1.1974021688735115</c:v>
                </c:pt>
                <c:pt idx="1352">
                  <c:v>1.2064159897107987</c:v>
                </c:pt>
                <c:pt idx="1353">
                  <c:v>1.2453020221764608</c:v>
                </c:pt>
                <c:pt idx="1354">
                  <c:v>1.2242898011669376</c:v>
                </c:pt>
                <c:pt idx="1355">
                  <c:v>1.2319570917292815</c:v>
                </c:pt>
                <c:pt idx="1356">
                  <c:v>1.2726746204962103</c:v>
                </c:pt>
                <c:pt idx="1357">
                  <c:v>1.2721624272785732</c:v>
                </c:pt>
                <c:pt idx="1358">
                  <c:v>1.2791378651892535</c:v>
                </c:pt>
                <c:pt idx="1359">
                  <c:v>1.2627856453915278</c:v>
                </c:pt>
                <c:pt idx="1360">
                  <c:v>1.2336340577763523</c:v>
                </c:pt>
                <c:pt idx="1361">
                  <c:v>1.2116672279402334</c:v>
                </c:pt>
                <c:pt idx="1362">
                  <c:v>1.2090689873170826</c:v>
                </c:pt>
                <c:pt idx="1363">
                  <c:v>1.2095729749003143</c:v>
                </c:pt>
                <c:pt idx="1364">
                  <c:v>1.1900179173769452</c:v>
                </c:pt>
                <c:pt idx="1365">
                  <c:v>1.1882258096475791</c:v>
                </c:pt>
                <c:pt idx="1366">
                  <c:v>1.1944640504494444</c:v>
                </c:pt>
                <c:pt idx="1367">
                  <c:v>1.2104786267204919</c:v>
                </c:pt>
                <c:pt idx="1368">
                  <c:v>1.2262731596463188</c:v>
                </c:pt>
                <c:pt idx="1369">
                  <c:v>1.2540866988672923</c:v>
                </c:pt>
                <c:pt idx="1370">
                  <c:v>1.1850224790534858</c:v>
                </c:pt>
                <c:pt idx="1371">
                  <c:v>1.1794941444456644</c:v>
                </c:pt>
                <c:pt idx="1372">
                  <c:v>1.1631370581715441</c:v>
                </c:pt>
                <c:pt idx="1373">
                  <c:v>1.1533816347602812</c:v>
                </c:pt>
                <c:pt idx="1374">
                  <c:v>1.1132684095599485</c:v>
                </c:pt>
                <c:pt idx="1375">
                  <c:v>1.1052624382793725</c:v>
                </c:pt>
                <c:pt idx="1376">
                  <c:v>1.1045434382117127</c:v>
                </c:pt>
                <c:pt idx="1377">
                  <c:v>1.1650571492075141</c:v>
                </c:pt>
                <c:pt idx="1378">
                  <c:v>1.212495716309532</c:v>
                </c:pt>
                <c:pt idx="1379">
                  <c:v>1.2021898123123429</c:v>
                </c:pt>
                <c:pt idx="1380">
                  <c:v>1.2453691692892079</c:v>
                </c:pt>
                <c:pt idx="1381">
                  <c:v>1.243214271209083</c:v>
                </c:pt>
                <c:pt idx="1382">
                  <c:v>1.2616402842714527</c:v>
                </c:pt>
                <c:pt idx="1383">
                  <c:v>1.2544963270104694</c:v>
                </c:pt>
                <c:pt idx="1384">
                  <c:v>1.2146027684216232</c:v>
                </c:pt>
                <c:pt idx="1385">
                  <c:v>1.2283475957936152</c:v>
                </c:pt>
                <c:pt idx="1386">
                  <c:v>1.2169774126862447</c:v>
                </c:pt>
                <c:pt idx="1387">
                  <c:v>1.2508355368432271</c:v>
                </c:pt>
                <c:pt idx="1388">
                  <c:v>1.2734787634348441</c:v>
                </c:pt>
                <c:pt idx="1389">
                  <c:v>1.257380281543254</c:v>
                </c:pt>
                <c:pt idx="1390">
                  <c:v>1.263420325758704</c:v>
                </c:pt>
                <c:pt idx="1391">
                  <c:v>1.2647104070865798</c:v>
                </c:pt>
                <c:pt idx="1392">
                  <c:v>1.2807969860755566</c:v>
                </c:pt>
                <c:pt idx="1393">
                  <c:v>1.2856870787123185</c:v>
                </c:pt>
                <c:pt idx="1394">
                  <c:v>1.2679370973193504</c:v>
                </c:pt>
                <c:pt idx="1395">
                  <c:v>1.267025841393387</c:v>
                </c:pt>
                <c:pt idx="1396">
                  <c:v>1.294092012930701</c:v>
                </c:pt>
                <c:pt idx="1397">
                  <c:v>1.2564793451655247</c:v>
                </c:pt>
                <c:pt idx="1398">
                  <c:v>1.2111137175268096</c:v>
                </c:pt>
                <c:pt idx="1399">
                  <c:v>1.2189485293651157</c:v>
                </c:pt>
                <c:pt idx="1400">
                  <c:v>1.2353929990367296</c:v>
                </c:pt>
                <c:pt idx="1401">
                  <c:v>1.2323634428091466</c:v>
                </c:pt>
                <c:pt idx="1402">
                  <c:v>1.2048686674269216</c:v>
                </c:pt>
                <c:pt idx="1403">
                  <c:v>1.185736155257592</c:v>
                </c:pt>
                <c:pt idx="1404">
                  <c:v>1.191151090139378</c:v>
                </c:pt>
                <c:pt idx="1405">
                  <c:v>1.2049394986480848</c:v>
                </c:pt>
                <c:pt idx="1406">
                  <c:v>1.2064644366004362</c:v>
                </c:pt>
                <c:pt idx="1407">
                  <c:v>1.1949905496668594</c:v>
                </c:pt>
                <c:pt idx="1408">
                  <c:v>1.1664200560374618</c:v>
                </c:pt>
                <c:pt idx="1409">
                  <c:v>1.1667768749259935</c:v>
                </c:pt>
                <c:pt idx="1410">
                  <c:v>1.1520817739175906</c:v>
                </c:pt>
                <c:pt idx="1411">
                  <c:v>1.1757842088355863</c:v>
                </c:pt>
                <c:pt idx="1412">
                  <c:v>1.1663066768083838</c:v>
                </c:pt>
                <c:pt idx="1413">
                  <c:v>1.1230326348110165</c:v>
                </c:pt>
                <c:pt idx="1414">
                  <c:v>1.130783931107342</c:v>
                </c:pt>
                <c:pt idx="1415">
                  <c:v>1.0871204714934908</c:v>
                </c:pt>
                <c:pt idx="1416">
                  <c:v>1.0911396551892136</c:v>
                </c:pt>
                <c:pt idx="1417">
                  <c:v>1.0619738724409025</c:v>
                </c:pt>
                <c:pt idx="1418">
                  <c:v>1.0693332867543772</c:v>
                </c:pt>
                <c:pt idx="1419">
                  <c:v>1.1106591187942949</c:v>
                </c:pt>
                <c:pt idx="1420">
                  <c:v>1.0971671463940382</c:v>
                </c:pt>
                <c:pt idx="1421">
                  <c:v>1.1010809735640823</c:v>
                </c:pt>
                <c:pt idx="1422">
                  <c:v>1.0921454157736519</c:v>
                </c:pt>
                <c:pt idx="1423">
                  <c:v>1.1048782114192341</c:v>
                </c:pt>
                <c:pt idx="1424">
                  <c:v>1.1054080226557634</c:v>
                </c:pt>
                <c:pt idx="1425">
                  <c:v>1.1051781985610796</c:v>
                </c:pt>
                <c:pt idx="1426">
                  <c:v>1.0537859496056152</c:v>
                </c:pt>
                <c:pt idx="1427">
                  <c:v>1.0992204134027808</c:v>
                </c:pt>
                <c:pt idx="1428">
                  <c:v>1.0842151141692797</c:v>
                </c:pt>
                <c:pt idx="1429">
                  <c:v>1.1202945528107653</c:v>
                </c:pt>
                <c:pt idx="1430">
                  <c:v>1.1056584349213121</c:v>
                </c:pt>
                <c:pt idx="1431">
                  <c:v>1.1234481506177481</c:v>
                </c:pt>
                <c:pt idx="1432">
                  <c:v>1.124566838703972</c:v>
                </c:pt>
                <c:pt idx="1433">
                  <c:v>1.1339026291590451</c:v>
                </c:pt>
                <c:pt idx="1434">
                  <c:v>1.1455117814231819</c:v>
                </c:pt>
                <c:pt idx="1435">
                  <c:v>1.1394995876896263</c:v>
                </c:pt>
                <c:pt idx="1436">
                  <c:v>1.1400928072729009</c:v>
                </c:pt>
                <c:pt idx="1437">
                  <c:v>1.1282086299278515</c:v>
                </c:pt>
                <c:pt idx="1438">
                  <c:v>1.1247845259804468</c:v>
                </c:pt>
                <c:pt idx="1439">
                  <c:v>1.118539945283763</c:v>
                </c:pt>
                <c:pt idx="1440">
                  <c:v>1.1098359100004098</c:v>
                </c:pt>
                <c:pt idx="1441">
                  <c:v>1.0611889341785417</c:v>
                </c:pt>
                <c:pt idx="1442">
                  <c:v>1.0622672023532511</c:v>
                </c:pt>
                <c:pt idx="1443">
                  <c:v>1.0632094656351083</c:v>
                </c:pt>
                <c:pt idx="1444">
                  <c:v>1.1066737986198665</c:v>
                </c:pt>
                <c:pt idx="1445">
                  <c:v>1.1219947855719186</c:v>
                </c:pt>
                <c:pt idx="1446">
                  <c:v>1.1294244287378798</c:v>
                </c:pt>
                <c:pt idx="1447">
                  <c:v>1.1659463622054964</c:v>
                </c:pt>
                <c:pt idx="1448">
                  <c:v>1.1289003906253305</c:v>
                </c:pt>
                <c:pt idx="1449">
                  <c:v>1.1063256468064049</c:v>
                </c:pt>
                <c:pt idx="1450">
                  <c:v>1.1129476240116174</c:v>
                </c:pt>
                <c:pt idx="1451">
                  <c:v>1.1340685073267602</c:v>
                </c:pt>
                <c:pt idx="1452">
                  <c:v>1.1057501224658914</c:v>
                </c:pt>
                <c:pt idx="1453">
                  <c:v>1.0801140850769468</c:v>
                </c:pt>
                <c:pt idx="1454">
                  <c:v>1.0903967431496047</c:v>
                </c:pt>
                <c:pt idx="1455">
                  <c:v>1.0989964073864285</c:v>
                </c:pt>
                <c:pt idx="1456">
                  <c:v>1.0856315498680786</c:v>
                </c:pt>
                <c:pt idx="1457">
                  <c:v>1.0441022652163368</c:v>
                </c:pt>
                <c:pt idx="1458">
                  <c:v>1.099915148242506</c:v>
                </c:pt>
                <c:pt idx="1459">
                  <c:v>1.0575388908910759</c:v>
                </c:pt>
                <c:pt idx="1460">
                  <c:v>1.0609997995818115</c:v>
                </c:pt>
                <c:pt idx="1461">
                  <c:v>1.0282490417958203</c:v>
                </c:pt>
                <c:pt idx="1462">
                  <c:v>1.0484191164215584</c:v>
                </c:pt>
                <c:pt idx="1463">
                  <c:v>1.0157746605027813</c:v>
                </c:pt>
                <c:pt idx="1464">
                  <c:v>1.0298849952534872</c:v>
                </c:pt>
                <c:pt idx="1465">
                  <c:v>1.0484296412462204</c:v>
                </c:pt>
                <c:pt idx="1466">
                  <c:v>1.07649815413779</c:v>
                </c:pt>
                <c:pt idx="1467">
                  <c:v>1.0523043133124999</c:v>
                </c:pt>
                <c:pt idx="1468">
                  <c:v>1.1017238843019515</c:v>
                </c:pt>
                <c:pt idx="1469">
                  <c:v>1.1210219578068297</c:v>
                </c:pt>
                <c:pt idx="1470">
                  <c:v>1.12693812617636</c:v>
                </c:pt>
                <c:pt idx="1471">
                  <c:v>1.1189370982700759</c:v>
                </c:pt>
                <c:pt idx="1472">
                  <c:v>1.1028062949303159</c:v>
                </c:pt>
                <c:pt idx="1473">
                  <c:v>1.0920353768847495</c:v>
                </c:pt>
                <c:pt idx="1474">
                  <c:v>1.0670542219792201</c:v>
                </c:pt>
                <c:pt idx="1475">
                  <c:v>1.0766990849537443</c:v>
                </c:pt>
                <c:pt idx="1476">
                  <c:v>1.066862464069938</c:v>
                </c:pt>
                <c:pt idx="1477">
                  <c:v>1.0095833327403572</c:v>
                </c:pt>
                <c:pt idx="1478">
                  <c:v>1.0612222404747085</c:v>
                </c:pt>
                <c:pt idx="1479">
                  <c:v>1.0443644605389351</c:v>
                </c:pt>
                <c:pt idx="1480">
                  <c:v>1.0390776192617055</c:v>
                </c:pt>
                <c:pt idx="1481">
                  <c:v>1.0026212197758568</c:v>
                </c:pt>
                <c:pt idx="1482">
                  <c:v>1.0528112885011263</c:v>
                </c:pt>
                <c:pt idx="1483">
                  <c:v>1.0817979924883037</c:v>
                </c:pt>
                <c:pt idx="1484">
                  <c:v>1.0747180330555139</c:v>
                </c:pt>
                <c:pt idx="1485">
                  <c:v>1.134162762752239</c:v>
                </c:pt>
                <c:pt idx="1486">
                  <c:v>1.1776222390609956</c:v>
                </c:pt>
                <c:pt idx="1487">
                  <c:v>1.1778411968756526</c:v>
                </c:pt>
                <c:pt idx="1488">
                  <c:v>1.1732174544398399</c:v>
                </c:pt>
                <c:pt idx="1489">
                  <c:v>1.1639688347528303</c:v>
                </c:pt>
                <c:pt idx="1490">
                  <c:v>1.1662258608951737</c:v>
                </c:pt>
                <c:pt idx="1491">
                  <c:v>1.1776813377706776</c:v>
                </c:pt>
                <c:pt idx="1492">
                  <c:v>1.2056869077584897</c:v>
                </c:pt>
                <c:pt idx="1493">
                  <c:v>1.2105517408361273</c:v>
                </c:pt>
                <c:pt idx="1494">
                  <c:v>1.174520738649276</c:v>
                </c:pt>
                <c:pt idx="1495">
                  <c:v>1.1637999591113524</c:v>
                </c:pt>
                <c:pt idx="1496">
                  <c:v>1.1288527387339442</c:v>
                </c:pt>
                <c:pt idx="1497">
                  <c:v>1.1813189589431894</c:v>
                </c:pt>
                <c:pt idx="1498">
                  <c:v>1.179714021453417</c:v>
                </c:pt>
                <c:pt idx="1499">
                  <c:v>1.1652833013537063</c:v>
                </c:pt>
                <c:pt idx="1500">
                  <c:v>1.1823549946328864</c:v>
                </c:pt>
                <c:pt idx="1501">
                  <c:v>1.2039781282620265</c:v>
                </c:pt>
                <c:pt idx="1502">
                  <c:v>1.2007741276972643</c:v>
                </c:pt>
                <c:pt idx="1503">
                  <c:v>1.1994129311085255</c:v>
                </c:pt>
                <c:pt idx="1504">
                  <c:v>1.1908349239470404</c:v>
                </c:pt>
                <c:pt idx="1505">
                  <c:v>1.2079973452813944</c:v>
                </c:pt>
                <c:pt idx="1506">
                  <c:v>1.2253455529514647</c:v>
                </c:pt>
                <c:pt idx="1507">
                  <c:v>1.2255320683583566</c:v>
                </c:pt>
                <c:pt idx="1508">
                  <c:v>1.1703296028514125</c:v>
                </c:pt>
                <c:pt idx="1509">
                  <c:v>1.1493160884910503</c:v>
                </c:pt>
                <c:pt idx="1510">
                  <c:v>1.1825612180698126</c:v>
                </c:pt>
                <c:pt idx="1511">
                  <c:v>1.2311579448054057</c:v>
                </c:pt>
                <c:pt idx="1512">
                  <c:v>1.1982830629073311</c:v>
                </c:pt>
                <c:pt idx="1513">
                  <c:v>1.1723141962429029</c:v>
                </c:pt>
                <c:pt idx="1514">
                  <c:v>1.2223087256048102</c:v>
                </c:pt>
                <c:pt idx="1515">
                  <c:v>1.1615109066241682</c:v>
                </c:pt>
                <c:pt idx="1516">
                  <c:v>1.112137891475321</c:v>
                </c:pt>
                <c:pt idx="1517">
                  <c:v>1.1140350187442523</c:v>
                </c:pt>
                <c:pt idx="1518">
                  <c:v>1.0754664852609497</c:v>
                </c:pt>
                <c:pt idx="1519">
                  <c:v>1.077950428561899</c:v>
                </c:pt>
                <c:pt idx="1520">
                  <c:v>1.0519980442270185</c:v>
                </c:pt>
                <c:pt idx="1521">
                  <c:v>1.0582090704495069</c:v>
                </c:pt>
                <c:pt idx="1522">
                  <c:v>1.0049941956714648</c:v>
                </c:pt>
                <c:pt idx="1523">
                  <c:v>0.9915044298855954</c:v>
                </c:pt>
                <c:pt idx="1524">
                  <c:v>0.99137869865048645</c:v>
                </c:pt>
                <c:pt idx="1525">
                  <c:v>0.97761121012441343</c:v>
                </c:pt>
                <c:pt idx="1526">
                  <c:v>0.99478779577389786</c:v>
                </c:pt>
                <c:pt idx="1527">
                  <c:v>0.91546759611699569</c:v>
                </c:pt>
                <c:pt idx="1528">
                  <c:v>0.94037923384572697</c:v>
                </c:pt>
                <c:pt idx="1529">
                  <c:v>0.95024110673004469</c:v>
                </c:pt>
                <c:pt idx="1530">
                  <c:v>0.91072416556668068</c:v>
                </c:pt>
                <c:pt idx="1531">
                  <c:v>0.8920105148599371</c:v>
                </c:pt>
                <c:pt idx="1532">
                  <c:v>0.97943591553693732</c:v>
                </c:pt>
                <c:pt idx="1533">
                  <c:v>0.97851570682628675</c:v>
                </c:pt>
                <c:pt idx="1534">
                  <c:v>0.97790745395755485</c:v>
                </c:pt>
                <c:pt idx="1535">
                  <c:v>0.95705781182351479</c:v>
                </c:pt>
                <c:pt idx="1536">
                  <c:v>0.95632444117130544</c:v>
                </c:pt>
                <c:pt idx="1537">
                  <c:v>0.96983000050785095</c:v>
                </c:pt>
                <c:pt idx="1538">
                  <c:v>0.98546919801173172</c:v>
                </c:pt>
                <c:pt idx="1539">
                  <c:v>1.0491123779696794</c:v>
                </c:pt>
                <c:pt idx="1540">
                  <c:v>1.014328156562462</c:v>
                </c:pt>
                <c:pt idx="1541">
                  <c:v>0.95280131445521565</c:v>
                </c:pt>
                <c:pt idx="1542">
                  <c:v>0.94985546389903486</c:v>
                </c:pt>
                <c:pt idx="1543">
                  <c:v>0.94811949389971073</c:v>
                </c:pt>
                <c:pt idx="1544">
                  <c:v>0.91618204535446168</c:v>
                </c:pt>
                <c:pt idx="1545">
                  <c:v>0.94536503926856963</c:v>
                </c:pt>
                <c:pt idx="1546">
                  <c:v>0.98127854669655168</c:v>
                </c:pt>
                <c:pt idx="1547">
                  <c:v>1.0011301659601521</c:v>
                </c:pt>
                <c:pt idx="1548">
                  <c:v>1.0029086434598302</c:v>
                </c:pt>
                <c:pt idx="1549">
                  <c:v>1.0202093542194079</c:v>
                </c:pt>
                <c:pt idx="1550">
                  <c:v>1.0572197870646007</c:v>
                </c:pt>
                <c:pt idx="1551">
                  <c:v>1.0507328586419504</c:v>
                </c:pt>
                <c:pt idx="1552">
                  <c:v>1.0533340608174411</c:v>
                </c:pt>
                <c:pt idx="1553">
                  <c:v>1.0577821082367327</c:v>
                </c:pt>
                <c:pt idx="1554">
                  <c:v>1.0753954632128826</c:v>
                </c:pt>
                <c:pt idx="1555">
                  <c:v>1.0769676459136679</c:v>
                </c:pt>
                <c:pt idx="1556">
                  <c:v>1.0943008579984261</c:v>
                </c:pt>
                <c:pt idx="1557">
                  <c:v>1.0725392043312849</c:v>
                </c:pt>
                <c:pt idx="1558">
                  <c:v>1.0588651483068325</c:v>
                </c:pt>
                <c:pt idx="1559">
                  <c:v>1.0505453427822042</c:v>
                </c:pt>
                <c:pt idx="1560">
                  <c:v>1.0385996319093795</c:v>
                </c:pt>
                <c:pt idx="1561">
                  <c:v>1.0461816725378161</c:v>
                </c:pt>
                <c:pt idx="1562">
                  <c:v>1.0089425441873607</c:v>
                </c:pt>
                <c:pt idx="1563">
                  <c:v>1.0417681697672614</c:v>
                </c:pt>
                <c:pt idx="1564">
                  <c:v>1.0416007243495544</c:v>
                </c:pt>
                <c:pt idx="1565">
                  <c:v>1.0699329122807693</c:v>
                </c:pt>
                <c:pt idx="1566">
                  <c:v>1.0616835470247188</c:v>
                </c:pt>
                <c:pt idx="1567">
                  <c:v>1.0320022387037995</c:v>
                </c:pt>
                <c:pt idx="1568">
                  <c:v>1.0376722956229716</c:v>
                </c:pt>
                <c:pt idx="1569">
                  <c:v>1.0113746193620121</c:v>
                </c:pt>
                <c:pt idx="1570">
                  <c:v>1.0417408617254609</c:v>
                </c:pt>
                <c:pt idx="1571">
                  <c:v>1.0656412456205966</c:v>
                </c:pt>
                <c:pt idx="1572">
                  <c:v>1.1100574697766317</c:v>
                </c:pt>
                <c:pt idx="1573">
                  <c:v>1.1377336314322237</c:v>
                </c:pt>
                <c:pt idx="1574">
                  <c:v>1.1255029016440592</c:v>
                </c:pt>
                <c:pt idx="1575">
                  <c:v>1.1022559937972984</c:v>
                </c:pt>
                <c:pt idx="1576">
                  <c:v>1.1236713226648225</c:v>
                </c:pt>
                <c:pt idx="1577">
                  <c:v>1.1121843992481806</c:v>
                </c:pt>
                <c:pt idx="1578">
                  <c:v>1.1023442105897285</c:v>
                </c:pt>
                <c:pt idx="1579">
                  <c:v>1.1356440777216996</c:v>
                </c:pt>
                <c:pt idx="1580">
                  <c:v>1.1401026370412919</c:v>
                </c:pt>
                <c:pt idx="1581">
                  <c:v>1.1849671415008873</c:v>
                </c:pt>
                <c:pt idx="1582">
                  <c:v>1.2233778375192743</c:v>
                </c:pt>
                <c:pt idx="1583">
                  <c:v>1.2540474701825555</c:v>
                </c:pt>
                <c:pt idx="1584">
                  <c:v>1.2309191500756624</c:v>
                </c:pt>
                <c:pt idx="1585">
                  <c:v>1.2571560680004481</c:v>
                </c:pt>
                <c:pt idx="1586">
                  <c:v>1.2788507771999162</c:v>
                </c:pt>
                <c:pt idx="1587">
                  <c:v>1.2816433416408859</c:v>
                </c:pt>
                <c:pt idx="1588">
                  <c:v>1.2656716448762215</c:v>
                </c:pt>
                <c:pt idx="1589">
                  <c:v>1.3158391405024261</c:v>
                </c:pt>
                <c:pt idx="1590">
                  <c:v>1.3409736126729188</c:v>
                </c:pt>
                <c:pt idx="1591">
                  <c:v>1.387644328208492</c:v>
                </c:pt>
                <c:pt idx="1592">
                  <c:v>1.3843283777598674</c:v>
                </c:pt>
                <c:pt idx="1593">
                  <c:v>1.341759866827849</c:v>
                </c:pt>
                <c:pt idx="1594">
                  <c:v>1.3416529520252853</c:v>
                </c:pt>
                <c:pt idx="1595">
                  <c:v>1.370104283303442</c:v>
                </c:pt>
                <c:pt idx="1596">
                  <c:v>1.4009415553046145</c:v>
                </c:pt>
                <c:pt idx="1597">
                  <c:v>1.4011042033002932</c:v>
                </c:pt>
                <c:pt idx="1598">
                  <c:v>1.3982020063548453</c:v>
                </c:pt>
                <c:pt idx="1599">
                  <c:v>1.4038461536039151</c:v>
                </c:pt>
                <c:pt idx="1600">
                  <c:v>1.4178306239325347</c:v>
                </c:pt>
                <c:pt idx="1601">
                  <c:v>1.4248880173785472</c:v>
                </c:pt>
                <c:pt idx="1602">
                  <c:v>1.3967906152994107</c:v>
                </c:pt>
                <c:pt idx="1603">
                  <c:v>1.3625232255744801</c:v>
                </c:pt>
                <c:pt idx="1604">
                  <c:v>1.3960237458046962</c:v>
                </c:pt>
                <c:pt idx="1605">
                  <c:v>1.4003210223078284</c:v>
                </c:pt>
                <c:pt idx="1606">
                  <c:v>1.3786848639275724</c:v>
                </c:pt>
                <c:pt idx="1607">
                  <c:v>1.3917732012358055</c:v>
                </c:pt>
                <c:pt idx="1608">
                  <c:v>1.4116671484209853</c:v>
                </c:pt>
                <c:pt idx="1609">
                  <c:v>1.3779720231382508</c:v>
                </c:pt>
                <c:pt idx="1610">
                  <c:v>1.3797710954582538</c:v>
                </c:pt>
                <c:pt idx="1611">
                  <c:v>1.3773886670906967</c:v>
                </c:pt>
                <c:pt idx="1612">
                  <c:v>1.3448994322099406</c:v>
                </c:pt>
                <c:pt idx="1613">
                  <c:v>1.356634993558373</c:v>
                </c:pt>
                <c:pt idx="1614">
                  <c:v>1.3607847634412258</c:v>
                </c:pt>
                <c:pt idx="1615">
                  <c:v>1.3493591923150252</c:v>
                </c:pt>
                <c:pt idx="1616">
                  <c:v>1.3220144851137503</c:v>
                </c:pt>
                <c:pt idx="1617">
                  <c:v>1.314550270546206</c:v>
                </c:pt>
                <c:pt idx="1618">
                  <c:v>1.3095993947435391</c:v>
                </c:pt>
                <c:pt idx="1619">
                  <c:v>1.302567579379502</c:v>
                </c:pt>
                <c:pt idx="1620">
                  <c:v>1.302567579379502</c:v>
                </c:pt>
                <c:pt idx="1621">
                  <c:v>1.2883020992184149</c:v>
                </c:pt>
                <c:pt idx="1622">
                  <c:v>1.284255855913562</c:v>
                </c:pt>
                <c:pt idx="1623">
                  <c:v>1.2965703654810556</c:v>
                </c:pt>
                <c:pt idx="1624">
                  <c:v>1.2855093806799283</c:v>
                </c:pt>
                <c:pt idx="1625">
                  <c:v>1.2905668361695533</c:v>
                </c:pt>
                <c:pt idx="1626">
                  <c:v>1.2344017118454176</c:v>
                </c:pt>
                <c:pt idx="1627">
                  <c:v>1.2755740650398548</c:v>
                </c:pt>
                <c:pt idx="1628">
                  <c:v>1.2785516680275746</c:v>
                </c:pt>
                <c:pt idx="1629">
                  <c:v>1.2731523010265489</c:v>
                </c:pt>
                <c:pt idx="1630">
                  <c:v>1.2409203573692125</c:v>
                </c:pt>
                <c:pt idx="1631">
                  <c:v>1.2092064938742211</c:v>
                </c:pt>
                <c:pt idx="1632">
                  <c:v>1.2189620608317255</c:v>
                </c:pt>
                <c:pt idx="1633">
                  <c:v>1.2105299020173612</c:v>
                </c:pt>
                <c:pt idx="1634">
                  <c:v>1.178797556054864</c:v>
                </c:pt>
                <c:pt idx="1635">
                  <c:v>1.1856577785415543</c:v>
                </c:pt>
                <c:pt idx="1636">
                  <c:v>1.159263539503848</c:v>
                </c:pt>
                <c:pt idx="1637">
                  <c:v>1.0970868426108691</c:v>
                </c:pt>
                <c:pt idx="1638">
                  <c:v>1.0700394234868607</c:v>
                </c:pt>
                <c:pt idx="1639">
                  <c:v>1.0722904907494633</c:v>
                </c:pt>
                <c:pt idx="1640">
                  <c:v>1.0129767786198205</c:v>
                </c:pt>
                <c:pt idx="1641">
                  <c:v>1.0189097734523809</c:v>
                </c:pt>
                <c:pt idx="1642">
                  <c:v>1.0349104020299948</c:v>
                </c:pt>
                <c:pt idx="1643">
                  <c:v>1.0024925258413735</c:v>
                </c:pt>
                <c:pt idx="1644">
                  <c:v>1.031764251786409</c:v>
                </c:pt>
                <c:pt idx="1645">
                  <c:v>1.0207011901336407</c:v>
                </c:pt>
                <c:pt idx="1646">
                  <c:v>1.0825143146302092</c:v>
                </c:pt>
                <c:pt idx="1647">
                  <c:v>1.0896533246019549</c:v>
                </c:pt>
                <c:pt idx="1648">
                  <c:v>1.0779271295183761</c:v>
                </c:pt>
                <c:pt idx="1649">
                  <c:v>1.0667020827453815</c:v>
                </c:pt>
                <c:pt idx="1650">
                  <c:v>1.0574272073531001</c:v>
                </c:pt>
                <c:pt idx="1651">
                  <c:v>1.034497156987922</c:v>
                </c:pt>
                <c:pt idx="1652">
                  <c:v>1.0588502222238279</c:v>
                </c:pt>
                <c:pt idx="1653">
                  <c:v>1.0458282753919006</c:v>
                </c:pt>
                <c:pt idx="1654">
                  <c:v>1.050365234781113</c:v>
                </c:pt>
                <c:pt idx="1655">
                  <c:v>1.0128203480732727</c:v>
                </c:pt>
                <c:pt idx="1656">
                  <c:v>1.0604438996796657</c:v>
                </c:pt>
                <c:pt idx="1657">
                  <c:v>1.0308427530953479</c:v>
                </c:pt>
                <c:pt idx="1658">
                  <c:v>1.0369936653948117</c:v>
                </c:pt>
                <c:pt idx="1659">
                  <c:v>1.0703359124673164</c:v>
                </c:pt>
                <c:pt idx="1660">
                  <c:v>1.0699032612838175</c:v>
                </c:pt>
                <c:pt idx="1661">
                  <c:v>1.0485798277539078</c:v>
                </c:pt>
                <c:pt idx="1662">
                  <c:v>1.0691552686610812</c:v>
                </c:pt>
                <c:pt idx="1663">
                  <c:v>1.0682984644730156</c:v>
                </c:pt>
                <c:pt idx="1664">
                  <c:v>1.0735379793484017</c:v>
                </c:pt>
                <c:pt idx="1665">
                  <c:v>1.0407846288633213</c:v>
                </c:pt>
                <c:pt idx="1666">
                  <c:v>1.0307176386259782</c:v>
                </c:pt>
                <c:pt idx="1667">
                  <c:v>1.0295378385079106</c:v>
                </c:pt>
                <c:pt idx="1668">
                  <c:v>1.0527531502694725</c:v>
                </c:pt>
                <c:pt idx="1669">
                  <c:v>1.0546235914013251</c:v>
                </c:pt>
                <c:pt idx="1670">
                  <c:v>1.03600670126089</c:v>
                </c:pt>
                <c:pt idx="1671">
                  <c:v>1.0330052686494251</c:v>
                </c:pt>
                <c:pt idx="1672">
                  <c:v>1.0142865110198307</c:v>
                </c:pt>
                <c:pt idx="1673">
                  <c:v>1.0112641457175235</c:v>
                </c:pt>
                <c:pt idx="1674">
                  <c:v>1.0228071019581808</c:v>
                </c:pt>
                <c:pt idx="1675">
                  <c:v>1.0179687347004263</c:v>
                </c:pt>
                <c:pt idx="1676">
                  <c:v>0.98756195789917667</c:v>
                </c:pt>
                <c:pt idx="1677">
                  <c:v>0.99053828394162691</c:v>
                </c:pt>
                <c:pt idx="1678">
                  <c:v>1.0230964943648326</c:v>
                </c:pt>
                <c:pt idx="1679">
                  <c:v>1.0368012256981542</c:v>
                </c:pt>
                <c:pt idx="1680">
                  <c:v>1.0080987567933388</c:v>
                </c:pt>
                <c:pt idx="1681">
                  <c:v>1.051786930479</c:v>
                </c:pt>
                <c:pt idx="1682">
                  <c:v>1.0419548934574854</c:v>
                </c:pt>
                <c:pt idx="1683">
                  <c:v>1.0511569980182591</c:v>
                </c:pt>
                <c:pt idx="1684">
                  <c:v>1.0486230160954209</c:v>
                </c:pt>
                <c:pt idx="1685">
                  <c:v>1.092474992480561</c:v>
                </c:pt>
                <c:pt idx="1686">
                  <c:v>1.0642171587225699</c:v>
                </c:pt>
                <c:pt idx="1687">
                  <c:v>1.0609579276003034</c:v>
                </c:pt>
                <c:pt idx="1688">
                  <c:v>1.0617985175889173</c:v>
                </c:pt>
                <c:pt idx="1689">
                  <c:v>1.0897084393353207</c:v>
                </c:pt>
                <c:pt idx="1690">
                  <c:v>1.1119747371644526</c:v>
                </c:pt>
                <c:pt idx="1691">
                  <c:v>1.1093518870022268</c:v>
                </c:pt>
                <c:pt idx="1692">
                  <c:v>1.0738616533682128</c:v>
                </c:pt>
                <c:pt idx="1693">
                  <c:v>1.1179381678458054</c:v>
                </c:pt>
                <c:pt idx="1694">
                  <c:v>1.1649667747223074</c:v>
                </c:pt>
                <c:pt idx="1695">
                  <c:v>1.1939141173217731</c:v>
                </c:pt>
                <c:pt idx="1696">
                  <c:v>1.2091806383216499</c:v>
                </c:pt>
                <c:pt idx="1697">
                  <c:v>1.2138401587665821</c:v>
                </c:pt>
                <c:pt idx="1698">
                  <c:v>1.1880634295540276</c:v>
                </c:pt>
                <c:pt idx="1699">
                  <c:v>1.1848810018334106</c:v>
                </c:pt>
                <c:pt idx="1700">
                  <c:v>1.2654990383607385</c:v>
                </c:pt>
                <c:pt idx="1701">
                  <c:v>1.3582765025837944</c:v>
                </c:pt>
                <c:pt idx="1702">
                  <c:v>1.3445676141293592</c:v>
                </c:pt>
                <c:pt idx="1703">
                  <c:v>1.3770174749932484</c:v>
                </c:pt>
                <c:pt idx="1704">
                  <c:v>1.3229947307042702</c:v>
                </c:pt>
                <c:pt idx="1705">
                  <c:v>1.3887770192494553</c:v>
                </c:pt>
                <c:pt idx="1706">
                  <c:v>1.3900948450235038</c:v>
                </c:pt>
                <c:pt idx="1707">
                  <c:v>1.3890097771144523</c:v>
                </c:pt>
                <c:pt idx="1708">
                  <c:v>1.3521566001260237</c:v>
                </c:pt>
                <c:pt idx="1709">
                  <c:v>1.3678473733504075</c:v>
                </c:pt>
                <c:pt idx="1710">
                  <c:v>1.4196646843857015</c:v>
                </c:pt>
                <c:pt idx="1711">
                  <c:v>1.4033842920826669</c:v>
                </c:pt>
                <c:pt idx="1712">
                  <c:v>1.3735091813542302</c:v>
                </c:pt>
                <c:pt idx="1713">
                  <c:v>1.410020175937821</c:v>
                </c:pt>
                <c:pt idx="1714">
                  <c:v>1.3938780764306551</c:v>
                </c:pt>
                <c:pt idx="1715">
                  <c:v>1.3938780764306553</c:v>
                </c:pt>
                <c:pt idx="1716">
                  <c:v>1.3940525971706237</c:v>
                </c:pt>
                <c:pt idx="1717">
                  <c:v>1.3641015315971712</c:v>
                </c:pt>
                <c:pt idx="1718">
                  <c:v>1.3685681753477656</c:v>
                </c:pt>
                <c:pt idx="1719">
                  <c:v>1.3298291308440269</c:v>
                </c:pt>
                <c:pt idx="1720">
                  <c:v>1.3265345050557293</c:v>
                </c:pt>
                <c:pt idx="1721">
                  <c:v>1.3267114732802054</c:v>
                </c:pt>
                <c:pt idx="1722">
                  <c:v>1.316257494984719</c:v>
                </c:pt>
                <c:pt idx="1723">
                  <c:v>1.3137462446767636</c:v>
                </c:pt>
                <c:pt idx="1724">
                  <c:v>1.2052002266042341</c:v>
                </c:pt>
                <c:pt idx="1725">
                  <c:v>1.1164665629596333</c:v>
                </c:pt>
                <c:pt idx="1726">
                  <c:v>0.97961105347579358</c:v>
                </c:pt>
                <c:pt idx="1727">
                  <c:v>0.99046488562450941</c:v>
                </c:pt>
                <c:pt idx="1728">
                  <c:v>0.91772858031470106</c:v>
                </c:pt>
                <c:pt idx="1729">
                  <c:v>0.85638111883066104</c:v>
                </c:pt>
                <c:pt idx="1730">
                  <c:v>0.85042680292100148</c:v>
                </c:pt>
                <c:pt idx="1731">
                  <c:v>0.83868095669714371</c:v>
                </c:pt>
                <c:pt idx="1732">
                  <c:v>0.83444530408963347</c:v>
                </c:pt>
                <c:pt idx="1733">
                  <c:v>0.86331258573569658</c:v>
                </c:pt>
                <c:pt idx="1734">
                  <c:v>0.87517282365505777</c:v>
                </c:pt>
                <c:pt idx="1735">
                  <c:v>0.84134983225165272</c:v>
                </c:pt>
                <c:pt idx="1736">
                  <c:v>0.85941713742044556</c:v>
                </c:pt>
                <c:pt idx="1737">
                  <c:v>0.86230005178611946</c:v>
                </c:pt>
                <c:pt idx="1738">
                  <c:v>0.86611432443327319</c:v>
                </c:pt>
                <c:pt idx="1739">
                  <c:v>0.88811210072168001</c:v>
                </c:pt>
                <c:pt idx="1740">
                  <c:v>0.87599460713188049</c:v>
                </c:pt>
                <c:pt idx="1741">
                  <c:v>0.88319690987298816</c:v>
                </c:pt>
                <c:pt idx="1742">
                  <c:v>0.85955775851881233</c:v>
                </c:pt>
                <c:pt idx="1743">
                  <c:v>0.97337787254417296</c:v>
                </c:pt>
                <c:pt idx="1744">
                  <c:v>1.0872873024922707</c:v>
                </c:pt>
                <c:pt idx="1745">
                  <c:v>1.0825111291934071</c:v>
                </c:pt>
                <c:pt idx="1746">
                  <c:v>1.0818500544113701</c:v>
                </c:pt>
                <c:pt idx="1747">
                  <c:v>1.0743168906841194</c:v>
                </c:pt>
                <c:pt idx="1748">
                  <c:v>1.1329647811835537</c:v>
                </c:pt>
                <c:pt idx="1749">
                  <c:v>1.0896769530778214</c:v>
                </c:pt>
                <c:pt idx="1750">
                  <c:v>1.1461692819948128</c:v>
                </c:pt>
                <c:pt idx="1751">
                  <c:v>1.1327312126007651</c:v>
                </c:pt>
                <c:pt idx="1752">
                  <c:v>1.1161922649856486</c:v>
                </c:pt>
                <c:pt idx="1753">
                  <c:v>1.1886631145955524</c:v>
                </c:pt>
                <c:pt idx="1754">
                  <c:v>1.2920524525846016</c:v>
                </c:pt>
                <c:pt idx="1755">
                  <c:v>1.3010413159262566</c:v>
                </c:pt>
                <c:pt idx="1756">
                  <c:v>1.2820390099324219</c:v>
                </c:pt>
                <c:pt idx="1757">
                  <c:v>1.2831613259858428</c:v>
                </c:pt>
                <c:pt idx="1758">
                  <c:v>1.2656091623104413</c:v>
                </c:pt>
                <c:pt idx="1759">
                  <c:v>1.2693146399425213</c:v>
                </c:pt>
                <c:pt idx="1760">
                  <c:v>1.2558252770337046</c:v>
                </c:pt>
                <c:pt idx="1761">
                  <c:v>1.2727703515623277</c:v>
                </c:pt>
                <c:pt idx="1762">
                  <c:v>1.3486997143694475</c:v>
                </c:pt>
                <c:pt idx="1763">
                  <c:v>1.3483826412137008</c:v>
                </c:pt>
                <c:pt idx="1764">
                  <c:v>1.3669011853732191</c:v>
                </c:pt>
                <c:pt idx="1765">
                  <c:v>1.3686221362100413</c:v>
                </c:pt>
                <c:pt idx="1766">
                  <c:v>1.3684830514365038</c:v>
                </c:pt>
                <c:pt idx="1767">
                  <c:v>1.3167763230926772</c:v>
                </c:pt>
                <c:pt idx="1768">
                  <c:v>1.3325716646317034</c:v>
                </c:pt>
                <c:pt idx="1769">
                  <c:v>1.2752577382045458</c:v>
                </c:pt>
                <c:pt idx="1770">
                  <c:v>1.3143888051236901</c:v>
                </c:pt>
                <c:pt idx="1771">
                  <c:v>1.3170564969248484</c:v>
                </c:pt>
                <c:pt idx="1772">
                  <c:v>1.3380885320262741</c:v>
                </c:pt>
                <c:pt idx="1773">
                  <c:v>1.3257078352215526</c:v>
                </c:pt>
                <c:pt idx="1774">
                  <c:v>1.3201356600438987</c:v>
                </c:pt>
                <c:pt idx="1775">
                  <c:v>1.2901549848981211</c:v>
                </c:pt>
                <c:pt idx="1776">
                  <c:v>1.270725243189164</c:v>
                </c:pt>
                <c:pt idx="1777">
                  <c:v>1.2630612329419815</c:v>
                </c:pt>
                <c:pt idx="1778">
                  <c:v>1.2535608591473355</c:v>
                </c:pt>
                <c:pt idx="1779">
                  <c:v>1.2159063125584715</c:v>
                </c:pt>
                <c:pt idx="1780">
                  <c:v>1.2067113568913543</c:v>
                </c:pt>
                <c:pt idx="1781">
                  <c:v>1.2096192998521109</c:v>
                </c:pt>
                <c:pt idx="1782">
                  <c:v>1.1686372848100792</c:v>
                </c:pt>
                <c:pt idx="1783">
                  <c:v>1.1911889163700091</c:v>
                </c:pt>
                <c:pt idx="1784">
                  <c:v>1.1512719602408374</c:v>
                </c:pt>
                <c:pt idx="1785">
                  <c:v>1.1582071460250307</c:v>
                </c:pt>
                <c:pt idx="1786">
                  <c:v>1.1573295162551591</c:v>
                </c:pt>
                <c:pt idx="1787">
                  <c:v>1.1451732288775918</c:v>
                </c:pt>
                <c:pt idx="1788">
                  <c:v>1.1431587615125847</c:v>
                </c:pt>
                <c:pt idx="1789">
                  <c:v>1.1170223657193441</c:v>
                </c:pt>
                <c:pt idx="1790">
                  <c:v>1.0542077703130934</c:v>
                </c:pt>
                <c:pt idx="1791">
                  <c:v>1.0326680654176017</c:v>
                </c:pt>
                <c:pt idx="1792">
                  <c:v>1.0411695457457946</c:v>
                </c:pt>
                <c:pt idx="1793">
                  <c:v>1.0433874981349769</c:v>
                </c:pt>
                <c:pt idx="1794">
                  <c:v>1.0652356061227592</c:v>
                </c:pt>
                <c:pt idx="1795">
                  <c:v>1.0322579313241469</c:v>
                </c:pt>
                <c:pt idx="1796">
                  <c:v>1.0506120821342362</c:v>
                </c:pt>
                <c:pt idx="1797">
                  <c:v>1.0543176689814293</c:v>
                </c:pt>
                <c:pt idx="1798">
                  <c:v>1.0069685929195782</c:v>
                </c:pt>
                <c:pt idx="1799">
                  <c:v>0.97614330255676851</c:v>
                </c:pt>
                <c:pt idx="1800">
                  <c:v>0.9714535264349945</c:v>
                </c:pt>
                <c:pt idx="1801">
                  <c:v>0.96423091859150312</c:v>
                </c:pt>
                <c:pt idx="1802">
                  <c:v>0.9382157803910095</c:v>
                </c:pt>
                <c:pt idx="1803">
                  <c:v>0.94154458571888655</c:v>
                </c:pt>
                <c:pt idx="1804">
                  <c:v>1.0050113512254237</c:v>
                </c:pt>
                <c:pt idx="1805">
                  <c:v>1.0376855325038574</c:v>
                </c:pt>
                <c:pt idx="1806">
                  <c:v>1.035912668843886</c:v>
                </c:pt>
                <c:pt idx="1807">
                  <c:v>1.0097377035077257</c:v>
                </c:pt>
                <c:pt idx="1808">
                  <c:v>1.0826152350334053</c:v>
                </c:pt>
                <c:pt idx="1809">
                  <c:v>1.0826419898382462</c:v>
                </c:pt>
                <c:pt idx="1810">
                  <c:v>1.0969775089637945</c:v>
                </c:pt>
                <c:pt idx="1811">
                  <c:v>1.1362020319781436</c:v>
                </c:pt>
                <c:pt idx="1812">
                  <c:v>1.1402914025627917</c:v>
                </c:pt>
                <c:pt idx="1813">
                  <c:v>1.1377531801100682</c:v>
                </c:pt>
                <c:pt idx="1814">
                  <c:v>1.1335241049716247</c:v>
                </c:pt>
                <c:pt idx="1815">
                  <c:v>1.154222632362349</c:v>
                </c:pt>
                <c:pt idx="1816">
                  <c:v>1.155147201646294</c:v>
                </c:pt>
                <c:pt idx="1817">
                  <c:v>1.1719795612356141</c:v>
                </c:pt>
                <c:pt idx="1818">
                  <c:v>1.1706701097009038</c:v>
                </c:pt>
                <c:pt idx="1819">
                  <c:v>1.2228891736516776</c:v>
                </c:pt>
                <c:pt idx="1820">
                  <c:v>1.2557644555473342</c:v>
                </c:pt>
                <c:pt idx="1821">
                  <c:v>1.2433601118807425</c:v>
                </c:pt>
                <c:pt idx="1822">
                  <c:v>1.2310059898824364</c:v>
                </c:pt>
                <c:pt idx="1823">
                  <c:v>1.2483121938575037</c:v>
                </c:pt>
                <c:pt idx="1824">
                  <c:v>1.23294176760253</c:v>
                </c:pt>
                <c:pt idx="1825">
                  <c:v>1.2699299012240752</c:v>
                </c:pt>
                <c:pt idx="1826">
                  <c:v>1.246326833022801</c:v>
                </c:pt>
                <c:pt idx="1827">
                  <c:v>1.249808077220282</c:v>
                </c:pt>
                <c:pt idx="1828">
                  <c:v>1.2472323843974129</c:v>
                </c:pt>
                <c:pt idx="1829">
                  <c:v>1.2886552288531545</c:v>
                </c:pt>
                <c:pt idx="1830">
                  <c:v>1.2976698834591109</c:v>
                </c:pt>
                <c:pt idx="1831">
                  <c:v>1.3062673416326736</c:v>
                </c:pt>
                <c:pt idx="1832">
                  <c:v>1.3068856109086213</c:v>
                </c:pt>
                <c:pt idx="1833">
                  <c:v>1.3281637570409914</c:v>
                </c:pt>
                <c:pt idx="1834">
                  <c:v>1.2678973452771798</c:v>
                </c:pt>
                <c:pt idx="1835">
                  <c:v>1.2642964514865098</c:v>
                </c:pt>
                <c:pt idx="1836">
                  <c:v>1.2636327853027376</c:v>
                </c:pt>
                <c:pt idx="1837">
                  <c:v>1.2742893444321559</c:v>
                </c:pt>
                <c:pt idx="1838">
                  <c:v>1.2111313700017432</c:v>
                </c:pt>
                <c:pt idx="1839">
                  <c:v>1.2326846228092347</c:v>
                </c:pt>
                <c:pt idx="1840">
                  <c:v>1.253227786580505</c:v>
                </c:pt>
                <c:pt idx="1841">
                  <c:v>1.2498930528961909</c:v>
                </c:pt>
                <c:pt idx="1842">
                  <c:v>1.2458974054181131</c:v>
                </c:pt>
                <c:pt idx="1843">
                  <c:v>1.2222071611750547</c:v>
                </c:pt>
                <c:pt idx="1844">
                  <c:v>1.2241696693311532</c:v>
                </c:pt>
                <c:pt idx="1845">
                  <c:v>1.1838356227150775</c:v>
                </c:pt>
                <c:pt idx="1846">
                  <c:v>1.1928253429779963</c:v>
                </c:pt>
                <c:pt idx="1847">
                  <c:v>1.2254609266551997</c:v>
                </c:pt>
                <c:pt idx="1848">
                  <c:v>1.2556193233052251</c:v>
                </c:pt>
                <c:pt idx="1849">
                  <c:v>1.2151070621199569</c:v>
                </c:pt>
                <c:pt idx="1850">
                  <c:v>1.1490300257173436</c:v>
                </c:pt>
                <c:pt idx="1851">
                  <c:v>1.1918704029680676</c:v>
                </c:pt>
                <c:pt idx="1852">
                  <c:v>1.1654803163572054</c:v>
                </c:pt>
                <c:pt idx="1853">
                  <c:v>1.1185407159926422</c:v>
                </c:pt>
                <c:pt idx="1854">
                  <c:v>1.1219001225855494</c:v>
                </c:pt>
                <c:pt idx="1855">
                  <c:v>1.0978566369987923</c:v>
                </c:pt>
                <c:pt idx="1856">
                  <c:v>1.1042430704426851</c:v>
                </c:pt>
                <c:pt idx="1857">
                  <c:v>1.1263702255730441</c:v>
                </c:pt>
                <c:pt idx="1858">
                  <c:v>1.1793011762767878</c:v>
                </c:pt>
                <c:pt idx="1859">
                  <c:v>1.1561432119061985</c:v>
                </c:pt>
                <c:pt idx="1860">
                  <c:v>1.1346363030636222</c:v>
                </c:pt>
                <c:pt idx="1861">
                  <c:v>1.1162828813810446</c:v>
                </c:pt>
                <c:pt idx="1862">
                  <c:v>1.1112300836688025</c:v>
                </c:pt>
                <c:pt idx="1863">
                  <c:v>1.1176977569370301</c:v>
                </c:pt>
                <c:pt idx="1864">
                  <c:v>1.1716070601734501</c:v>
                </c:pt>
                <c:pt idx="1865">
                  <c:v>1.1463830677094953</c:v>
                </c:pt>
                <c:pt idx="1866">
                  <c:v>1.133050809951184</c:v>
                </c:pt>
                <c:pt idx="1867">
                  <c:v>1.1160995815168415</c:v>
                </c:pt>
                <c:pt idx="1868">
                  <c:v>1.1455037540639978</c:v>
                </c:pt>
                <c:pt idx="1869">
                  <c:v>1.1470065487993109</c:v>
                </c:pt>
                <c:pt idx="1870">
                  <c:v>1.1450407310930337</c:v>
                </c:pt>
                <c:pt idx="1871">
                  <c:v>1.100647719435629</c:v>
                </c:pt>
                <c:pt idx="1872">
                  <c:v>1.1028174993087521</c:v>
                </c:pt>
                <c:pt idx="1873">
                  <c:v>1.0861214872460039</c:v>
                </c:pt>
                <c:pt idx="1874">
                  <c:v>1.1213382809080787</c:v>
                </c:pt>
                <c:pt idx="1875">
                  <c:v>1.1184852235958682</c:v>
                </c:pt>
                <c:pt idx="1876">
                  <c:v>1.1336741711959313</c:v>
                </c:pt>
                <c:pt idx="1877">
                  <c:v>1.1199591536065618</c:v>
                </c:pt>
                <c:pt idx="1878">
                  <c:v>1.1037301435971827</c:v>
                </c:pt>
                <c:pt idx="1879">
                  <c:v>1.0464565826207719</c:v>
                </c:pt>
                <c:pt idx="1880">
                  <c:v>1.0441077145296023</c:v>
                </c:pt>
                <c:pt idx="1881">
                  <c:v>1.0529449123794399</c:v>
                </c:pt>
                <c:pt idx="1882">
                  <c:v>1.0795156960095733</c:v>
                </c:pt>
                <c:pt idx="1883">
                  <c:v>1.0897685085828319</c:v>
                </c:pt>
                <c:pt idx="1884">
                  <c:v>1.0805729110485571</c:v>
                </c:pt>
                <c:pt idx="1885">
                  <c:v>1.0989033195632476</c:v>
                </c:pt>
                <c:pt idx="1886">
                  <c:v>1.0770679654965372</c:v>
                </c:pt>
                <c:pt idx="1887">
                  <c:v>1.0799830245579474</c:v>
                </c:pt>
                <c:pt idx="1888">
                  <c:v>1.0563916571676115</c:v>
                </c:pt>
                <c:pt idx="1889">
                  <c:v>1.0565844451132012</c:v>
                </c:pt>
                <c:pt idx="1890">
                  <c:v>1.0568650236245489</c:v>
                </c:pt>
                <c:pt idx="1891">
                  <c:v>1.1317843200568012</c:v>
                </c:pt>
                <c:pt idx="1892">
                  <c:v>1.2173230476331456</c:v>
                </c:pt>
                <c:pt idx="1893">
                  <c:v>1.2743997460152279</c:v>
                </c:pt>
                <c:pt idx="1894">
                  <c:v>1.2790140329768567</c:v>
                </c:pt>
                <c:pt idx="1895">
                  <c:v>1.3086942250627698</c:v>
                </c:pt>
                <c:pt idx="1896">
                  <c:v>1.3079063290301951</c:v>
                </c:pt>
                <c:pt idx="1897">
                  <c:v>1.3591647621148482</c:v>
                </c:pt>
                <c:pt idx="1898">
                  <c:v>1.3055514094659848</c:v>
                </c:pt>
                <c:pt idx="1899">
                  <c:v>1.2998447741102044</c:v>
                </c:pt>
                <c:pt idx="1900">
                  <c:v>1.2903026464904379</c:v>
                </c:pt>
                <c:pt idx="1901">
                  <c:v>1.3227455337767862</c:v>
                </c:pt>
                <c:pt idx="1902">
                  <c:v>1.3484951595768881</c:v>
                </c:pt>
                <c:pt idx="1903">
                  <c:v>1.3817631997668351</c:v>
                </c:pt>
                <c:pt idx="1904">
                  <c:v>1.3751975406690005</c:v>
                </c:pt>
                <c:pt idx="1905">
                  <c:v>1.3747762200345233</c:v>
                </c:pt>
                <c:pt idx="1906">
                  <c:v>1.3328051827526828</c:v>
                </c:pt>
                <c:pt idx="1907">
                  <c:v>1.3322070961852872</c:v>
                </c:pt>
                <c:pt idx="1908">
                  <c:v>1.3614910690248692</c:v>
                </c:pt>
                <c:pt idx="1909">
                  <c:v>1.410611223189616</c:v>
                </c:pt>
                <c:pt idx="1910">
                  <c:v>1.4078295433000769</c:v>
                </c:pt>
                <c:pt idx="1911">
                  <c:v>1.346406925559803</c:v>
                </c:pt>
                <c:pt idx="1912">
                  <c:v>1.2882905005444625</c:v>
                </c:pt>
                <c:pt idx="1913">
                  <c:v>1.2303426305325462</c:v>
                </c:pt>
                <c:pt idx="1914">
                  <c:v>1.182699814227901</c:v>
                </c:pt>
                <c:pt idx="1915">
                  <c:v>1.1096121824323566</c:v>
                </c:pt>
                <c:pt idx="1916">
                  <c:v>1.0701839996483999</c:v>
                </c:pt>
                <c:pt idx="1917">
                  <c:v>0.86763524567656236</c:v>
                </c:pt>
                <c:pt idx="1918">
                  <c:v>0.87324635435958042</c:v>
                </c:pt>
                <c:pt idx="1919">
                  <c:v>0.84851465894042233</c:v>
                </c:pt>
                <c:pt idx="1920">
                  <c:v>0.8410327531993167</c:v>
                </c:pt>
                <c:pt idx="1921">
                  <c:v>0.82992348352468415</c:v>
                </c:pt>
                <c:pt idx="1922">
                  <c:v>0.84290521139823227</c:v>
                </c:pt>
                <c:pt idx="1923">
                  <c:v>0.84002250927695599</c:v>
                </c:pt>
                <c:pt idx="1924">
                  <c:v>0.90098853756725783</c:v>
                </c:pt>
                <c:pt idx="1925">
                  <c:v>0.92127104851264385</c:v>
                </c:pt>
                <c:pt idx="1926">
                  <c:v>0.92221223278530107</c:v>
                </c:pt>
                <c:pt idx="1927">
                  <c:v>0.92151274930216598</c:v>
                </c:pt>
                <c:pt idx="1928">
                  <c:v>0.91968266641083962</c:v>
                </c:pt>
                <c:pt idx="1929">
                  <c:v>0.90450272106489138</c:v>
                </c:pt>
                <c:pt idx="1930">
                  <c:v>0.92443266229965981</c:v>
                </c:pt>
                <c:pt idx="1931">
                  <c:v>1.0774382132856972</c:v>
                </c:pt>
                <c:pt idx="1932">
                  <c:v>1.109171586904119</c:v>
                </c:pt>
                <c:pt idx="1933">
                  <c:v>1.1554605988099718</c:v>
                </c:pt>
                <c:pt idx="1934">
                  <c:v>1.1552610791156863</c:v>
                </c:pt>
                <c:pt idx="1935">
                  <c:v>1.3044563759595833</c:v>
                </c:pt>
                <c:pt idx="1936">
                  <c:v>1.301838178760387</c:v>
                </c:pt>
                <c:pt idx="1937">
                  <c:v>1.3275701163377789</c:v>
                </c:pt>
                <c:pt idx="1938">
                  <c:v>1.3589052388874887</c:v>
                </c:pt>
                <c:pt idx="1939">
                  <c:v>1.3823087467220803</c:v>
                </c:pt>
                <c:pt idx="1940">
                  <c:v>1.3907390328423461</c:v>
                </c:pt>
                <c:pt idx="1941">
                  <c:v>1.3927439632346057</c:v>
                </c:pt>
                <c:pt idx="1942">
                  <c:v>1.3499505738078481</c:v>
                </c:pt>
                <c:pt idx="1943">
                  <c:v>1.3327867701596696</c:v>
                </c:pt>
                <c:pt idx="1944">
                  <c:v>1.4083545873387715</c:v>
                </c:pt>
                <c:pt idx="1945">
                  <c:v>1.3398600029802392</c:v>
                </c:pt>
                <c:pt idx="1946">
                  <c:v>1.2857584192388858</c:v>
                </c:pt>
                <c:pt idx="1947">
                  <c:v>1.2001852826308441</c:v>
                </c:pt>
                <c:pt idx="1948">
                  <c:v>1.2525668358059461</c:v>
                </c:pt>
                <c:pt idx="1949">
                  <c:v>1.3013355208903792</c:v>
                </c:pt>
                <c:pt idx="1950">
                  <c:v>1.3345378897994411</c:v>
                </c:pt>
                <c:pt idx="1951">
                  <c:v>1.3061118925505846</c:v>
                </c:pt>
                <c:pt idx="1952">
                  <c:v>1.3033969764277191</c:v>
                </c:pt>
                <c:pt idx="1953">
                  <c:v>1.2451531780393965</c:v>
                </c:pt>
                <c:pt idx="1954">
                  <c:v>1.2814047607682515</c:v>
                </c:pt>
                <c:pt idx="1955">
                  <c:v>1.2974938265306148</c:v>
                </c:pt>
                <c:pt idx="1956">
                  <c:v>1.3129380932784336</c:v>
                </c:pt>
                <c:pt idx="1957">
                  <c:v>1.3043880407760335</c:v>
                </c:pt>
                <c:pt idx="1958">
                  <c:v>1.3314999320185925</c:v>
                </c:pt>
                <c:pt idx="1959">
                  <c:v>1.3261505956334105</c:v>
                </c:pt>
                <c:pt idx="1960">
                  <c:v>1.2220388089478629</c:v>
                </c:pt>
                <c:pt idx="1961">
                  <c:v>1.2233917897649822</c:v>
                </c:pt>
                <c:pt idx="1962">
                  <c:v>1.2457230278312126</c:v>
                </c:pt>
                <c:pt idx="1963">
                  <c:v>1.2650364585178204</c:v>
                </c:pt>
                <c:pt idx="1964">
                  <c:v>1.2389225945967315</c:v>
                </c:pt>
                <c:pt idx="1965">
                  <c:v>1.1933727438428969</c:v>
                </c:pt>
                <c:pt idx="1966">
                  <c:v>1.2078298673678114</c:v>
                </c:pt>
                <c:pt idx="1967">
                  <c:v>1.2420482249508054</c:v>
                </c:pt>
                <c:pt idx="1968">
                  <c:v>1.2585541786866601</c:v>
                </c:pt>
                <c:pt idx="1969">
                  <c:v>1.2772220214019256</c:v>
                </c:pt>
                <c:pt idx="1970">
                  <c:v>1.2731030061891357</c:v>
                </c:pt>
                <c:pt idx="1971">
                  <c:v>1.2736099476882918</c:v>
                </c:pt>
                <c:pt idx="1972">
                  <c:v>1.3034270037186537</c:v>
                </c:pt>
                <c:pt idx="1973">
                  <c:v>1.2732525099221237</c:v>
                </c:pt>
                <c:pt idx="1974">
                  <c:v>1.2714840636586564</c:v>
                </c:pt>
                <c:pt idx="1975">
                  <c:v>1.2668396736054206</c:v>
                </c:pt>
                <c:pt idx="1976">
                  <c:v>1.2764577422759011</c:v>
                </c:pt>
                <c:pt idx="1977">
                  <c:v>1.2795645811139735</c:v>
                </c:pt>
                <c:pt idx="1978">
                  <c:v>1.2564470981083231</c:v>
                </c:pt>
                <c:pt idx="1979">
                  <c:v>1.2292545633875818</c:v>
                </c:pt>
                <c:pt idx="1980">
                  <c:v>1.2083605308076688</c:v>
                </c:pt>
                <c:pt idx="1981">
                  <c:v>1.1533033017151757</c:v>
                </c:pt>
                <c:pt idx="1982">
                  <c:v>1.1508398232814911</c:v>
                </c:pt>
                <c:pt idx="1983">
                  <c:v>1.1288904633138324</c:v>
                </c:pt>
                <c:pt idx="1984">
                  <c:v>1.1056648283470347</c:v>
                </c:pt>
                <c:pt idx="1985">
                  <c:v>1.1415509212238961</c:v>
                </c:pt>
                <c:pt idx="1986">
                  <c:v>1.1210481548609947</c:v>
                </c:pt>
                <c:pt idx="1987">
                  <c:v>1.1295791098976826</c:v>
                </c:pt>
                <c:pt idx="1988">
                  <c:v>1.0645242853138617</c:v>
                </c:pt>
                <c:pt idx="1989">
                  <c:v>1.1034096060034506</c:v>
                </c:pt>
                <c:pt idx="1990">
                  <c:v>1.1185257641455879</c:v>
                </c:pt>
                <c:pt idx="1991">
                  <c:v>1.0784962391826105</c:v>
                </c:pt>
                <c:pt idx="1992">
                  <c:v>1.0902304406835754</c:v>
                </c:pt>
                <c:pt idx="1993">
                  <c:v>1.1001822732996376</c:v>
                </c:pt>
                <c:pt idx="1994">
                  <c:v>1.1443154857968509</c:v>
                </c:pt>
                <c:pt idx="1995">
                  <c:v>1.1425945470071939</c:v>
                </c:pt>
                <c:pt idx="1996">
                  <c:v>1.1037316015571279</c:v>
                </c:pt>
                <c:pt idx="1997">
                  <c:v>1.1008928455900078</c:v>
                </c:pt>
                <c:pt idx="1998">
                  <c:v>1.0895134419684251</c:v>
                </c:pt>
                <c:pt idx="1999">
                  <c:v>1.0427659946221057</c:v>
                </c:pt>
                <c:pt idx="2000">
                  <c:v>1.0429986059214187</c:v>
                </c:pt>
                <c:pt idx="2001">
                  <c:v>1.046343386636825</c:v>
                </c:pt>
                <c:pt idx="2002">
                  <c:v>1.0453828974585582</c:v>
                </c:pt>
                <c:pt idx="2003">
                  <c:v>1.0447982261342776</c:v>
                </c:pt>
                <c:pt idx="2004">
                  <c:v>1.0849749189325268</c:v>
                </c:pt>
                <c:pt idx="2005">
                  <c:v>1.0988072948722025</c:v>
                </c:pt>
                <c:pt idx="2006">
                  <c:v>1.0873388373117352</c:v>
                </c:pt>
                <c:pt idx="2007">
                  <c:v>1.0794733177240465</c:v>
                </c:pt>
                <c:pt idx="2008">
                  <c:v>1.101544631284926</c:v>
                </c:pt>
                <c:pt idx="2009">
                  <c:v>1.1098609729647873</c:v>
                </c:pt>
                <c:pt idx="2010">
                  <c:v>1.0976171159987134</c:v>
                </c:pt>
                <c:pt idx="2011">
                  <c:v>1.0976832970805628</c:v>
                </c:pt>
                <c:pt idx="2012">
                  <c:v>1.1285502855993779</c:v>
                </c:pt>
                <c:pt idx="2013">
                  <c:v>1.1270172208497764</c:v>
                </c:pt>
                <c:pt idx="2014">
                  <c:v>1.1305338480599312</c:v>
                </c:pt>
                <c:pt idx="2015">
                  <c:v>1.0731824517353254</c:v>
                </c:pt>
                <c:pt idx="2016">
                  <c:v>1.0304432703129918</c:v>
                </c:pt>
                <c:pt idx="2017">
                  <c:v>1.0790287245971479</c:v>
                </c:pt>
                <c:pt idx="2018">
                  <c:v>1.0973167377692303</c:v>
                </c:pt>
                <c:pt idx="2019">
                  <c:v>1.0288550158686893</c:v>
                </c:pt>
                <c:pt idx="2020">
                  <c:v>0.99625990238664563</c:v>
                </c:pt>
                <c:pt idx="2021">
                  <c:v>1.0135104011964224</c:v>
                </c:pt>
                <c:pt idx="2022">
                  <c:v>1.0343224780046827</c:v>
                </c:pt>
                <c:pt idx="2023">
                  <c:v>1.0322305387157806</c:v>
                </c:pt>
                <c:pt idx="2024">
                  <c:v>1.0327114739876508</c:v>
                </c:pt>
                <c:pt idx="2025">
                  <c:v>1.0683869030986122</c:v>
                </c:pt>
                <c:pt idx="2026">
                  <c:v>1.071106689471168</c:v>
                </c:pt>
                <c:pt idx="2027">
                  <c:v>1.0362855861643325</c:v>
                </c:pt>
                <c:pt idx="2028">
                  <c:v>1.027175347933496</c:v>
                </c:pt>
                <c:pt idx="2029">
                  <c:v>1.048643129855483</c:v>
                </c:pt>
                <c:pt idx="2030">
                  <c:v>1.0524915703924314</c:v>
                </c:pt>
                <c:pt idx="2031">
                  <c:v>1.0987451567766886</c:v>
                </c:pt>
                <c:pt idx="2032">
                  <c:v>1.0986060132794617</c:v>
                </c:pt>
                <c:pt idx="2033">
                  <c:v>1.0856186328964486</c:v>
                </c:pt>
                <c:pt idx="2034">
                  <c:v>1.0220322328857694</c:v>
                </c:pt>
                <c:pt idx="2035">
                  <c:v>1.0277083087219314</c:v>
                </c:pt>
                <c:pt idx="2036">
                  <c:v>1.0260217223395633</c:v>
                </c:pt>
                <c:pt idx="2037">
                  <c:v>1.073589157061918</c:v>
                </c:pt>
                <c:pt idx="2038">
                  <c:v>1.1191144384899971</c:v>
                </c:pt>
                <c:pt idx="2039">
                  <c:v>1.1365007800210722</c:v>
                </c:pt>
                <c:pt idx="2040">
                  <c:v>1.1447750368773211</c:v>
                </c:pt>
                <c:pt idx="2041">
                  <c:v>1.1624134623580651</c:v>
                </c:pt>
                <c:pt idx="2042">
                  <c:v>1.1223149823201282</c:v>
                </c:pt>
                <c:pt idx="2043">
                  <c:v>1.1329203439550048</c:v>
                </c:pt>
                <c:pt idx="2044">
                  <c:v>1.1379639511087285</c:v>
                </c:pt>
                <c:pt idx="2045">
                  <c:v>1.157093266589261</c:v>
                </c:pt>
                <c:pt idx="2046">
                  <c:v>1.1928831585218469</c:v>
                </c:pt>
                <c:pt idx="2047">
                  <c:v>1.1722845364853869</c:v>
                </c:pt>
                <c:pt idx="2048">
                  <c:v>1.1761859263455474</c:v>
                </c:pt>
                <c:pt idx="2049">
                  <c:v>1.2244033968267649</c:v>
                </c:pt>
                <c:pt idx="2050">
                  <c:v>1.236941723601483</c:v>
                </c:pt>
                <c:pt idx="2051">
                  <c:v>1.2310459061255623</c:v>
                </c:pt>
                <c:pt idx="2052">
                  <c:v>1.2522496996784744</c:v>
                </c:pt>
                <c:pt idx="2053">
                  <c:v>1.2663703222610081</c:v>
                </c:pt>
                <c:pt idx="2054">
                  <c:v>1.2660682645792498</c:v>
                </c:pt>
                <c:pt idx="2055">
                  <c:v>1.2848457575482186</c:v>
                </c:pt>
                <c:pt idx="2056">
                  <c:v>1.2947904459218778</c:v>
                </c:pt>
                <c:pt idx="2057">
                  <c:v>1.2860865078785049</c:v>
                </c:pt>
                <c:pt idx="2058">
                  <c:v>1.2997860566660382</c:v>
                </c:pt>
                <c:pt idx="2059">
                  <c:v>1.2329883332315268</c:v>
                </c:pt>
                <c:pt idx="2060">
                  <c:v>1.2517930128924821</c:v>
                </c:pt>
                <c:pt idx="2061">
                  <c:v>1.2269663551954513</c:v>
                </c:pt>
                <c:pt idx="2062">
                  <c:v>1.240963844907585</c:v>
                </c:pt>
                <c:pt idx="2063">
                  <c:v>1.2611071581621514</c:v>
                </c:pt>
                <c:pt idx="2064">
                  <c:v>1.2625211503861686</c:v>
                </c:pt>
                <c:pt idx="2065">
                  <c:v>1.2862119826715257</c:v>
                </c:pt>
                <c:pt idx="2066">
                  <c:v>1.2724153879689724</c:v>
                </c:pt>
                <c:pt idx="2067">
                  <c:v>1.2068779900050464</c:v>
                </c:pt>
                <c:pt idx="2068">
                  <c:v>1.1823940743789429</c:v>
                </c:pt>
                <c:pt idx="2069">
                  <c:v>1.1905596578292814</c:v>
                </c:pt>
                <c:pt idx="2070">
                  <c:v>1.2214077049082326</c:v>
                </c:pt>
                <c:pt idx="2071">
                  <c:v>1.1985148376603243</c:v>
                </c:pt>
                <c:pt idx="2072">
                  <c:v>1.2703280868641227</c:v>
                </c:pt>
                <c:pt idx="2073">
                  <c:v>1.2725736886732526</c:v>
                </c:pt>
                <c:pt idx="2074">
                  <c:v>1.2630927651337938</c:v>
                </c:pt>
                <c:pt idx="2075">
                  <c:v>1.2044672118276263</c:v>
                </c:pt>
                <c:pt idx="2076">
                  <c:v>1.1443989036060427</c:v>
                </c:pt>
                <c:pt idx="2077">
                  <c:v>1.1347461612954293</c:v>
                </c:pt>
                <c:pt idx="2078">
                  <c:v>1.0931344786922363</c:v>
                </c:pt>
                <c:pt idx="2079">
                  <c:v>1.0964202986375104</c:v>
                </c:pt>
                <c:pt idx="2080">
                  <c:v>1.1057122321064758</c:v>
                </c:pt>
                <c:pt idx="2081">
                  <c:v>1.1103628898366682</c:v>
                </c:pt>
                <c:pt idx="2082">
                  <c:v>1.0993695162834618</c:v>
                </c:pt>
                <c:pt idx="2083">
                  <c:v>1.1356351202903079</c:v>
                </c:pt>
                <c:pt idx="2084">
                  <c:v>1.177398505765703</c:v>
                </c:pt>
                <c:pt idx="2085">
                  <c:v>1.1519630421913338</c:v>
                </c:pt>
                <c:pt idx="2086">
                  <c:v>1.1916095557410296</c:v>
                </c:pt>
                <c:pt idx="2087">
                  <c:v>1.195513115442655</c:v>
                </c:pt>
                <c:pt idx="2088">
                  <c:v>1.1804546172760206</c:v>
                </c:pt>
                <c:pt idx="2089">
                  <c:v>1.1900057471125589</c:v>
                </c:pt>
                <c:pt idx="2090">
                  <c:v>1.1878943507339983</c:v>
                </c:pt>
                <c:pt idx="2091">
                  <c:v>1.2242693809947955</c:v>
                </c:pt>
                <c:pt idx="2092">
                  <c:v>1.1964789818559243</c:v>
                </c:pt>
                <c:pt idx="2093">
                  <c:v>1.1863032990097346</c:v>
                </c:pt>
                <c:pt idx="2094">
                  <c:v>1.1847667698119215</c:v>
                </c:pt>
                <c:pt idx="2095">
                  <c:v>1.1516299792882272</c:v>
                </c:pt>
                <c:pt idx="2096">
                  <c:v>1.1445658214101231</c:v>
                </c:pt>
                <c:pt idx="2097">
                  <c:v>1.1595924769692492</c:v>
                </c:pt>
                <c:pt idx="2098">
                  <c:v>1.1607417366969903</c:v>
                </c:pt>
                <c:pt idx="2099">
                  <c:v>1.2210805936104114</c:v>
                </c:pt>
                <c:pt idx="2100">
                  <c:v>1.1897253619140891</c:v>
                </c:pt>
                <c:pt idx="2101">
                  <c:v>1.1804667399541302</c:v>
                </c:pt>
                <c:pt idx="2102">
                  <c:v>1.1181915304859789</c:v>
                </c:pt>
                <c:pt idx="2103">
                  <c:v>1.132815077583275</c:v>
                </c:pt>
                <c:pt idx="2104">
                  <c:v>1.1343499834960427</c:v>
                </c:pt>
                <c:pt idx="2105">
                  <c:v>1.1081033293451239</c:v>
                </c:pt>
                <c:pt idx="2106">
                  <c:v>1.1259744694028933</c:v>
                </c:pt>
                <c:pt idx="2107">
                  <c:v>1.1312580729374742</c:v>
                </c:pt>
                <c:pt idx="2108">
                  <c:v>1.136132833823561</c:v>
                </c:pt>
                <c:pt idx="2109">
                  <c:v>1.0862262523362103</c:v>
                </c:pt>
                <c:pt idx="2110">
                  <c:v>1.0774834452151201</c:v>
                </c:pt>
                <c:pt idx="2111">
                  <c:v>1.0189539373478973</c:v>
                </c:pt>
                <c:pt idx="2112">
                  <c:v>1.0249499006539664</c:v>
                </c:pt>
                <c:pt idx="2113">
                  <c:v>1.0038769100715055</c:v>
                </c:pt>
                <c:pt idx="2114">
                  <c:v>1.013800406573117</c:v>
                </c:pt>
                <c:pt idx="2115">
                  <c:v>1.0425455694442411</c:v>
                </c:pt>
                <c:pt idx="2116">
                  <c:v>1.0697300121294977</c:v>
                </c:pt>
                <c:pt idx="2117">
                  <c:v>1.07511966722341</c:v>
                </c:pt>
                <c:pt idx="2118">
                  <c:v>1.0942228649415626</c:v>
                </c:pt>
                <c:pt idx="2119">
                  <c:v>1.094731374177792</c:v>
                </c:pt>
                <c:pt idx="2120">
                  <c:v>1.0733691719582532</c:v>
                </c:pt>
                <c:pt idx="2121">
                  <c:v>1.0167618760770289</c:v>
                </c:pt>
                <c:pt idx="2122">
                  <c:v>1.0016595998756213</c:v>
                </c:pt>
                <c:pt idx="2123">
                  <c:v>0.99564892487723655</c:v>
                </c:pt>
                <c:pt idx="2124">
                  <c:v>1.0355877336194117</c:v>
                </c:pt>
                <c:pt idx="2125">
                  <c:v>1.0436637499638026</c:v>
                </c:pt>
                <c:pt idx="2126">
                  <c:v>1.047778218614178</c:v>
                </c:pt>
                <c:pt idx="2127">
                  <c:v>1.0609839285077438</c:v>
                </c:pt>
                <c:pt idx="2128">
                  <c:v>1.0571682518140995</c:v>
                </c:pt>
                <c:pt idx="2129">
                  <c:v>1.0038803450244642</c:v>
                </c:pt>
                <c:pt idx="2130">
                  <c:v>1.0276633466378908</c:v>
                </c:pt>
                <c:pt idx="2131">
                  <c:v>1.0276144117860289</c:v>
                </c:pt>
                <c:pt idx="2132">
                  <c:v>1.0363235748182797</c:v>
                </c:pt>
                <c:pt idx="2133">
                  <c:v>1.0339843703658775</c:v>
                </c:pt>
                <c:pt idx="2134">
                  <c:v>1.0277776493735038</c:v>
                </c:pt>
                <c:pt idx="2135">
                  <c:v>1.0277525978069095</c:v>
                </c:pt>
                <c:pt idx="2136">
                  <c:v>1.0036127842398461</c:v>
                </c:pt>
                <c:pt idx="2137">
                  <c:v>1.0503479992555946</c:v>
                </c:pt>
                <c:pt idx="2138">
                  <c:v>1.0379261484591153</c:v>
                </c:pt>
                <c:pt idx="2139">
                  <c:v>1.0391970817475598</c:v>
                </c:pt>
                <c:pt idx="2140">
                  <c:v>1.0533615593482824</c:v>
                </c:pt>
                <c:pt idx="2141">
                  <c:v>1.0922911173572143</c:v>
                </c:pt>
                <c:pt idx="2142">
                  <c:v>1.087134586514201</c:v>
                </c:pt>
                <c:pt idx="2143">
                  <c:v>1.1062516186104143</c:v>
                </c:pt>
                <c:pt idx="2144">
                  <c:v>1.1057395195331818</c:v>
                </c:pt>
                <c:pt idx="2145">
                  <c:v>1.0846340025742465</c:v>
                </c:pt>
                <c:pt idx="2146">
                  <c:v>1.0221644827937713</c:v>
                </c:pt>
                <c:pt idx="2147">
                  <c:v>1.0500533648179589</c:v>
                </c:pt>
                <c:pt idx="2148">
                  <c:v>1.0690413043212255</c:v>
                </c:pt>
                <c:pt idx="2149">
                  <c:v>1.064643321633518</c:v>
                </c:pt>
                <c:pt idx="2150">
                  <c:v>1.1169180194038262</c:v>
                </c:pt>
                <c:pt idx="2151">
                  <c:v>1.1157557615984917</c:v>
                </c:pt>
                <c:pt idx="2152">
                  <c:v>1.1157557615984917</c:v>
                </c:pt>
                <c:pt idx="2153">
                  <c:v>1.1369448879171407</c:v>
                </c:pt>
                <c:pt idx="2154">
                  <c:v>1.1411321762522346</c:v>
                </c:pt>
                <c:pt idx="2155">
                  <c:v>1.1530222156945016</c:v>
                </c:pt>
                <c:pt idx="2156">
                  <c:v>1.189365956848583</c:v>
                </c:pt>
                <c:pt idx="2157">
                  <c:v>1.151276952209874</c:v>
                </c:pt>
                <c:pt idx="2158">
                  <c:v>1.1507583206927849</c:v>
                </c:pt>
                <c:pt idx="2159">
                  <c:v>1.1311877594486415</c:v>
                </c:pt>
                <c:pt idx="2160">
                  <c:v>1.1257276063409662</c:v>
                </c:pt>
                <c:pt idx="2161">
                  <c:v>1.1294268712365867</c:v>
                </c:pt>
                <c:pt idx="2162">
                  <c:v>1.1367239173905936</c:v>
                </c:pt>
                <c:pt idx="2163">
                  <c:v>1.1569597495457511</c:v>
                </c:pt>
                <c:pt idx="2164">
                  <c:v>1.195438696948079</c:v>
                </c:pt>
                <c:pt idx="2165">
                  <c:v>1.1966956901036472</c:v>
                </c:pt>
                <c:pt idx="2166">
                  <c:v>1.2063386707329531</c:v>
                </c:pt>
                <c:pt idx="2167">
                  <c:v>1.1873078307909337</c:v>
                </c:pt>
                <c:pt idx="2168">
                  <c:v>1.2075593319708502</c:v>
                </c:pt>
                <c:pt idx="2169">
                  <c:v>1.1999109162335979</c:v>
                </c:pt>
                <c:pt idx="2170">
                  <c:v>1.1792964978685632</c:v>
                </c:pt>
                <c:pt idx="2171">
                  <c:v>1.1751645030358102</c:v>
                </c:pt>
                <c:pt idx="2172">
                  <c:v>1.145104572848533</c:v>
                </c:pt>
                <c:pt idx="2173">
                  <c:v>1.1407486954657877</c:v>
                </c:pt>
                <c:pt idx="2174">
                  <c:v>1.1242409955574268</c:v>
                </c:pt>
                <c:pt idx="2175">
                  <c:v>1.1359005238135951</c:v>
                </c:pt>
                <c:pt idx="2176">
                  <c:v>1.1715328400869944</c:v>
                </c:pt>
                <c:pt idx="2177">
                  <c:v>1.1768020663851151</c:v>
                </c:pt>
                <c:pt idx="2178">
                  <c:v>1.1629176545501267</c:v>
                </c:pt>
                <c:pt idx="2179">
                  <c:v>1.1506817569367853</c:v>
                </c:pt>
                <c:pt idx="2180">
                  <c:v>1.1161551925216777</c:v>
                </c:pt>
                <c:pt idx="2181">
                  <c:v>1.1187362019954361</c:v>
                </c:pt>
                <c:pt idx="2182">
                  <c:v>1.1684080927759655</c:v>
                </c:pt>
                <c:pt idx="2183">
                  <c:v>1.2039759802087171</c:v>
                </c:pt>
                <c:pt idx="2184">
                  <c:v>1.1977951007782077</c:v>
                </c:pt>
                <c:pt idx="2185">
                  <c:v>1.1993847081570284</c:v>
                </c:pt>
                <c:pt idx="2186">
                  <c:v>1.1971647060172355</c:v>
                </c:pt>
                <c:pt idx="2187">
                  <c:v>1.1970456448532234</c:v>
                </c:pt>
                <c:pt idx="2188">
                  <c:v>1.1972024862584645</c:v>
                </c:pt>
                <c:pt idx="2189">
                  <c:v>1.2189111402461188</c:v>
                </c:pt>
                <c:pt idx="2190">
                  <c:v>1.2473254144990285</c:v>
                </c:pt>
                <c:pt idx="2191">
                  <c:v>1.2701716781419838</c:v>
                </c:pt>
                <c:pt idx="2192">
                  <c:v>1.2575957722721485</c:v>
                </c:pt>
                <c:pt idx="2193">
                  <c:v>1.2535047418861385</c:v>
                </c:pt>
                <c:pt idx="2194">
                  <c:v>1.237361858073899</c:v>
                </c:pt>
                <c:pt idx="2195">
                  <c:v>1.2654117043907867</c:v>
                </c:pt>
                <c:pt idx="2196">
                  <c:v>1.2702151143729983</c:v>
                </c:pt>
                <c:pt idx="2197">
                  <c:v>1.2467853376427391</c:v>
                </c:pt>
                <c:pt idx="2198">
                  <c:v>1.2208796527245354</c:v>
                </c:pt>
                <c:pt idx="2199">
                  <c:v>1.2209184878700907</c:v>
                </c:pt>
                <c:pt idx="2200">
                  <c:v>1.2217161474039648</c:v>
                </c:pt>
                <c:pt idx="2201">
                  <c:v>1.2098627261354713</c:v>
                </c:pt>
                <c:pt idx="2202">
                  <c:v>1.2304637010250359</c:v>
                </c:pt>
                <c:pt idx="2203">
                  <c:v>1.2451238224904915</c:v>
                </c:pt>
                <c:pt idx="2204">
                  <c:v>1.2519775621359808</c:v>
                </c:pt>
                <c:pt idx="2205">
                  <c:v>1.305760402939627</c:v>
                </c:pt>
                <c:pt idx="2206">
                  <c:v>1.2880503399172405</c:v>
                </c:pt>
                <c:pt idx="2207">
                  <c:v>1.2741201155956674</c:v>
                </c:pt>
                <c:pt idx="2208">
                  <c:v>1.242452200796621</c:v>
                </c:pt>
                <c:pt idx="2209">
                  <c:v>1.2459416879032388</c:v>
                </c:pt>
                <c:pt idx="2210">
                  <c:v>1.251670148609265</c:v>
                </c:pt>
                <c:pt idx="2211">
                  <c:v>1.2799874280991799</c:v>
                </c:pt>
                <c:pt idx="2212">
                  <c:v>1.2647678902043462</c:v>
                </c:pt>
                <c:pt idx="2213">
                  <c:v>1.2178032323177983</c:v>
                </c:pt>
                <c:pt idx="2214">
                  <c:v>1.2107754236177661</c:v>
                </c:pt>
                <c:pt idx="2215">
                  <c:v>1.201553400691223</c:v>
                </c:pt>
                <c:pt idx="2216">
                  <c:v>1.2035755638642027</c:v>
                </c:pt>
                <c:pt idx="2217">
                  <c:v>1.2027604743342242</c:v>
                </c:pt>
                <c:pt idx="2218">
                  <c:v>1.2654852778700136</c:v>
                </c:pt>
                <c:pt idx="2219">
                  <c:v>1.2585450914156533</c:v>
                </c:pt>
                <c:pt idx="2220">
                  <c:v>1.1892563116135406</c:v>
                </c:pt>
                <c:pt idx="2221">
                  <c:v>1.1902294282843209</c:v>
                </c:pt>
                <c:pt idx="2222">
                  <c:v>1.1907538421704449</c:v>
                </c:pt>
                <c:pt idx="2223">
                  <c:v>1.1728217765458777</c:v>
                </c:pt>
                <c:pt idx="2224">
                  <c:v>1.6486547982152484</c:v>
                </c:pt>
                <c:pt idx="2225">
                  <c:v>1.7877444853299329</c:v>
                </c:pt>
                <c:pt idx="2226">
                  <c:v>1.9949102189344752</c:v>
                </c:pt>
                <c:pt idx="2227">
                  <c:v>2.1279129054858736</c:v>
                </c:pt>
                <c:pt idx="2228">
                  <c:v>2.1150951719028854</c:v>
                </c:pt>
                <c:pt idx="2229">
                  <c:v>2.1802165873637627</c:v>
                </c:pt>
                <c:pt idx="2230">
                  <c:v>2.1788283522356107</c:v>
                </c:pt>
                <c:pt idx="2231">
                  <c:v>2.2122442965428131</c:v>
                </c:pt>
                <c:pt idx="2232">
                  <c:v>2.1576845028393525</c:v>
                </c:pt>
                <c:pt idx="2233">
                  <c:v>2.2223013855631426</c:v>
                </c:pt>
                <c:pt idx="2234">
                  <c:v>2.2612981979893507</c:v>
                </c:pt>
                <c:pt idx="2235">
                  <c:v>2.3878651312537471</c:v>
                </c:pt>
                <c:pt idx="2236">
                  <c:v>2.4708968077365676</c:v>
                </c:pt>
                <c:pt idx="2237">
                  <c:v>2.5335361004757355</c:v>
                </c:pt>
                <c:pt idx="2238">
                  <c:v>2.6615696043163504</c:v>
                </c:pt>
                <c:pt idx="2239">
                  <c:v>2.6505854699166629</c:v>
                </c:pt>
                <c:pt idx="2240">
                  <c:v>2.7509894562694619</c:v>
                </c:pt>
                <c:pt idx="2241">
                  <c:v>2.9327199136559265</c:v>
                </c:pt>
                <c:pt idx="2242">
                  <c:v>2.9069105336378547</c:v>
                </c:pt>
                <c:pt idx="2243">
                  <c:v>2.9295115319950451</c:v>
                </c:pt>
                <c:pt idx="2244">
                  <c:v>2.929800197181081</c:v>
                </c:pt>
                <c:pt idx="2245">
                  <c:v>3.0157345991339817</c:v>
                </c:pt>
                <c:pt idx="2246">
                  <c:v>3.0270504592356273</c:v>
                </c:pt>
                <c:pt idx="2247">
                  <c:v>3.1397594168028706</c:v>
                </c:pt>
                <c:pt idx="2248">
                  <c:v>3.1899306553915707</c:v>
                </c:pt>
                <c:pt idx="2249">
                  <c:v>3.2599138977417268</c:v>
                </c:pt>
                <c:pt idx="2250">
                  <c:v>3.2533629638748653</c:v>
                </c:pt>
                <c:pt idx="2251">
                  <c:v>3.2960073373425751</c:v>
                </c:pt>
                <c:pt idx="2252">
                  <c:v>3.2780239351689047</c:v>
                </c:pt>
                <c:pt idx="2253">
                  <c:v>3.3233478481104313</c:v>
                </c:pt>
                <c:pt idx="2254">
                  <c:v>3.2450060836242858</c:v>
                </c:pt>
                <c:pt idx="2255">
                  <c:v>3.2750340175472923</c:v>
                </c:pt>
                <c:pt idx="2256">
                  <c:v>3.2154637140779134</c:v>
                </c:pt>
                <c:pt idx="2257">
                  <c:v>3.0898896308823858</c:v>
                </c:pt>
                <c:pt idx="2258">
                  <c:v>3.2022363772982083</c:v>
                </c:pt>
                <c:pt idx="2259">
                  <c:v>3.2256755329199129</c:v>
                </c:pt>
                <c:pt idx="2260">
                  <c:v>3.2884237218936136</c:v>
                </c:pt>
                <c:pt idx="2261">
                  <c:v>3.3174300397997123</c:v>
                </c:pt>
                <c:pt idx="2262">
                  <c:v>3.3679238974938768</c:v>
                </c:pt>
                <c:pt idx="2263">
                  <c:v>3.2687457786614802</c:v>
                </c:pt>
                <c:pt idx="2264">
                  <c:v>3.1541285478800205</c:v>
                </c:pt>
                <c:pt idx="2265">
                  <c:v>2.954604510944224</c:v>
                </c:pt>
                <c:pt idx="2266">
                  <c:v>3.0336049834153256</c:v>
                </c:pt>
                <c:pt idx="2267">
                  <c:v>2.8609749162242526</c:v>
                </c:pt>
                <c:pt idx="2268">
                  <c:v>2.8537981144714708</c:v>
                </c:pt>
                <c:pt idx="2269">
                  <c:v>2.8630175584913702</c:v>
                </c:pt>
                <c:pt idx="2270">
                  <c:v>2.8710314739023555</c:v>
                </c:pt>
                <c:pt idx="2271">
                  <c:v>2.8275439364656529</c:v>
                </c:pt>
                <c:pt idx="2272">
                  <c:v>2.8324586006044172</c:v>
                </c:pt>
                <c:pt idx="2273">
                  <c:v>2.9002193535749274</c:v>
                </c:pt>
                <c:pt idx="2274">
                  <c:v>2.9025030022656169</c:v>
                </c:pt>
                <c:pt idx="2275">
                  <c:v>2.8980953713791404</c:v>
                </c:pt>
                <c:pt idx="2276">
                  <c:v>7.4396718194829923</c:v>
                </c:pt>
                <c:pt idx="2277">
                  <c:v>10.020698285944512</c:v>
                </c:pt>
                <c:pt idx="2278">
                  <c:v>11.929076950734771</c:v>
                </c:pt>
                <c:pt idx="2279">
                  <c:v>13.289192934507895</c:v>
                </c:pt>
                <c:pt idx="2280">
                  <c:v>14.4487448287537</c:v>
                </c:pt>
                <c:pt idx="2281">
                  <c:v>15.354131455690373</c:v>
                </c:pt>
                <c:pt idx="2282">
                  <c:v>16.140814490408882</c:v>
                </c:pt>
                <c:pt idx="2283">
                  <c:v>16.697098808496335</c:v>
                </c:pt>
                <c:pt idx="2284">
                  <c:v>17.290679985697967</c:v>
                </c:pt>
                <c:pt idx="2285">
                  <c:v>17.789734961488332</c:v>
                </c:pt>
                <c:pt idx="2286">
                  <c:v>18.131687700006719</c:v>
                </c:pt>
                <c:pt idx="2287">
                  <c:v>18.258665462808572</c:v>
                </c:pt>
                <c:pt idx="2288">
                  <c:v>18.490391667646975</c:v>
                </c:pt>
                <c:pt idx="2289">
                  <c:v>18.586752175589517</c:v>
                </c:pt>
                <c:pt idx="2290">
                  <c:v>18.634483696729522</c:v>
                </c:pt>
                <c:pt idx="2291">
                  <c:v>18.557030442680606</c:v>
                </c:pt>
                <c:pt idx="2292">
                  <c:v>18.826168801010414</c:v>
                </c:pt>
                <c:pt idx="2293">
                  <c:v>19.058814342396303</c:v>
                </c:pt>
                <c:pt idx="2294">
                  <c:v>19.199724626856668</c:v>
                </c:pt>
                <c:pt idx="2295">
                  <c:v>19.423466033605351</c:v>
                </c:pt>
                <c:pt idx="2296">
                  <c:v>19.711591668151865</c:v>
                </c:pt>
                <c:pt idx="2297">
                  <c:v>19.818303118727073</c:v>
                </c:pt>
                <c:pt idx="2298">
                  <c:v>20.07091829076295</c:v>
                </c:pt>
                <c:pt idx="2299">
                  <c:v>20.264715637902682</c:v>
                </c:pt>
                <c:pt idx="2300">
                  <c:v>20.419601254733131</c:v>
                </c:pt>
                <c:pt idx="2301">
                  <c:v>20.62527909947001</c:v>
                </c:pt>
                <c:pt idx="2302">
                  <c:v>20.768136004549088</c:v>
                </c:pt>
                <c:pt idx="2303">
                  <c:v>21.035136727067801</c:v>
                </c:pt>
                <c:pt idx="2304">
                  <c:v>21.297591761220005</c:v>
                </c:pt>
                <c:pt idx="2305">
                  <c:v>21.52995898261544</c:v>
                </c:pt>
                <c:pt idx="2306">
                  <c:v>21.528354414425255</c:v>
                </c:pt>
                <c:pt idx="2307">
                  <c:v>21.443528137074761</c:v>
                </c:pt>
                <c:pt idx="2308">
                  <c:v>21.305426660182462</c:v>
                </c:pt>
                <c:pt idx="2309">
                  <c:v>21.038157137618455</c:v>
                </c:pt>
                <c:pt idx="2310">
                  <c:v>20.671367584562269</c:v>
                </c:pt>
                <c:pt idx="2311">
                  <c:v>20.221359564670177</c:v>
                </c:pt>
                <c:pt idx="2312">
                  <c:v>19.629015281453626</c:v>
                </c:pt>
                <c:pt idx="2313">
                  <c:v>18.93312307941375</c:v>
                </c:pt>
                <c:pt idx="2314">
                  <c:v>18.115783998631059</c:v>
                </c:pt>
                <c:pt idx="2315">
                  <c:v>17.15104495325301</c:v>
                </c:pt>
                <c:pt idx="2316">
                  <c:v>15.959624862355829</c:v>
                </c:pt>
                <c:pt idx="2317">
                  <c:v>14.545972543676116</c:v>
                </c:pt>
                <c:pt idx="2318">
                  <c:v>12.829736601519464</c:v>
                </c:pt>
                <c:pt idx="2319">
                  <c:v>10.680124175953836</c:v>
                </c:pt>
                <c:pt idx="2320">
                  <c:v>7.7304349181006113</c:v>
                </c:pt>
                <c:pt idx="2321">
                  <c:v>1.1142826154645131</c:v>
                </c:pt>
                <c:pt idx="2322">
                  <c:v>1.1053540026907067</c:v>
                </c:pt>
                <c:pt idx="2323">
                  <c:v>1.1107118976315278</c:v>
                </c:pt>
                <c:pt idx="2324">
                  <c:v>1.1264606864693143</c:v>
                </c:pt>
                <c:pt idx="2325">
                  <c:v>1.1381992735048183</c:v>
                </c:pt>
                <c:pt idx="2326">
                  <c:v>1.135744021669769</c:v>
                </c:pt>
                <c:pt idx="2327">
                  <c:v>1.1323871642045276</c:v>
                </c:pt>
                <c:pt idx="2328">
                  <c:v>1.1073967090723937</c:v>
                </c:pt>
                <c:pt idx="2329">
                  <c:v>1.1064658971740591</c:v>
                </c:pt>
                <c:pt idx="2330">
                  <c:v>1.1434261883811572</c:v>
                </c:pt>
                <c:pt idx="2331">
                  <c:v>1.1688525171708157</c:v>
                </c:pt>
                <c:pt idx="2332">
                  <c:v>1.1876395985701866</c:v>
                </c:pt>
                <c:pt idx="2333">
                  <c:v>1.173613145841488</c:v>
                </c:pt>
                <c:pt idx="2334">
                  <c:v>1.1345627544028407</c:v>
                </c:pt>
                <c:pt idx="2335">
                  <c:v>1.0821107513378281</c:v>
                </c:pt>
                <c:pt idx="2336">
                  <c:v>1.0703616318742488</c:v>
                </c:pt>
                <c:pt idx="2337">
                  <c:v>1.1198389149347765</c:v>
                </c:pt>
                <c:pt idx="2338">
                  <c:v>1.1336128796549283</c:v>
                </c:pt>
                <c:pt idx="2339">
                  <c:v>1.1745974610062369</c:v>
                </c:pt>
                <c:pt idx="2340">
                  <c:v>1.2161065156766755</c:v>
                </c:pt>
                <c:pt idx="2341">
                  <c:v>1.2596899819299638</c:v>
                </c:pt>
                <c:pt idx="2342">
                  <c:v>1.2383901767557173</c:v>
                </c:pt>
                <c:pt idx="2343">
                  <c:v>1.2761470386941371</c:v>
                </c:pt>
                <c:pt idx="2344">
                  <c:v>1.2864439090121582</c:v>
                </c:pt>
                <c:pt idx="2345">
                  <c:v>1.3058633907887527</c:v>
                </c:pt>
                <c:pt idx="2346">
                  <c:v>1.2785730192356011</c:v>
                </c:pt>
                <c:pt idx="2347">
                  <c:v>1.2755920869987365</c:v>
                </c:pt>
                <c:pt idx="2348">
                  <c:v>1.2256100521780977</c:v>
                </c:pt>
                <c:pt idx="2349">
                  <c:v>1.2664680273768523</c:v>
                </c:pt>
                <c:pt idx="2350">
                  <c:v>1.2601286195984258</c:v>
                </c:pt>
                <c:pt idx="2351">
                  <c:v>1.256858700532183</c:v>
                </c:pt>
                <c:pt idx="2352">
                  <c:v>1.2669374786123597</c:v>
                </c:pt>
                <c:pt idx="2353">
                  <c:v>1.2704648438820454</c:v>
                </c:pt>
                <c:pt idx="2354">
                  <c:v>1.2653633343099882</c:v>
                </c:pt>
                <c:pt idx="2355">
                  <c:v>1.2556863306254233</c:v>
                </c:pt>
                <c:pt idx="2356">
                  <c:v>1.2544825832685511</c:v>
                </c:pt>
                <c:pt idx="2357">
                  <c:v>1.240886038651229</c:v>
                </c:pt>
                <c:pt idx="2358">
                  <c:v>1.2279653295491337</c:v>
                </c:pt>
                <c:pt idx="2359">
                  <c:v>1.2698368073265867</c:v>
                </c:pt>
                <c:pt idx="2360">
                  <c:v>1.2299696753574252</c:v>
                </c:pt>
                <c:pt idx="2361">
                  <c:v>1.1933821347499003</c:v>
                </c:pt>
                <c:pt idx="2362">
                  <c:v>1.1837227463514775</c:v>
                </c:pt>
                <c:pt idx="2363">
                  <c:v>1.2038264662813902</c:v>
                </c:pt>
                <c:pt idx="2364">
                  <c:v>1.1983141414542327</c:v>
                </c:pt>
                <c:pt idx="2365">
                  <c:v>1.2002607475332032</c:v>
                </c:pt>
                <c:pt idx="2366">
                  <c:v>1.2247131496193604</c:v>
                </c:pt>
                <c:pt idx="2367">
                  <c:v>1.1817058097046211</c:v>
                </c:pt>
                <c:pt idx="2368">
                  <c:v>1.1881191549826899</c:v>
                </c:pt>
                <c:pt idx="2369">
                  <c:v>1.1365600954523747</c:v>
                </c:pt>
                <c:pt idx="2370">
                  <c:v>1.1580795140747195</c:v>
                </c:pt>
                <c:pt idx="2371">
                  <c:v>1.1614792391551836</c:v>
                </c:pt>
                <c:pt idx="2372">
                  <c:v>1.1841724400677844</c:v>
                </c:pt>
                <c:pt idx="2373">
                  <c:v>1.1719219404391901</c:v>
                </c:pt>
                <c:pt idx="2374">
                  <c:v>1.1742692029170905</c:v>
                </c:pt>
                <c:pt idx="2375">
                  <c:v>1.1516595222427559</c:v>
                </c:pt>
                <c:pt idx="2376">
                  <c:v>1.1739274880189303</c:v>
                </c:pt>
                <c:pt idx="2377">
                  <c:v>1.1950118548923829</c:v>
                </c:pt>
                <c:pt idx="2378">
                  <c:v>1.1999279671866898</c:v>
                </c:pt>
                <c:pt idx="2379">
                  <c:v>1.1946134372121453</c:v>
                </c:pt>
                <c:pt idx="2380">
                  <c:v>1.235895552258343</c:v>
                </c:pt>
                <c:pt idx="2381">
                  <c:v>1.2526323547202325</c:v>
                </c:pt>
                <c:pt idx="2382">
                  <c:v>1.2337746958014664</c:v>
                </c:pt>
                <c:pt idx="2383">
                  <c:v>1.2276624362874609</c:v>
                </c:pt>
                <c:pt idx="2384">
                  <c:v>1.2249267395405243</c:v>
                </c:pt>
                <c:pt idx="2385">
                  <c:v>1.2083342766544078</c:v>
                </c:pt>
                <c:pt idx="2386">
                  <c:v>1.1953948513251647</c:v>
                </c:pt>
                <c:pt idx="2387">
                  <c:v>1.2286070984244113</c:v>
                </c:pt>
                <c:pt idx="2388">
                  <c:v>1.2269916486052899</c:v>
                </c:pt>
                <c:pt idx="2389">
                  <c:v>1.1641882870979647</c:v>
                </c:pt>
                <c:pt idx="2390">
                  <c:v>1.1837998432866588</c:v>
                </c:pt>
                <c:pt idx="2391">
                  <c:v>1.1755636456855372</c:v>
                </c:pt>
                <c:pt idx="2392">
                  <c:v>1.1845744179764051</c:v>
                </c:pt>
                <c:pt idx="2393">
                  <c:v>1.1705640648358628</c:v>
                </c:pt>
                <c:pt idx="2394">
                  <c:v>1.1688335869673616</c:v>
                </c:pt>
                <c:pt idx="2395">
                  <c:v>1.1662700146734619</c:v>
                </c:pt>
                <c:pt idx="2396">
                  <c:v>1.1427532793526629</c:v>
                </c:pt>
                <c:pt idx="2397">
                  <c:v>1.2032504349450293</c:v>
                </c:pt>
                <c:pt idx="2398">
                  <c:v>1.1879508097715081</c:v>
                </c:pt>
                <c:pt idx="2399">
                  <c:v>1.1774763584516863</c:v>
                </c:pt>
                <c:pt idx="2400">
                  <c:v>1.1433355618087595</c:v>
                </c:pt>
                <c:pt idx="2401">
                  <c:v>1.1537224112839493</c:v>
                </c:pt>
                <c:pt idx="2402">
                  <c:v>1.1323600113931516</c:v>
                </c:pt>
                <c:pt idx="2403">
                  <c:v>1.1429675028817214</c:v>
                </c:pt>
                <c:pt idx="2404">
                  <c:v>1.1155888605338107</c:v>
                </c:pt>
                <c:pt idx="2405">
                  <c:v>1.1029440227143801</c:v>
                </c:pt>
                <c:pt idx="2406">
                  <c:v>1.0807370835120633</c:v>
                </c:pt>
                <c:pt idx="2407">
                  <c:v>1.0416364225494463</c:v>
                </c:pt>
                <c:pt idx="2408">
                  <c:v>1.0543765385560655</c:v>
                </c:pt>
                <c:pt idx="2409">
                  <c:v>1.0143069090502763</c:v>
                </c:pt>
                <c:pt idx="2410">
                  <c:v>0.97593344647779212</c:v>
                </c:pt>
                <c:pt idx="2411">
                  <c:v>0.9401347421159012</c:v>
                </c:pt>
                <c:pt idx="2412">
                  <c:v>0.96274655000172749</c:v>
                </c:pt>
                <c:pt idx="2413">
                  <c:v>0.97373200778679592</c:v>
                </c:pt>
                <c:pt idx="2414">
                  <c:v>0.92862925801989116</c:v>
                </c:pt>
                <c:pt idx="2415">
                  <c:v>0.93191935174719831</c:v>
                </c:pt>
                <c:pt idx="2416">
                  <c:v>0.93293068079703145</c:v>
                </c:pt>
                <c:pt idx="2417">
                  <c:v>0.89486941190757852</c:v>
                </c:pt>
                <c:pt idx="2418">
                  <c:v>0.90626231263930623</c:v>
                </c:pt>
                <c:pt idx="2419">
                  <c:v>0.86117595355914622</c:v>
                </c:pt>
                <c:pt idx="2420">
                  <c:v>0.85451612980209635</c:v>
                </c:pt>
                <c:pt idx="2421">
                  <c:v>0.86685910772378538</c:v>
                </c:pt>
                <c:pt idx="2422">
                  <c:v>0.85808561317634802</c:v>
                </c:pt>
                <c:pt idx="2423">
                  <c:v>0.85136374710522922</c:v>
                </c:pt>
                <c:pt idx="2424">
                  <c:v>0.8611437004974275</c:v>
                </c:pt>
                <c:pt idx="2425">
                  <c:v>0.8630302219628021</c:v>
                </c:pt>
                <c:pt idx="2426">
                  <c:v>0.87801933277004107</c:v>
                </c:pt>
                <c:pt idx="2427">
                  <c:v>0.83488598945282066</c:v>
                </c:pt>
                <c:pt idx="2428">
                  <c:v>0.84859197105165529</c:v>
                </c:pt>
                <c:pt idx="2429">
                  <c:v>0.86644158169651231</c:v>
                </c:pt>
                <c:pt idx="2430">
                  <c:v>0.86300170148087962</c:v>
                </c:pt>
                <c:pt idx="2431">
                  <c:v>0.79781574107682096</c:v>
                </c:pt>
                <c:pt idx="2432">
                  <c:v>0.81685663485385374</c:v>
                </c:pt>
                <c:pt idx="2433">
                  <c:v>0.75590499960051349</c:v>
                </c:pt>
                <c:pt idx="2434">
                  <c:v>0.77626787442576617</c:v>
                </c:pt>
                <c:pt idx="2435">
                  <c:v>0.79656062137756434</c:v>
                </c:pt>
                <c:pt idx="2436">
                  <c:v>0.82107309626595637</c:v>
                </c:pt>
                <c:pt idx="2437">
                  <c:v>0.81568759338364305</c:v>
                </c:pt>
                <c:pt idx="2438">
                  <c:v>0.77714557072355361</c:v>
                </c:pt>
                <c:pt idx="2439">
                  <c:v>0.79628395178361577</c:v>
                </c:pt>
                <c:pt idx="2440">
                  <c:v>0.76340247139587725</c:v>
                </c:pt>
                <c:pt idx="2441">
                  <c:v>0.79704520612450869</c:v>
                </c:pt>
                <c:pt idx="2442">
                  <c:v>0.76149135970744319</c:v>
                </c:pt>
                <c:pt idx="2443">
                  <c:v>0.68197099970925723</c:v>
                </c:pt>
                <c:pt idx="2444">
                  <c:v>0.72311824759163645</c:v>
                </c:pt>
                <c:pt idx="2445">
                  <c:v>0.76404936265363654</c:v>
                </c:pt>
                <c:pt idx="2446">
                  <c:v>0.82360415827253375</c:v>
                </c:pt>
                <c:pt idx="2447">
                  <c:v>0.89767291741851385</c:v>
                </c:pt>
                <c:pt idx="2448">
                  <c:v>0.82314640253116567</c:v>
                </c:pt>
                <c:pt idx="2449">
                  <c:v>0.93289424195171566</c:v>
                </c:pt>
                <c:pt idx="2450">
                  <c:v>1.1001969520650978</c:v>
                </c:pt>
                <c:pt idx="2451">
                  <c:v>0.6434671708797558</c:v>
                </c:pt>
              </c:numCache>
            </c:numRef>
          </c:val>
          <c:smooth val="0"/>
          <c:extLst>
            <c:ext xmlns:c16="http://schemas.microsoft.com/office/drawing/2014/chart" uri="{C3380CC4-5D6E-409C-BE32-E72D297353CC}">
              <c16:uniqueId val="{00000001-FC66-2144-AB8E-B2E86AA4D44E}"/>
            </c:ext>
          </c:extLst>
        </c:ser>
        <c:ser>
          <c:idx val="2"/>
          <c:order val="2"/>
          <c:tx>
            <c:strRef>
              <c:f>'DRT Rolling Stdev'!$E$1</c:f>
              <c:strCache>
                <c:ptCount val="1"/>
                <c:pt idx="0">
                  <c:v>Pump Speed (RPM)</c:v>
                </c:pt>
              </c:strCache>
            </c:strRef>
          </c:tx>
          <c:spPr>
            <a:ln w="28575" cap="rnd">
              <a:solidFill>
                <a:schemeClr val="accent3"/>
              </a:solidFill>
              <a:round/>
            </a:ln>
            <a:effectLst/>
          </c:spPr>
          <c:marker>
            <c:symbol val="none"/>
          </c:marker>
          <c:cat>
            <c:numRef>
              <c:f>'DRT Rolling Stdev'!$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E$2:$E$2453</c:f>
              <c:numCache>
                <c:formatCode>#,##0.00</c:formatCode>
                <c:ptCount val="2452"/>
                <c:pt idx="0">
                  <c:v>5.5418989234883131</c:v>
                </c:pt>
                <c:pt idx="1">
                  <c:v>5.4865561922370496</c:v>
                </c:pt>
                <c:pt idx="2">
                  <c:v>5.6197517022909738</c:v>
                </c:pt>
                <c:pt idx="3">
                  <c:v>5.6145336855118373</c:v>
                </c:pt>
                <c:pt idx="4">
                  <c:v>5.6120764694407521</c:v>
                </c:pt>
                <c:pt idx="5">
                  <c:v>5.8068528679384546</c:v>
                </c:pt>
                <c:pt idx="6">
                  <c:v>5.7818582702684154</c:v>
                </c:pt>
                <c:pt idx="7">
                  <c:v>5.7676266558593507</c:v>
                </c:pt>
                <c:pt idx="8">
                  <c:v>5.5688996828961574</c:v>
                </c:pt>
                <c:pt idx="9">
                  <c:v>5.7075267909108867</c:v>
                </c:pt>
                <c:pt idx="10">
                  <c:v>5.7803670885300109</c:v>
                </c:pt>
                <c:pt idx="11">
                  <c:v>5.7540590370884148</c:v>
                </c:pt>
                <c:pt idx="12">
                  <c:v>5.7937739075626702</c:v>
                </c:pt>
                <c:pt idx="13">
                  <c:v>5.6977511191778065</c:v>
                </c:pt>
                <c:pt idx="14">
                  <c:v>5.754458541291986</c:v>
                </c:pt>
                <c:pt idx="15">
                  <c:v>5.8314446860479432</c:v>
                </c:pt>
                <c:pt idx="16">
                  <c:v>5.8423739467217706</c:v>
                </c:pt>
                <c:pt idx="17">
                  <c:v>5.9811965896196853</c:v>
                </c:pt>
                <c:pt idx="18">
                  <c:v>6.1101009266077861</c:v>
                </c:pt>
                <c:pt idx="19">
                  <c:v>6.0996513938451251</c:v>
                </c:pt>
                <c:pt idx="20">
                  <c:v>6.1820094936282928</c:v>
                </c:pt>
                <c:pt idx="21">
                  <c:v>6.3543812381332785</c:v>
                </c:pt>
                <c:pt idx="22">
                  <c:v>6.3103636705955726</c:v>
                </c:pt>
                <c:pt idx="23">
                  <c:v>6.3296419974665206</c:v>
                </c:pt>
                <c:pt idx="24">
                  <c:v>6.3296419974665206</c:v>
                </c:pt>
                <c:pt idx="25">
                  <c:v>6.1662783350856882</c:v>
                </c:pt>
                <c:pt idx="26">
                  <c:v>6.2363413972447432</c:v>
                </c:pt>
                <c:pt idx="27">
                  <c:v>6.2363413972447423</c:v>
                </c:pt>
                <c:pt idx="28">
                  <c:v>6.1292590165495557</c:v>
                </c:pt>
                <c:pt idx="29">
                  <c:v>5.9311180159848647</c:v>
                </c:pt>
                <c:pt idx="30">
                  <c:v>6.0667740296171226</c:v>
                </c:pt>
                <c:pt idx="31">
                  <c:v>5.8984704816578075</c:v>
                </c:pt>
                <c:pt idx="32">
                  <c:v>5.8984704816578075</c:v>
                </c:pt>
                <c:pt idx="33">
                  <c:v>5.6320103186948307</c:v>
                </c:pt>
                <c:pt idx="34">
                  <c:v>5.4423836900649567</c:v>
                </c:pt>
                <c:pt idx="35">
                  <c:v>5.8092276971023962</c:v>
                </c:pt>
                <c:pt idx="36">
                  <c:v>5.9557757150362951</c:v>
                </c:pt>
                <c:pt idx="37">
                  <c:v>5.9566441219366375</c:v>
                </c:pt>
                <c:pt idx="38">
                  <c:v>5.9232640892724318</c:v>
                </c:pt>
                <c:pt idx="39">
                  <c:v>5.9476644696618646</c:v>
                </c:pt>
                <c:pt idx="40">
                  <c:v>5.8515151785719111</c:v>
                </c:pt>
                <c:pt idx="41">
                  <c:v>5.8742571063687832</c:v>
                </c:pt>
                <c:pt idx="42">
                  <c:v>5.8041800236662571</c:v>
                </c:pt>
                <c:pt idx="43">
                  <c:v>5.7484630629592548</c:v>
                </c:pt>
                <c:pt idx="44">
                  <c:v>5.7843427188968644</c:v>
                </c:pt>
                <c:pt idx="45">
                  <c:v>5.6568542494923806</c:v>
                </c:pt>
                <c:pt idx="46">
                  <c:v>5.6568542494923806</c:v>
                </c:pt>
                <c:pt idx="47">
                  <c:v>5.4629367707231919</c:v>
                </c:pt>
                <c:pt idx="48">
                  <c:v>5.1667593614228418</c:v>
                </c:pt>
                <c:pt idx="49">
                  <c:v>5.4049785479174925</c:v>
                </c:pt>
                <c:pt idx="50">
                  <c:v>5.4049785479174925</c:v>
                </c:pt>
                <c:pt idx="51">
                  <c:v>5.3991272176754341</c:v>
                </c:pt>
                <c:pt idx="52">
                  <c:v>5.9136506802326521</c:v>
                </c:pt>
                <c:pt idx="53">
                  <c:v>5.938477687200594</c:v>
                </c:pt>
                <c:pt idx="54">
                  <c:v>5.8613285536466133</c:v>
                </c:pt>
                <c:pt idx="55">
                  <c:v>6.1034190531153136</c:v>
                </c:pt>
                <c:pt idx="56">
                  <c:v>5.9708102224609068</c:v>
                </c:pt>
                <c:pt idx="57">
                  <c:v>5.7456630320756652</c:v>
                </c:pt>
                <c:pt idx="58">
                  <c:v>5.7456630320756652</c:v>
                </c:pt>
                <c:pt idx="59">
                  <c:v>5.9754286144540938</c:v>
                </c:pt>
                <c:pt idx="60">
                  <c:v>5.9383809086393189</c:v>
                </c:pt>
                <c:pt idx="61">
                  <c:v>5.8824695728802601</c:v>
                </c:pt>
                <c:pt idx="62">
                  <c:v>5.761644880078773</c:v>
                </c:pt>
                <c:pt idx="63">
                  <c:v>5.7355515623292872</c:v>
                </c:pt>
                <c:pt idx="64">
                  <c:v>5.7436621742938367</c:v>
                </c:pt>
                <c:pt idx="65">
                  <c:v>5.4830983773859048</c:v>
                </c:pt>
                <c:pt idx="66">
                  <c:v>5.274205284145693</c:v>
                </c:pt>
                <c:pt idx="67">
                  <c:v>5.3529452629842709</c:v>
                </c:pt>
                <c:pt idx="68">
                  <c:v>5.3674198086509728</c:v>
                </c:pt>
                <c:pt idx="69">
                  <c:v>5.3040864749109549</c:v>
                </c:pt>
                <c:pt idx="70">
                  <c:v>5.274205284145693</c:v>
                </c:pt>
                <c:pt idx="71">
                  <c:v>5.4059354353372076</c:v>
                </c:pt>
                <c:pt idx="72">
                  <c:v>5.5889875298836893</c:v>
                </c:pt>
                <c:pt idx="73">
                  <c:v>5.5490498306456493</c:v>
                </c:pt>
                <c:pt idx="74">
                  <c:v>5.276384167690737</c:v>
                </c:pt>
                <c:pt idx="75">
                  <c:v>5.3636708994159372</c:v>
                </c:pt>
                <c:pt idx="76">
                  <c:v>5.3799329141653374</c:v>
                </c:pt>
                <c:pt idx="77">
                  <c:v>5.197368918805064</c:v>
                </c:pt>
                <c:pt idx="78">
                  <c:v>5.0701968947688947</c:v>
                </c:pt>
                <c:pt idx="79">
                  <c:v>5.0901076022318872</c:v>
                </c:pt>
                <c:pt idx="80">
                  <c:v>4.7541875068800881</c:v>
                </c:pt>
                <c:pt idx="81">
                  <c:v>4.8599938508073288</c:v>
                </c:pt>
                <c:pt idx="82">
                  <c:v>4.7538248363515301</c:v>
                </c:pt>
                <c:pt idx="83">
                  <c:v>4.5632212860814807</c:v>
                </c:pt>
                <c:pt idx="84">
                  <c:v>4.5446697337106636</c:v>
                </c:pt>
                <c:pt idx="85">
                  <c:v>4.6663382478853972</c:v>
                </c:pt>
                <c:pt idx="86">
                  <c:v>4.6585726194377086</c:v>
                </c:pt>
                <c:pt idx="87">
                  <c:v>4.9799598391954936</c:v>
                </c:pt>
                <c:pt idx="88">
                  <c:v>5.1605265702986767</c:v>
                </c:pt>
                <c:pt idx="89">
                  <c:v>5.1022870688871809</c:v>
                </c:pt>
                <c:pt idx="90">
                  <c:v>5.0428052765768445</c:v>
                </c:pt>
                <c:pt idx="91">
                  <c:v>5.0356202462425435</c:v>
                </c:pt>
                <c:pt idx="92">
                  <c:v>5.0356202462425443</c:v>
                </c:pt>
                <c:pt idx="93">
                  <c:v>5.3222586165658274</c:v>
                </c:pt>
                <c:pt idx="94">
                  <c:v>5.6592920234687094</c:v>
                </c:pt>
                <c:pt idx="95">
                  <c:v>5.6414924250245333</c:v>
                </c:pt>
                <c:pt idx="96">
                  <c:v>5.8314446860479423</c:v>
                </c:pt>
                <c:pt idx="97">
                  <c:v>5.6993647558907528</c:v>
                </c:pt>
                <c:pt idx="98">
                  <c:v>5.6993647558907528</c:v>
                </c:pt>
                <c:pt idx="99">
                  <c:v>5.7143698680174477</c:v>
                </c:pt>
                <c:pt idx="100">
                  <c:v>5.6665990530110921</c:v>
                </c:pt>
                <c:pt idx="101">
                  <c:v>5.7204010790981368</c:v>
                </c:pt>
                <c:pt idx="102">
                  <c:v>5.7962532487925271</c:v>
                </c:pt>
                <c:pt idx="103">
                  <c:v>5.796253248792528</c:v>
                </c:pt>
                <c:pt idx="104">
                  <c:v>5.8839348785631893</c:v>
                </c:pt>
                <c:pt idx="105">
                  <c:v>5.8647593555789292</c:v>
                </c:pt>
                <c:pt idx="106">
                  <c:v>5.8456192458811485</c:v>
                </c:pt>
                <c:pt idx="107">
                  <c:v>5.7499625186184682</c:v>
                </c:pt>
                <c:pt idx="108">
                  <c:v>5.9136506802326512</c:v>
                </c:pt>
                <c:pt idx="109">
                  <c:v>5.9014901683300769</c:v>
                </c:pt>
                <c:pt idx="110">
                  <c:v>6.0647843486312274</c:v>
                </c:pt>
                <c:pt idx="111">
                  <c:v>5.9797551174247774</c:v>
                </c:pt>
                <c:pt idx="112">
                  <c:v>6.028667148400789</c:v>
                </c:pt>
                <c:pt idx="113">
                  <c:v>6.0499833760577149</c:v>
                </c:pt>
                <c:pt idx="114">
                  <c:v>6.0053615891211694</c:v>
                </c:pt>
                <c:pt idx="115">
                  <c:v>5.89963957597723</c:v>
                </c:pt>
                <c:pt idx="116">
                  <c:v>5.8338095043747638</c:v>
                </c:pt>
                <c:pt idx="117">
                  <c:v>5.7890105957893097</c:v>
                </c:pt>
                <c:pt idx="118">
                  <c:v>5.5527770829858945</c:v>
                </c:pt>
                <c:pt idx="119">
                  <c:v>5.6901810972534284</c:v>
                </c:pt>
                <c:pt idx="120">
                  <c:v>5.7150738372760532</c:v>
                </c:pt>
                <c:pt idx="121">
                  <c:v>5.6686271118616824</c:v>
                </c:pt>
                <c:pt idx="122">
                  <c:v>5.6231254858739419</c:v>
                </c:pt>
                <c:pt idx="123">
                  <c:v>5.5207029370851153</c:v>
                </c:pt>
                <c:pt idx="124">
                  <c:v>5.3235542530397364</c:v>
                </c:pt>
                <c:pt idx="125">
                  <c:v>5.376085829911454</c:v>
                </c:pt>
                <c:pt idx="126">
                  <c:v>5.1578530684638615</c:v>
                </c:pt>
                <c:pt idx="127">
                  <c:v>5.1577416424802367</c:v>
                </c:pt>
                <c:pt idx="128">
                  <c:v>5.4860324209885905</c:v>
                </c:pt>
                <c:pt idx="129">
                  <c:v>5.6054161000921612</c:v>
                </c:pt>
                <c:pt idx="130">
                  <c:v>5.6054161000921612</c:v>
                </c:pt>
                <c:pt idx="131">
                  <c:v>5.6756183520530108</c:v>
                </c:pt>
                <c:pt idx="132">
                  <c:v>5.5207029370851153</c:v>
                </c:pt>
                <c:pt idx="133">
                  <c:v>5.4907445635422665</c:v>
                </c:pt>
                <c:pt idx="134">
                  <c:v>5.4982755917431625</c:v>
                </c:pt>
                <c:pt idx="135">
                  <c:v>5.3879388505690429</c:v>
                </c:pt>
                <c:pt idx="136">
                  <c:v>5.4563050105191246</c:v>
                </c:pt>
                <c:pt idx="137">
                  <c:v>5.4504033384442421</c:v>
                </c:pt>
                <c:pt idx="138">
                  <c:v>5.5565018351187616</c:v>
                </c:pt>
                <c:pt idx="139">
                  <c:v>5.6001847260172806</c:v>
                </c:pt>
                <c:pt idx="140">
                  <c:v>5.3652778955569227</c:v>
                </c:pt>
                <c:pt idx="141">
                  <c:v>5.3652778955569227</c:v>
                </c:pt>
                <c:pt idx="142">
                  <c:v>5.2017901427926887</c:v>
                </c:pt>
                <c:pt idx="143">
                  <c:v>5.4032769963097929</c:v>
                </c:pt>
                <c:pt idx="144">
                  <c:v>5.4718716460042103</c:v>
                </c:pt>
                <c:pt idx="145">
                  <c:v>5.6491276917910902</c:v>
                </c:pt>
                <c:pt idx="146">
                  <c:v>5.684825536400421</c:v>
                </c:pt>
                <c:pt idx="147">
                  <c:v>5.6124860801609122</c:v>
                </c:pt>
                <c:pt idx="148">
                  <c:v>5.5745728149308009</c:v>
                </c:pt>
                <c:pt idx="149">
                  <c:v>5.4944067693543071</c:v>
                </c:pt>
                <c:pt idx="150">
                  <c:v>5.4367840392694626</c:v>
                </c:pt>
                <c:pt idx="151">
                  <c:v>5.4360440315217904</c:v>
                </c:pt>
                <c:pt idx="152">
                  <c:v>5.4304378435273337</c:v>
                </c:pt>
                <c:pt idx="153">
                  <c:v>5.7050088901579805</c:v>
                </c:pt>
                <c:pt idx="154">
                  <c:v>5.9171482724502464</c:v>
                </c:pt>
                <c:pt idx="155">
                  <c:v>5.8580919572255219</c:v>
                </c:pt>
                <c:pt idx="156">
                  <c:v>5.9392518589194516</c:v>
                </c:pt>
                <c:pt idx="157">
                  <c:v>6.1941759816745625</c:v>
                </c:pt>
                <c:pt idx="158">
                  <c:v>6.0889951608590982</c:v>
                </c:pt>
                <c:pt idx="159">
                  <c:v>6.0225629401290668</c:v>
                </c:pt>
                <c:pt idx="160">
                  <c:v>5.9174396451525366</c:v>
                </c:pt>
                <c:pt idx="161">
                  <c:v>5.7624428089514934</c:v>
                </c:pt>
                <c:pt idx="162">
                  <c:v>5.9057735242337417</c:v>
                </c:pt>
                <c:pt idx="163">
                  <c:v>5.8937917853615609</c:v>
                </c:pt>
                <c:pt idx="164">
                  <c:v>5.8937917853615609</c:v>
                </c:pt>
                <c:pt idx="165">
                  <c:v>5.8554425021984224</c:v>
                </c:pt>
                <c:pt idx="166">
                  <c:v>5.8160499294288375</c:v>
                </c:pt>
                <c:pt idx="167">
                  <c:v>6.0409521971520244</c:v>
                </c:pt>
                <c:pt idx="168">
                  <c:v>5.8274025680104833</c:v>
                </c:pt>
                <c:pt idx="169">
                  <c:v>5.7855348752819262</c:v>
                </c:pt>
                <c:pt idx="170">
                  <c:v>5.7839452788305108</c:v>
                </c:pt>
                <c:pt idx="171">
                  <c:v>5.73154208853461</c:v>
                </c:pt>
                <c:pt idx="172">
                  <c:v>5.7002722258042962</c:v>
                </c:pt>
                <c:pt idx="173">
                  <c:v>5.6405754984773484</c:v>
                </c:pt>
                <c:pt idx="174">
                  <c:v>5.5403431571384258</c:v>
                </c:pt>
                <c:pt idx="175">
                  <c:v>5.5403431571384258</c:v>
                </c:pt>
                <c:pt idx="176">
                  <c:v>5.4329772113741051</c:v>
                </c:pt>
                <c:pt idx="177">
                  <c:v>5.3649565348369466</c:v>
                </c:pt>
                <c:pt idx="178">
                  <c:v>5.4676688175904147</c:v>
                </c:pt>
                <c:pt idx="179">
                  <c:v>5.2663538391016509</c:v>
                </c:pt>
                <c:pt idx="180">
                  <c:v>5.387938850569042</c:v>
                </c:pt>
                <c:pt idx="181">
                  <c:v>5.7495627020120255</c:v>
                </c:pt>
                <c:pt idx="182">
                  <c:v>5.8707339610460387</c:v>
                </c:pt>
                <c:pt idx="183">
                  <c:v>5.9465048171366925</c:v>
                </c:pt>
                <c:pt idx="184">
                  <c:v>5.7519611847842276</c:v>
                </c:pt>
                <c:pt idx="185">
                  <c:v>5.8730829594239395</c:v>
                </c:pt>
                <c:pt idx="186">
                  <c:v>5.9907975405962262</c:v>
                </c:pt>
                <c:pt idx="187">
                  <c:v>5.8338095043747638</c:v>
                </c:pt>
                <c:pt idx="188">
                  <c:v>5.6430203048473544</c:v>
                </c:pt>
                <c:pt idx="189">
                  <c:v>5.4689300052477234</c:v>
                </c:pt>
                <c:pt idx="190">
                  <c:v>5.8976909566956506</c:v>
                </c:pt>
                <c:pt idx="191">
                  <c:v>5.9866710186093801</c:v>
                </c:pt>
                <c:pt idx="192">
                  <c:v>5.9866710186093801</c:v>
                </c:pt>
                <c:pt idx="193">
                  <c:v>5.9951129522591007</c:v>
                </c:pt>
                <c:pt idx="194">
                  <c:v>5.9194788524884085</c:v>
                </c:pt>
                <c:pt idx="195">
                  <c:v>5.9140394037379833</c:v>
                </c:pt>
                <c:pt idx="196">
                  <c:v>5.9140394037379824</c:v>
                </c:pt>
                <c:pt idx="197">
                  <c:v>5.9194788524884077</c:v>
                </c:pt>
                <c:pt idx="198">
                  <c:v>5.9557757150362951</c:v>
                </c:pt>
                <c:pt idx="199">
                  <c:v>6.2220409114251467</c:v>
                </c:pt>
                <c:pt idx="200">
                  <c:v>6.2030767301025893</c:v>
                </c:pt>
                <c:pt idx="201">
                  <c:v>6.317645422003431</c:v>
                </c:pt>
                <c:pt idx="202">
                  <c:v>6.2812437453505776</c:v>
                </c:pt>
                <c:pt idx="203">
                  <c:v>6.2127973228419933</c:v>
                </c:pt>
                <c:pt idx="204">
                  <c:v>6.1666511338729517</c:v>
                </c:pt>
                <c:pt idx="205">
                  <c:v>6.0340032650222222</c:v>
                </c:pt>
                <c:pt idx="206">
                  <c:v>6.0670582164916498</c:v>
                </c:pt>
                <c:pt idx="207">
                  <c:v>6.1034190531153136</c:v>
                </c:pt>
                <c:pt idx="208">
                  <c:v>6.2227798053399841</c:v>
                </c:pt>
                <c:pt idx="209">
                  <c:v>6.4240925831779059</c:v>
                </c:pt>
                <c:pt idx="210">
                  <c:v>6.4000718386772721</c:v>
                </c:pt>
                <c:pt idx="211">
                  <c:v>6.2620917514396321</c:v>
                </c:pt>
                <c:pt idx="212">
                  <c:v>6.2075223183918844</c:v>
                </c:pt>
                <c:pt idx="213">
                  <c:v>6.068573655060681</c:v>
                </c:pt>
                <c:pt idx="214">
                  <c:v>6.2375393026195942</c:v>
                </c:pt>
                <c:pt idx="215">
                  <c:v>6.3630578928001613</c:v>
                </c:pt>
                <c:pt idx="216">
                  <c:v>6.6415619268050357</c:v>
                </c:pt>
                <c:pt idx="217">
                  <c:v>6.7514153475698935</c:v>
                </c:pt>
                <c:pt idx="218">
                  <c:v>6.7076898741873761</c:v>
                </c:pt>
                <c:pt idx="219">
                  <c:v>6.8812589064742387</c:v>
                </c:pt>
                <c:pt idx="220">
                  <c:v>6.7881743012998408</c:v>
                </c:pt>
                <c:pt idx="221">
                  <c:v>6.8616039812424541</c:v>
                </c:pt>
                <c:pt idx="222">
                  <c:v>6.5151459259775297</c:v>
                </c:pt>
                <c:pt idx="223">
                  <c:v>6.52810017953332</c:v>
                </c:pt>
                <c:pt idx="224">
                  <c:v>6.2793220221192074</c:v>
                </c:pt>
                <c:pt idx="225">
                  <c:v>6.1941759816745616</c:v>
                </c:pt>
                <c:pt idx="226">
                  <c:v>6.2735533204371361</c:v>
                </c:pt>
                <c:pt idx="227">
                  <c:v>6.3045322139538316</c:v>
                </c:pt>
                <c:pt idx="228">
                  <c:v>5.6868470952767378</c:v>
                </c:pt>
                <c:pt idx="229">
                  <c:v>5.7989297466771017</c:v>
                </c:pt>
                <c:pt idx="230">
                  <c:v>5.5527770829858945</c:v>
                </c:pt>
                <c:pt idx="231">
                  <c:v>5.5642537271614296</c:v>
                </c:pt>
                <c:pt idx="232">
                  <c:v>5.6592920234687085</c:v>
                </c:pt>
                <c:pt idx="233">
                  <c:v>5.6272122086677436</c:v>
                </c:pt>
                <c:pt idx="234">
                  <c:v>5.7220083284057557</c:v>
                </c:pt>
                <c:pt idx="235">
                  <c:v>5.6665990530110921</c:v>
                </c:pt>
                <c:pt idx="236">
                  <c:v>5.2567417031211772</c:v>
                </c:pt>
                <c:pt idx="237">
                  <c:v>4.6437450205725082</c:v>
                </c:pt>
                <c:pt idx="238">
                  <c:v>4.6756891433795342</c:v>
                </c:pt>
                <c:pt idx="239">
                  <c:v>4.6899256176244997</c:v>
                </c:pt>
                <c:pt idx="240">
                  <c:v>4.2453490440418573</c:v>
                </c:pt>
                <c:pt idx="241">
                  <c:v>3.3211270763810377</c:v>
                </c:pt>
                <c:pt idx="242">
                  <c:v>2.7175462224706259</c:v>
                </c:pt>
                <c:pt idx="243">
                  <c:v>2.6749154031096203</c:v>
                </c:pt>
                <c:pt idx="244">
                  <c:v>2.8123291774432895</c:v>
                </c:pt>
                <c:pt idx="245">
                  <c:v>2.9651229355607671</c:v>
                </c:pt>
                <c:pt idx="246">
                  <c:v>2.8849590128365992</c:v>
                </c:pt>
                <c:pt idx="247">
                  <c:v>2.9323796777894646</c:v>
                </c:pt>
                <c:pt idx="248">
                  <c:v>3.0026807945605851</c:v>
                </c:pt>
                <c:pt idx="249">
                  <c:v>2.937862230050726</c:v>
                </c:pt>
                <c:pt idx="250">
                  <c:v>2.9703515794846793</c:v>
                </c:pt>
                <c:pt idx="251">
                  <c:v>2.9633780041368838</c:v>
                </c:pt>
                <c:pt idx="252">
                  <c:v>2.9674479146965296</c:v>
                </c:pt>
                <c:pt idx="253">
                  <c:v>2.9674479146965291</c:v>
                </c:pt>
                <c:pt idx="254">
                  <c:v>2.9664793948382648</c:v>
                </c:pt>
                <c:pt idx="255">
                  <c:v>3.0026807945605851</c:v>
                </c:pt>
                <c:pt idx="256">
                  <c:v>3.1089414985456565</c:v>
                </c:pt>
                <c:pt idx="257">
                  <c:v>3.1286587776755779</c:v>
                </c:pt>
                <c:pt idx="258">
                  <c:v>3.6434479059920921</c:v>
                </c:pt>
                <c:pt idx="259">
                  <c:v>4.0234942210877387</c:v>
                </c:pt>
                <c:pt idx="260">
                  <c:v>4.9200504623148067</c:v>
                </c:pt>
                <c:pt idx="261">
                  <c:v>5.2478786080717867</c:v>
                </c:pt>
                <c:pt idx="262">
                  <c:v>5.3622777798716976</c:v>
                </c:pt>
                <c:pt idx="263">
                  <c:v>5.3572380943915494</c:v>
                </c:pt>
                <c:pt idx="264">
                  <c:v>5.802199345194829</c:v>
                </c:pt>
                <c:pt idx="265">
                  <c:v>6.0099534299264796</c:v>
                </c:pt>
                <c:pt idx="266">
                  <c:v>5.8835441660637677</c:v>
                </c:pt>
                <c:pt idx="267">
                  <c:v>5.9847507366063573</c:v>
                </c:pt>
                <c:pt idx="268">
                  <c:v>6.2485860469554941</c:v>
                </c:pt>
                <c:pt idx="269">
                  <c:v>6.4562186007515008</c:v>
                </c:pt>
                <c:pt idx="270">
                  <c:v>6.4931440412353316</c:v>
                </c:pt>
                <c:pt idx="271">
                  <c:v>6.5724083655946046</c:v>
                </c:pt>
                <c:pt idx="272">
                  <c:v>6.5724083655946046</c:v>
                </c:pt>
                <c:pt idx="273">
                  <c:v>6.3209194733445031</c:v>
                </c:pt>
                <c:pt idx="274">
                  <c:v>6.2936749858557377</c:v>
                </c:pt>
                <c:pt idx="275">
                  <c:v>5.9823495172989052</c:v>
                </c:pt>
                <c:pt idx="276">
                  <c:v>5.88676676865202</c:v>
                </c:pt>
                <c:pt idx="277">
                  <c:v>5.9069411731443964</c:v>
                </c:pt>
                <c:pt idx="278">
                  <c:v>5.888231004963723</c:v>
                </c:pt>
                <c:pt idx="279">
                  <c:v>5.9754286144540965</c:v>
                </c:pt>
                <c:pt idx="280">
                  <c:v>5.9209349991675984</c:v>
                </c:pt>
                <c:pt idx="281">
                  <c:v>5.6901810972534284</c:v>
                </c:pt>
                <c:pt idx="282">
                  <c:v>5.3786508584840549</c:v>
                </c:pt>
                <c:pt idx="283">
                  <c:v>5.2832417773712494</c:v>
                </c:pt>
                <c:pt idx="284">
                  <c:v>5.0456536434494961</c:v>
                </c:pt>
                <c:pt idx="285">
                  <c:v>4.5389755287481668</c:v>
                </c:pt>
                <c:pt idx="286">
                  <c:v>4.6307319249681829</c:v>
                </c:pt>
                <c:pt idx="287">
                  <c:v>4.7740919579526855</c:v>
                </c:pt>
                <c:pt idx="288">
                  <c:v>4.9722216871080009</c:v>
                </c:pt>
                <c:pt idx="289">
                  <c:v>5.1039763628609878</c:v>
                </c:pt>
                <c:pt idx="290">
                  <c:v>5.0606664410516329</c:v>
                </c:pt>
                <c:pt idx="291">
                  <c:v>5.0995830345663347</c:v>
                </c:pt>
                <c:pt idx="292">
                  <c:v>5.1103905872274566</c:v>
                </c:pt>
                <c:pt idx="293">
                  <c:v>5.1103905872274566</c:v>
                </c:pt>
                <c:pt idx="294">
                  <c:v>5.047020288556749</c:v>
                </c:pt>
                <c:pt idx="295">
                  <c:v>5.1080283890155211</c:v>
                </c:pt>
                <c:pt idx="296">
                  <c:v>4.9545056702744423</c:v>
                </c:pt>
                <c:pt idx="297">
                  <c:v>4.9545056702744414</c:v>
                </c:pt>
                <c:pt idx="298">
                  <c:v>4.8204545023467853</c:v>
                </c:pt>
                <c:pt idx="299">
                  <c:v>4.7174169826829759</c:v>
                </c:pt>
                <c:pt idx="300">
                  <c:v>5.0304817986388519</c:v>
                </c:pt>
                <c:pt idx="301">
                  <c:v>5.0792568919786518</c:v>
                </c:pt>
                <c:pt idx="302">
                  <c:v>5.1466985288752278</c:v>
                </c:pt>
                <c:pt idx="303">
                  <c:v>5.4504033384442421</c:v>
                </c:pt>
                <c:pt idx="304">
                  <c:v>5.2087459606664073</c:v>
                </c:pt>
                <c:pt idx="305">
                  <c:v>5.2875911991808877</c:v>
                </c:pt>
                <c:pt idx="306">
                  <c:v>5.302786081852167</c:v>
                </c:pt>
                <c:pt idx="307">
                  <c:v>5.3687045463265273</c:v>
                </c:pt>
                <c:pt idx="308">
                  <c:v>5.3622777798716967</c:v>
                </c:pt>
                <c:pt idx="309">
                  <c:v>5.3089601120430707</c:v>
                </c:pt>
                <c:pt idx="310">
                  <c:v>5.4440730188419364</c:v>
                </c:pt>
                <c:pt idx="311">
                  <c:v>5.4620950887567581</c:v>
                </c:pt>
                <c:pt idx="312">
                  <c:v>5.6013134748626729</c:v>
                </c:pt>
                <c:pt idx="313">
                  <c:v>5.6577685378235643</c:v>
                </c:pt>
                <c:pt idx="314">
                  <c:v>5.9276286666082072</c:v>
                </c:pt>
                <c:pt idx="315">
                  <c:v>5.9175367661984444</c:v>
                </c:pt>
                <c:pt idx="316">
                  <c:v>5.9924281724772355</c:v>
                </c:pt>
                <c:pt idx="317">
                  <c:v>5.5800341942675766</c:v>
                </c:pt>
                <c:pt idx="318">
                  <c:v>5.5518455044919177</c:v>
                </c:pt>
                <c:pt idx="319">
                  <c:v>5.5518455044919177</c:v>
                </c:pt>
                <c:pt idx="320">
                  <c:v>5.6038779676097583</c:v>
                </c:pt>
                <c:pt idx="321">
                  <c:v>5.4944067693543071</c:v>
                </c:pt>
                <c:pt idx="322">
                  <c:v>5.8823718728566208</c:v>
                </c:pt>
                <c:pt idx="323">
                  <c:v>5.9693662421846216</c:v>
                </c:pt>
                <c:pt idx="324">
                  <c:v>6.1559241628573185</c:v>
                </c:pt>
                <c:pt idx="325">
                  <c:v>6.1782897607522509</c:v>
                </c:pt>
                <c:pt idx="326">
                  <c:v>6.3522102226424852</c:v>
                </c:pt>
                <c:pt idx="327">
                  <c:v>6.4754177072030359</c:v>
                </c:pt>
                <c:pt idx="328">
                  <c:v>6.7789396655012162</c:v>
                </c:pt>
                <c:pt idx="329">
                  <c:v>6.8569119419247571</c:v>
                </c:pt>
                <c:pt idx="330">
                  <c:v>6.8114170551252089</c:v>
                </c:pt>
                <c:pt idx="331">
                  <c:v>6.8114170551252098</c:v>
                </c:pt>
                <c:pt idx="332">
                  <c:v>6.8414725846440971</c:v>
                </c:pt>
                <c:pt idx="333">
                  <c:v>6.6409561699031494</c:v>
                </c:pt>
                <c:pt idx="334">
                  <c:v>6.9179094576589977</c:v>
                </c:pt>
                <c:pt idx="335">
                  <c:v>6.7644268984421583</c:v>
                </c:pt>
                <c:pt idx="336">
                  <c:v>7.0004925935054114</c:v>
                </c:pt>
                <c:pt idx="337">
                  <c:v>6.9959758547982087</c:v>
                </c:pt>
                <c:pt idx="338">
                  <c:v>7.0971096593783436</c:v>
                </c:pt>
                <c:pt idx="339">
                  <c:v>7.0058268031262578</c:v>
                </c:pt>
                <c:pt idx="340">
                  <c:v>7.0453375795057127</c:v>
                </c:pt>
                <c:pt idx="341">
                  <c:v>7.0453375795057127</c:v>
                </c:pt>
                <c:pt idx="342">
                  <c:v>7.0453375795057127</c:v>
                </c:pt>
                <c:pt idx="343">
                  <c:v>7.0195949059527756</c:v>
                </c:pt>
                <c:pt idx="344">
                  <c:v>6.836682666692778</c:v>
                </c:pt>
                <c:pt idx="345">
                  <c:v>6.836682666692778</c:v>
                </c:pt>
                <c:pt idx="346">
                  <c:v>6.662728722001857</c:v>
                </c:pt>
                <c:pt idx="347">
                  <c:v>6.7330032922413849</c:v>
                </c:pt>
                <c:pt idx="348">
                  <c:v>6.9002748570943382</c:v>
                </c:pt>
                <c:pt idx="349">
                  <c:v>6.8165619810414189</c:v>
                </c:pt>
                <c:pt idx="350">
                  <c:v>6.7394873436465783</c:v>
                </c:pt>
                <c:pt idx="351">
                  <c:v>6.9301938073113485</c:v>
                </c:pt>
                <c:pt idx="352">
                  <c:v>6.7949440297780308</c:v>
                </c:pt>
                <c:pt idx="353">
                  <c:v>6.823303544791762</c:v>
                </c:pt>
                <c:pt idx="354">
                  <c:v>6.6505552442988742</c:v>
                </c:pt>
                <c:pt idx="355">
                  <c:v>6.7296735245572226</c:v>
                </c:pt>
                <c:pt idx="356">
                  <c:v>6.7296735245572226</c:v>
                </c:pt>
                <c:pt idx="357">
                  <c:v>6.6224973585776397</c:v>
                </c:pt>
                <c:pt idx="358">
                  <c:v>6.5199957689853001</c:v>
                </c:pt>
                <c:pt idx="359">
                  <c:v>6.6815924868940897</c:v>
                </c:pt>
                <c:pt idx="360">
                  <c:v>6.4939405885653194</c:v>
                </c:pt>
                <c:pt idx="361">
                  <c:v>6.3350874763757847</c:v>
                </c:pt>
                <c:pt idx="362">
                  <c:v>6.5069370586365327</c:v>
                </c:pt>
                <c:pt idx="363">
                  <c:v>6.7371845137574935</c:v>
                </c:pt>
                <c:pt idx="364">
                  <c:v>6.6092933525975122</c:v>
                </c:pt>
                <c:pt idx="365">
                  <c:v>6.7555851733571357</c:v>
                </c:pt>
                <c:pt idx="366">
                  <c:v>6.4579986935920619</c:v>
                </c:pt>
                <c:pt idx="367">
                  <c:v>6.6432923564549942</c:v>
                </c:pt>
                <c:pt idx="368">
                  <c:v>6.5288924620956355</c:v>
                </c:pt>
                <c:pt idx="369">
                  <c:v>6.537601233255014</c:v>
                </c:pt>
                <c:pt idx="370">
                  <c:v>6.5902226428823036</c:v>
                </c:pt>
                <c:pt idx="371">
                  <c:v>6.5354910816373177</c:v>
                </c:pt>
                <c:pt idx="372">
                  <c:v>6.2779490025135534</c:v>
                </c:pt>
                <c:pt idx="373">
                  <c:v>6.2609903369994111</c:v>
                </c:pt>
                <c:pt idx="374">
                  <c:v>6.2881936444693585</c:v>
                </c:pt>
                <c:pt idx="375">
                  <c:v>6.5691721691934468</c:v>
                </c:pt>
                <c:pt idx="376">
                  <c:v>6.7741903702519171</c:v>
                </c:pt>
                <c:pt idx="377">
                  <c:v>6.93060843889866</c:v>
                </c:pt>
                <c:pt idx="378">
                  <c:v>6.8899393587909099</c:v>
                </c:pt>
                <c:pt idx="379">
                  <c:v>6.9006912863774064</c:v>
                </c:pt>
                <c:pt idx="380">
                  <c:v>6.9498201415576224</c:v>
                </c:pt>
                <c:pt idx="381">
                  <c:v>6.6881263805911013</c:v>
                </c:pt>
                <c:pt idx="382">
                  <c:v>6.7337714663418407</c:v>
                </c:pt>
                <c:pt idx="383">
                  <c:v>6.6329030068930281</c:v>
                </c:pt>
                <c:pt idx="384">
                  <c:v>6.5109103835783602</c:v>
                </c:pt>
                <c:pt idx="385">
                  <c:v>6.7819910276297604</c:v>
                </c:pt>
                <c:pt idx="386">
                  <c:v>6.7235219287540637</c:v>
                </c:pt>
                <c:pt idx="387">
                  <c:v>6.892941583834939</c:v>
                </c:pt>
                <c:pt idx="388">
                  <c:v>6.9256312214910736</c:v>
                </c:pt>
                <c:pt idx="389">
                  <c:v>6.8417245926958259</c:v>
                </c:pt>
                <c:pt idx="390">
                  <c:v>7.0691169033411407</c:v>
                </c:pt>
                <c:pt idx="391">
                  <c:v>7.2318738927058188</c:v>
                </c:pt>
                <c:pt idx="392">
                  <c:v>7.1954647274292274</c:v>
                </c:pt>
                <c:pt idx="393">
                  <c:v>7.3409573743765737</c:v>
                </c:pt>
                <c:pt idx="394">
                  <c:v>7.5314665574340252</c:v>
                </c:pt>
                <c:pt idx="395">
                  <c:v>7.6405602490615969</c:v>
                </c:pt>
                <c:pt idx="396">
                  <c:v>7.7165295040067647</c:v>
                </c:pt>
                <c:pt idx="397">
                  <c:v>7.529253294478397</c:v>
                </c:pt>
                <c:pt idx="398">
                  <c:v>7.4876142940252981</c:v>
                </c:pt>
                <c:pt idx="399">
                  <c:v>7.6009678754536347</c:v>
                </c:pt>
                <c:pt idx="400">
                  <c:v>7.4516834478456309</c:v>
                </c:pt>
                <c:pt idx="401">
                  <c:v>7.4553074514336632</c:v>
                </c:pt>
                <c:pt idx="402">
                  <c:v>7.4759384141667322</c:v>
                </c:pt>
                <c:pt idx="403">
                  <c:v>7.4759384141667322</c:v>
                </c:pt>
                <c:pt idx="404">
                  <c:v>7.5345182670985258</c:v>
                </c:pt>
                <c:pt idx="405">
                  <c:v>7.3140551200309245</c:v>
                </c:pt>
                <c:pt idx="406">
                  <c:v>7.1241857772313706</c:v>
                </c:pt>
                <c:pt idx="407">
                  <c:v>7.0201679909165744</c:v>
                </c:pt>
                <c:pt idx="408">
                  <c:v>6.9199860474246426</c:v>
                </c:pt>
                <c:pt idx="409">
                  <c:v>6.9311888814506286</c:v>
                </c:pt>
                <c:pt idx="410">
                  <c:v>6.9102622336587949</c:v>
                </c:pt>
                <c:pt idx="411">
                  <c:v>6.9102622336587949</c:v>
                </c:pt>
                <c:pt idx="412">
                  <c:v>6.9455186908579742</c:v>
                </c:pt>
                <c:pt idx="413">
                  <c:v>6.7619625798309828</c:v>
                </c:pt>
                <c:pt idx="414">
                  <c:v>6.7196743216100687</c:v>
                </c:pt>
                <c:pt idx="415">
                  <c:v>6.6380997142323759</c:v>
                </c:pt>
                <c:pt idx="416">
                  <c:v>6.6616935474052106</c:v>
                </c:pt>
                <c:pt idx="417">
                  <c:v>6.5362824683260978</c:v>
                </c:pt>
                <c:pt idx="418">
                  <c:v>6.4054574432643969</c:v>
                </c:pt>
                <c:pt idx="419">
                  <c:v>6.3210103950075194</c:v>
                </c:pt>
                <c:pt idx="420">
                  <c:v>6.4953564315142698</c:v>
                </c:pt>
                <c:pt idx="421">
                  <c:v>6.4419601500407202</c:v>
                </c:pt>
                <c:pt idx="422">
                  <c:v>6.2116871678525767</c:v>
                </c:pt>
                <c:pt idx="423">
                  <c:v>6.0951271285054984</c:v>
                </c:pt>
                <c:pt idx="424">
                  <c:v>5.8952542768319791</c:v>
                </c:pt>
                <c:pt idx="425">
                  <c:v>5.5877534399566278</c:v>
                </c:pt>
                <c:pt idx="426">
                  <c:v>5.7114524995987157</c:v>
                </c:pt>
                <c:pt idx="427">
                  <c:v>5.6564478516866554</c:v>
                </c:pt>
                <c:pt idx="428">
                  <c:v>5.7264259379641427</c:v>
                </c:pt>
                <c:pt idx="429">
                  <c:v>5.4747067312417244</c:v>
                </c:pt>
                <c:pt idx="430">
                  <c:v>5.7480631420555452</c:v>
                </c:pt>
                <c:pt idx="431">
                  <c:v>5.8926215308423746</c:v>
                </c:pt>
                <c:pt idx="432">
                  <c:v>6.0951271285054984</c:v>
                </c:pt>
                <c:pt idx="433">
                  <c:v>6.2957749014077216</c:v>
                </c:pt>
                <c:pt idx="434">
                  <c:v>6.4771925236560426</c:v>
                </c:pt>
                <c:pt idx="435">
                  <c:v>6.6803021474787503</c:v>
                </c:pt>
                <c:pt idx="436">
                  <c:v>6.7166802144696662</c:v>
                </c:pt>
                <c:pt idx="437">
                  <c:v>6.6380997142323759</c:v>
                </c:pt>
                <c:pt idx="438">
                  <c:v>6.6932802122726027</c:v>
                </c:pt>
                <c:pt idx="439">
                  <c:v>6.8668786933006007</c:v>
                </c:pt>
                <c:pt idx="440">
                  <c:v>6.9695561296023838</c:v>
                </c:pt>
                <c:pt idx="441">
                  <c:v>6.9695561296023838</c:v>
                </c:pt>
                <c:pt idx="442">
                  <c:v>6.8447479656042614</c:v>
                </c:pt>
                <c:pt idx="443">
                  <c:v>6.8162247278262384</c:v>
                </c:pt>
                <c:pt idx="444">
                  <c:v>6.8598448425870258</c:v>
                </c:pt>
                <c:pt idx="445">
                  <c:v>6.7776678591677397</c:v>
                </c:pt>
                <c:pt idx="446">
                  <c:v>6.9182417539080863</c:v>
                </c:pt>
                <c:pt idx="447">
                  <c:v>6.7025471226269246</c:v>
                </c:pt>
                <c:pt idx="448">
                  <c:v>6.7245475855171906</c:v>
                </c:pt>
                <c:pt idx="449">
                  <c:v>6.6898447656508253</c:v>
                </c:pt>
                <c:pt idx="450">
                  <c:v>6.5310047457114697</c:v>
                </c:pt>
                <c:pt idx="451">
                  <c:v>6.7497126375613314</c:v>
                </c:pt>
                <c:pt idx="452">
                  <c:v>6.8467628058477557</c:v>
                </c:pt>
                <c:pt idx="453">
                  <c:v>6.8979423885244424</c:v>
                </c:pt>
                <c:pt idx="454">
                  <c:v>6.9653493777428706</c:v>
                </c:pt>
                <c:pt idx="455">
                  <c:v>7.2508422023705741</c:v>
                </c:pt>
                <c:pt idx="456">
                  <c:v>7.3765705516485287</c:v>
                </c:pt>
                <c:pt idx="457">
                  <c:v>7.3891035027743825</c:v>
                </c:pt>
                <c:pt idx="458">
                  <c:v>7.5131302688547601</c:v>
                </c:pt>
                <c:pt idx="459">
                  <c:v>7.513130268854761</c:v>
                </c:pt>
                <c:pt idx="460">
                  <c:v>7.242038831488105</c:v>
                </c:pt>
                <c:pt idx="461">
                  <c:v>7.3178258186871101</c:v>
                </c:pt>
                <c:pt idx="462">
                  <c:v>7.242038831488105</c:v>
                </c:pt>
                <c:pt idx="463">
                  <c:v>7.2420388314881059</c:v>
                </c:pt>
                <c:pt idx="464">
                  <c:v>7.0254872617041881</c:v>
                </c:pt>
                <c:pt idx="465">
                  <c:v>6.7555001005991713</c:v>
                </c:pt>
                <c:pt idx="466">
                  <c:v>6.8929415838349399</c:v>
                </c:pt>
                <c:pt idx="467">
                  <c:v>6.8698909961403745</c:v>
                </c:pt>
                <c:pt idx="468">
                  <c:v>6.9029395704035883</c:v>
                </c:pt>
                <c:pt idx="469">
                  <c:v>6.7789396655012162</c:v>
                </c:pt>
                <c:pt idx="470">
                  <c:v>6.6888137875902531</c:v>
                </c:pt>
                <c:pt idx="471">
                  <c:v>6.6888137875902531</c:v>
                </c:pt>
                <c:pt idx="472">
                  <c:v>6.743579321767152</c:v>
                </c:pt>
                <c:pt idx="473">
                  <c:v>6.8916908156743775</c:v>
                </c:pt>
                <c:pt idx="474">
                  <c:v>7.0642372748841096</c:v>
                </c:pt>
                <c:pt idx="475">
                  <c:v>7.0756178398845107</c:v>
                </c:pt>
                <c:pt idx="476">
                  <c:v>6.866209113201176</c:v>
                </c:pt>
                <c:pt idx="477">
                  <c:v>6.8555707694336165</c:v>
                </c:pt>
                <c:pt idx="478">
                  <c:v>6.9646892645490048</c:v>
                </c:pt>
                <c:pt idx="479">
                  <c:v>6.9758203077141578</c:v>
                </c:pt>
                <c:pt idx="480">
                  <c:v>6.9847123703522493</c:v>
                </c:pt>
                <c:pt idx="481">
                  <c:v>6.7145407490955318</c:v>
                </c:pt>
                <c:pt idx="482">
                  <c:v>6.5090564671044318</c:v>
                </c:pt>
                <c:pt idx="483">
                  <c:v>6.3482280992415516</c:v>
                </c:pt>
                <c:pt idx="484">
                  <c:v>6.3774026349146329</c:v>
                </c:pt>
                <c:pt idx="485">
                  <c:v>6.33372654556723</c:v>
                </c:pt>
                <c:pt idx="486">
                  <c:v>6.1652530221870219</c:v>
                </c:pt>
                <c:pt idx="487">
                  <c:v>6.1652530221870219</c:v>
                </c:pt>
                <c:pt idx="488">
                  <c:v>6.1247566219533107</c:v>
                </c:pt>
                <c:pt idx="489">
                  <c:v>6.2039105205609184</c:v>
                </c:pt>
                <c:pt idx="490">
                  <c:v>6.2252729248207066</c:v>
                </c:pt>
                <c:pt idx="491">
                  <c:v>6.1584443475287793</c:v>
                </c:pt>
                <c:pt idx="492">
                  <c:v>5.9229730030958514</c:v>
                </c:pt>
                <c:pt idx="493">
                  <c:v>5.5506031566217073</c:v>
                </c:pt>
                <c:pt idx="494">
                  <c:v>5.5506031566217073</c:v>
                </c:pt>
                <c:pt idx="495">
                  <c:v>5.4563050105191246</c:v>
                </c:pt>
                <c:pt idx="496">
                  <c:v>5.4058291228771864</c:v>
                </c:pt>
                <c:pt idx="497">
                  <c:v>5.6210810102806663</c:v>
                </c:pt>
                <c:pt idx="498">
                  <c:v>5.4802676333673102</c:v>
                </c:pt>
                <c:pt idx="499">
                  <c:v>5.1845260482350346</c:v>
                </c:pt>
                <c:pt idx="500">
                  <c:v>5.2698448143959711</c:v>
                </c:pt>
                <c:pt idx="501">
                  <c:v>5.4373125545706822</c:v>
                </c:pt>
                <c:pt idx="502">
                  <c:v>5.2488641354719476</c:v>
                </c:pt>
                <c:pt idx="503">
                  <c:v>5.2039993462146308</c:v>
                </c:pt>
                <c:pt idx="504">
                  <c:v>5.061574876447553</c:v>
                </c:pt>
                <c:pt idx="505">
                  <c:v>5.2374645089736518</c:v>
                </c:pt>
                <c:pt idx="506">
                  <c:v>5.4578847319384129</c:v>
                </c:pt>
                <c:pt idx="507">
                  <c:v>5.6853309935083942</c:v>
                </c:pt>
                <c:pt idx="508">
                  <c:v>5.6853309935083933</c:v>
                </c:pt>
                <c:pt idx="509">
                  <c:v>5.5792101776950966</c:v>
                </c:pt>
                <c:pt idx="510">
                  <c:v>5.6262929548498546</c:v>
                </c:pt>
                <c:pt idx="511">
                  <c:v>5.689373033757005</c:v>
                </c:pt>
                <c:pt idx="512">
                  <c:v>5.9360577498197742</c:v>
                </c:pt>
                <c:pt idx="513">
                  <c:v>5.9174396451525366</c:v>
                </c:pt>
                <c:pt idx="514">
                  <c:v>5.8172355878937445</c:v>
                </c:pt>
                <c:pt idx="515">
                  <c:v>5.7315420885346091</c:v>
                </c:pt>
                <c:pt idx="516">
                  <c:v>5.6735927922625704</c:v>
                </c:pt>
                <c:pt idx="517">
                  <c:v>5.6726810543893249</c:v>
                </c:pt>
                <c:pt idx="518">
                  <c:v>5.7264259379641418</c:v>
                </c:pt>
                <c:pt idx="519">
                  <c:v>5.821186038648114</c:v>
                </c:pt>
                <c:pt idx="520">
                  <c:v>5.8495505279730979</c:v>
                </c:pt>
                <c:pt idx="521">
                  <c:v>5.7090369983278144</c:v>
                </c:pt>
                <c:pt idx="522">
                  <c:v>5.8741592697539948</c:v>
                </c:pt>
                <c:pt idx="523">
                  <c:v>6.1259763472361328</c:v>
                </c:pt>
                <c:pt idx="524">
                  <c:v>6.1021948190135147</c:v>
                </c:pt>
                <c:pt idx="525">
                  <c:v>6.3589921850239284</c:v>
                </c:pt>
                <c:pt idx="526">
                  <c:v>6.4579986935920619</c:v>
                </c:pt>
                <c:pt idx="527">
                  <c:v>6.2998814073858913</c:v>
                </c:pt>
                <c:pt idx="528">
                  <c:v>6.3918050982326662</c:v>
                </c:pt>
                <c:pt idx="529">
                  <c:v>6.4430306283736467</c:v>
                </c:pt>
                <c:pt idx="530">
                  <c:v>6.2958661861957292</c:v>
                </c:pt>
                <c:pt idx="531">
                  <c:v>6.2238879817358059</c:v>
                </c:pt>
                <c:pt idx="532">
                  <c:v>6.2694295694613871</c:v>
                </c:pt>
                <c:pt idx="533">
                  <c:v>6.4094936769921453</c:v>
                </c:pt>
                <c:pt idx="534">
                  <c:v>6.459066513814907</c:v>
                </c:pt>
                <c:pt idx="535">
                  <c:v>6.339168515764853</c:v>
                </c:pt>
                <c:pt idx="536">
                  <c:v>6.17828976075225</c:v>
                </c:pt>
                <c:pt idx="537">
                  <c:v>6.17828976075225</c:v>
                </c:pt>
                <c:pt idx="538">
                  <c:v>6.1782897607522491</c:v>
                </c:pt>
                <c:pt idx="539">
                  <c:v>6.1528425353138863</c:v>
                </c:pt>
                <c:pt idx="540">
                  <c:v>6.3701891922318588</c:v>
                </c:pt>
                <c:pt idx="541">
                  <c:v>6.4452602205298781</c:v>
                </c:pt>
                <c:pt idx="542">
                  <c:v>6.2430651181102954</c:v>
                </c:pt>
                <c:pt idx="543">
                  <c:v>6.2944054707243842</c:v>
                </c:pt>
                <c:pt idx="544">
                  <c:v>6.2053925380852544</c:v>
                </c:pt>
                <c:pt idx="545">
                  <c:v>6.3136414980197628</c:v>
                </c:pt>
                <c:pt idx="546">
                  <c:v>6.3350874763757856</c:v>
                </c:pt>
                <c:pt idx="547">
                  <c:v>6.4312455667801922</c:v>
                </c:pt>
                <c:pt idx="548">
                  <c:v>6.5478784841869331</c:v>
                </c:pt>
                <c:pt idx="549">
                  <c:v>6.4455277197609586</c:v>
                </c:pt>
                <c:pt idx="550">
                  <c:v>6.5544579898134883</c:v>
                </c:pt>
                <c:pt idx="551">
                  <c:v>6.6682469391421995</c:v>
                </c:pt>
                <c:pt idx="552">
                  <c:v>6.6536654836124791</c:v>
                </c:pt>
                <c:pt idx="553">
                  <c:v>6.381456613168119</c:v>
                </c:pt>
                <c:pt idx="554">
                  <c:v>6.4985409503025089</c:v>
                </c:pt>
                <c:pt idx="555">
                  <c:v>6.3169176245904985</c:v>
                </c:pt>
                <c:pt idx="556">
                  <c:v>6.2651196427467388</c:v>
                </c:pt>
                <c:pt idx="557">
                  <c:v>6.3771322780662176</c:v>
                </c:pt>
                <c:pt idx="558">
                  <c:v>6.2090034738217881</c:v>
                </c:pt>
                <c:pt idx="559">
                  <c:v>6.0838017454681186</c:v>
                </c:pt>
                <c:pt idx="560">
                  <c:v>6.2609903369994111</c:v>
                </c:pt>
                <c:pt idx="561">
                  <c:v>6.2515285487152896</c:v>
                </c:pt>
                <c:pt idx="562">
                  <c:v>6.3557377462298259</c:v>
                </c:pt>
                <c:pt idx="563">
                  <c:v>6.2518043372505172</c:v>
                </c:pt>
                <c:pt idx="564">
                  <c:v>6.4811840836715007</c:v>
                </c:pt>
                <c:pt idx="565">
                  <c:v>6.4633360305401242</c:v>
                </c:pt>
                <c:pt idx="566">
                  <c:v>6.5597168427814969</c:v>
                </c:pt>
                <c:pt idx="567">
                  <c:v>6.3676625567614362</c:v>
                </c:pt>
                <c:pt idx="568">
                  <c:v>6.0781311404838538</c:v>
                </c:pt>
                <c:pt idx="569">
                  <c:v>6.3155527783838314</c:v>
                </c:pt>
                <c:pt idx="570">
                  <c:v>6.344877561022578</c:v>
                </c:pt>
                <c:pt idx="571">
                  <c:v>6.2867311462911415</c:v>
                </c:pt>
                <c:pt idx="572">
                  <c:v>6.4291005073286369</c:v>
                </c:pt>
                <c:pt idx="573">
                  <c:v>6.5691721691934486</c:v>
                </c:pt>
                <c:pt idx="574">
                  <c:v>6.8299543089298167</c:v>
                </c:pt>
                <c:pt idx="575">
                  <c:v>6.6674712158203651</c:v>
                </c:pt>
                <c:pt idx="576">
                  <c:v>6.6668678130574639</c:v>
                </c:pt>
                <c:pt idx="577">
                  <c:v>6.5954529791364598</c:v>
                </c:pt>
                <c:pt idx="578">
                  <c:v>6.4430306283736467</c:v>
                </c:pt>
                <c:pt idx="579">
                  <c:v>6.4305306264670747</c:v>
                </c:pt>
                <c:pt idx="580">
                  <c:v>6.5111751856980931</c:v>
                </c:pt>
                <c:pt idx="581">
                  <c:v>6.381456613168119</c:v>
                </c:pt>
                <c:pt idx="582">
                  <c:v>6.3187369609447419</c:v>
                </c:pt>
                <c:pt idx="583">
                  <c:v>6.3706402716888961</c:v>
                </c:pt>
                <c:pt idx="584">
                  <c:v>6.1397517640486035</c:v>
                </c:pt>
                <c:pt idx="585">
                  <c:v>6.1447108365136129</c:v>
                </c:pt>
                <c:pt idx="586">
                  <c:v>6.3064462550485665</c:v>
                </c:pt>
                <c:pt idx="587">
                  <c:v>6.2252729248207066</c:v>
                </c:pt>
                <c:pt idx="588">
                  <c:v>6.4732872851328072</c:v>
                </c:pt>
                <c:pt idx="589">
                  <c:v>6.6277022248747111</c:v>
                </c:pt>
                <c:pt idx="590">
                  <c:v>6.3928839749553861</c:v>
                </c:pt>
                <c:pt idx="591">
                  <c:v>6.3784839477155053</c:v>
                </c:pt>
                <c:pt idx="592">
                  <c:v>6.3059905836735366</c:v>
                </c:pt>
                <c:pt idx="593">
                  <c:v>6.4495388768607276</c:v>
                </c:pt>
                <c:pt idx="594">
                  <c:v>6.2716292407422598</c:v>
                </c:pt>
                <c:pt idx="595">
                  <c:v>6.473997503719084</c:v>
                </c:pt>
                <c:pt idx="596">
                  <c:v>6.4416925026619039</c:v>
                </c:pt>
                <c:pt idx="597">
                  <c:v>6.3119117456644993</c:v>
                </c:pt>
                <c:pt idx="598">
                  <c:v>6.3634191633331723</c:v>
                </c:pt>
                <c:pt idx="599">
                  <c:v>6.1368493170543044</c:v>
                </c:pt>
                <c:pt idx="600">
                  <c:v>5.8858880520206585</c:v>
                </c:pt>
                <c:pt idx="601">
                  <c:v>6.1086898721430449</c:v>
                </c:pt>
                <c:pt idx="602">
                  <c:v>6.2779490025135525</c:v>
                </c:pt>
                <c:pt idx="603">
                  <c:v>6.3100904414525125</c:v>
                </c:pt>
                <c:pt idx="604">
                  <c:v>6.5125872818295711</c:v>
                </c:pt>
                <c:pt idx="605">
                  <c:v>6.6974004220886414</c:v>
                </c:pt>
                <c:pt idx="606">
                  <c:v>6.7504789102138067</c:v>
                </c:pt>
                <c:pt idx="607">
                  <c:v>6.9616354268298162</c:v>
                </c:pt>
                <c:pt idx="608">
                  <c:v>7.2175552265483809</c:v>
                </c:pt>
                <c:pt idx="609">
                  <c:v>7.2906805572940696</c:v>
                </c:pt>
                <c:pt idx="610">
                  <c:v>7.2193864164404626</c:v>
                </c:pt>
                <c:pt idx="611">
                  <c:v>7.3140551200309245</c:v>
                </c:pt>
                <c:pt idx="612">
                  <c:v>7.5825722745550257</c:v>
                </c:pt>
                <c:pt idx="613">
                  <c:v>7.5918891989540649</c:v>
                </c:pt>
                <c:pt idx="614">
                  <c:v>7.5843911097560852</c:v>
                </c:pt>
                <c:pt idx="615">
                  <c:v>7.7978039938457542</c:v>
                </c:pt>
                <c:pt idx="616">
                  <c:v>7.4516834478456317</c:v>
                </c:pt>
                <c:pt idx="617">
                  <c:v>7.4432720527046925</c:v>
                </c:pt>
                <c:pt idx="618">
                  <c:v>6.9831488467661877</c:v>
                </c:pt>
                <c:pt idx="619">
                  <c:v>6.4790555576827895</c:v>
                </c:pt>
                <c:pt idx="620">
                  <c:v>6.5111751856980913</c:v>
                </c:pt>
                <c:pt idx="621">
                  <c:v>6.5214940816864395</c:v>
                </c:pt>
                <c:pt idx="622">
                  <c:v>6.4679581599312055</c:v>
                </c:pt>
                <c:pt idx="623">
                  <c:v>6.4470433390890083</c:v>
                </c:pt>
                <c:pt idx="624">
                  <c:v>6.2862740458327409</c:v>
                </c:pt>
                <c:pt idx="625">
                  <c:v>5.518620517284468</c:v>
                </c:pt>
                <c:pt idx="626">
                  <c:v>5.138987779932819</c:v>
                </c:pt>
                <c:pt idx="627">
                  <c:v>4.8661391620901675</c:v>
                </c:pt>
                <c:pt idx="628">
                  <c:v>4.1831627478156568</c:v>
                </c:pt>
                <c:pt idx="629">
                  <c:v>3.2385962618280213</c:v>
                </c:pt>
                <c:pt idx="630">
                  <c:v>3.0904004129956486</c:v>
                </c:pt>
                <c:pt idx="631">
                  <c:v>3.110974271758002</c:v>
                </c:pt>
                <c:pt idx="632">
                  <c:v>3.1148513368337043</c:v>
                </c:pt>
                <c:pt idx="633">
                  <c:v>3.1148513368337043</c:v>
                </c:pt>
                <c:pt idx="634">
                  <c:v>3.1413080224572085</c:v>
                </c:pt>
                <c:pt idx="635">
                  <c:v>3.2263284709246283</c:v>
                </c:pt>
                <c:pt idx="636">
                  <c:v>3.2091822283430163</c:v>
                </c:pt>
                <c:pt idx="637">
                  <c:v>3.2772289949067437</c:v>
                </c:pt>
                <c:pt idx="638">
                  <c:v>3.2940210552823852</c:v>
                </c:pt>
                <c:pt idx="639">
                  <c:v>3.2940210552823852</c:v>
                </c:pt>
                <c:pt idx="640">
                  <c:v>3.328905104595548</c:v>
                </c:pt>
                <c:pt idx="641">
                  <c:v>3.321127076381039</c:v>
                </c:pt>
                <c:pt idx="642">
                  <c:v>3.1622776601683795</c:v>
                </c:pt>
                <c:pt idx="643">
                  <c:v>3.0777286743804182</c:v>
                </c:pt>
                <c:pt idx="644">
                  <c:v>3.2518783254725512</c:v>
                </c:pt>
                <c:pt idx="645">
                  <c:v>3.184914152833564</c:v>
                </c:pt>
                <c:pt idx="646">
                  <c:v>3.2027287216321976</c:v>
                </c:pt>
                <c:pt idx="647">
                  <c:v>3.0904004129956486</c:v>
                </c:pt>
                <c:pt idx="648">
                  <c:v>3.0437424030446398</c:v>
                </c:pt>
                <c:pt idx="649">
                  <c:v>3.0437424030446394</c:v>
                </c:pt>
                <c:pt idx="650">
                  <c:v>4.6939677601506098</c:v>
                </c:pt>
                <c:pt idx="651">
                  <c:v>5.1710956174738696</c:v>
                </c:pt>
                <c:pt idx="652">
                  <c:v>5.2888953282423206</c:v>
                </c:pt>
                <c:pt idx="653">
                  <c:v>6.0747262366772308</c:v>
                </c:pt>
                <c:pt idx="654">
                  <c:v>6.8736545182880411</c:v>
                </c:pt>
                <c:pt idx="655">
                  <c:v>6.8802566110925509</c:v>
                </c:pt>
                <c:pt idx="656">
                  <c:v>7.2906805572940669</c:v>
                </c:pt>
                <c:pt idx="657">
                  <c:v>7.1990580482177799</c:v>
                </c:pt>
                <c:pt idx="658">
                  <c:v>7.2146084240687438</c:v>
                </c:pt>
                <c:pt idx="659">
                  <c:v>7.1631239572958814</c:v>
                </c:pt>
                <c:pt idx="660">
                  <c:v>7.4768608570617436</c:v>
                </c:pt>
                <c:pt idx="661">
                  <c:v>7.7412167507187908</c:v>
                </c:pt>
                <c:pt idx="662">
                  <c:v>7.6255016793696244</c:v>
                </c:pt>
                <c:pt idx="663">
                  <c:v>7.6281390749727711</c:v>
                </c:pt>
                <c:pt idx="664">
                  <c:v>7.6480784154110131</c:v>
                </c:pt>
                <c:pt idx="665">
                  <c:v>7.740325812145179</c:v>
                </c:pt>
                <c:pt idx="666">
                  <c:v>7.5280319053399403</c:v>
                </c:pt>
                <c:pt idx="667">
                  <c:v>7.3115402405823602</c:v>
                </c:pt>
                <c:pt idx="668">
                  <c:v>7.2800309459996573</c:v>
                </c:pt>
                <c:pt idx="669">
                  <c:v>7.3362585597273222</c:v>
                </c:pt>
                <c:pt idx="670">
                  <c:v>7.1791524489355618</c:v>
                </c:pt>
                <c:pt idx="671">
                  <c:v>7.1132869037254949</c:v>
                </c:pt>
                <c:pt idx="672">
                  <c:v>7.142555001819936</c:v>
                </c:pt>
                <c:pt idx="673">
                  <c:v>7.0776481579883503</c:v>
                </c:pt>
                <c:pt idx="674">
                  <c:v>6.5794001054143543</c:v>
                </c:pt>
                <c:pt idx="675">
                  <c:v>6.500574687238645</c:v>
                </c:pt>
                <c:pt idx="676">
                  <c:v>6.0988975826896734</c:v>
                </c:pt>
                <c:pt idx="677">
                  <c:v>6.0988975826896743</c:v>
                </c:pt>
                <c:pt idx="678">
                  <c:v>6.0405716407577223</c:v>
                </c:pt>
                <c:pt idx="679">
                  <c:v>5.9244282909587698</c:v>
                </c:pt>
                <c:pt idx="680">
                  <c:v>5.6573622056959358</c:v>
                </c:pt>
                <c:pt idx="681">
                  <c:v>5.6795661158549615</c:v>
                </c:pt>
                <c:pt idx="682">
                  <c:v>5.7711131618117477</c:v>
                </c:pt>
                <c:pt idx="683">
                  <c:v>5.5753975168829326</c:v>
                </c:pt>
                <c:pt idx="684">
                  <c:v>5.2282389729832257</c:v>
                </c:pt>
                <c:pt idx="685">
                  <c:v>5.3622777798716976</c:v>
                </c:pt>
                <c:pt idx="686">
                  <c:v>5.2291182967035219</c:v>
                </c:pt>
                <c:pt idx="687">
                  <c:v>5.4604113356067767</c:v>
                </c:pt>
                <c:pt idx="688">
                  <c:v>5.4466060295728482</c:v>
                </c:pt>
                <c:pt idx="689">
                  <c:v>5.4920004520681935</c:v>
                </c:pt>
                <c:pt idx="690">
                  <c:v>5.2611130328883435</c:v>
                </c:pt>
                <c:pt idx="691">
                  <c:v>5.0400693299373085</c:v>
                </c:pt>
                <c:pt idx="692">
                  <c:v>5.0315099079722572</c:v>
                </c:pt>
                <c:pt idx="693">
                  <c:v>5.0428052765768436</c:v>
                </c:pt>
                <c:pt idx="694">
                  <c:v>5.3092848621190445</c:v>
                </c:pt>
                <c:pt idx="695">
                  <c:v>5.0219060355491587</c:v>
                </c:pt>
                <c:pt idx="696">
                  <c:v>5.1012732239850793</c:v>
                </c:pt>
                <c:pt idx="697">
                  <c:v>5.3755512949034294</c:v>
                </c:pt>
                <c:pt idx="698">
                  <c:v>5.3957198874152343</c:v>
                </c:pt>
                <c:pt idx="699">
                  <c:v>5.3400460629120969</c:v>
                </c:pt>
                <c:pt idx="700">
                  <c:v>5.399127217675435</c:v>
                </c:pt>
                <c:pt idx="701">
                  <c:v>5.4540926318482716</c:v>
                </c:pt>
                <c:pt idx="702">
                  <c:v>5.6807802604762045</c:v>
                </c:pt>
                <c:pt idx="703">
                  <c:v>5.6470926300543178</c:v>
                </c:pt>
                <c:pt idx="704">
                  <c:v>5.7063183372045803</c:v>
                </c:pt>
                <c:pt idx="705">
                  <c:v>5.7863295097498808</c:v>
                </c:pt>
                <c:pt idx="706">
                  <c:v>5.6771370476210334</c:v>
                </c:pt>
                <c:pt idx="707">
                  <c:v>5.6210810102806672</c:v>
                </c:pt>
                <c:pt idx="708">
                  <c:v>5.6210810102806672</c:v>
                </c:pt>
                <c:pt idx="709">
                  <c:v>5.622205563860045</c:v>
                </c:pt>
                <c:pt idx="710">
                  <c:v>5.7770851338437224</c:v>
                </c:pt>
                <c:pt idx="711">
                  <c:v>5.9315055947617257</c:v>
                </c:pt>
                <c:pt idx="712">
                  <c:v>5.8072487402413273</c:v>
                </c:pt>
                <c:pt idx="713">
                  <c:v>5.8765068989437363</c:v>
                </c:pt>
                <c:pt idx="714">
                  <c:v>5.8392252674595397</c:v>
                </c:pt>
                <c:pt idx="715">
                  <c:v>5.7899040152447379</c:v>
                </c:pt>
                <c:pt idx="716">
                  <c:v>5.8467989080576706</c:v>
                </c:pt>
                <c:pt idx="717">
                  <c:v>5.6816906986743216</c:v>
                </c:pt>
                <c:pt idx="718">
                  <c:v>5.7484630629592548</c:v>
                </c:pt>
                <c:pt idx="719">
                  <c:v>5.6564478516866536</c:v>
                </c:pt>
                <c:pt idx="720">
                  <c:v>5.7591506398039307</c:v>
                </c:pt>
                <c:pt idx="721">
                  <c:v>5.7977403446039455</c:v>
                </c:pt>
                <c:pt idx="722">
                  <c:v>6.0340032650222222</c:v>
                </c:pt>
                <c:pt idx="723">
                  <c:v>6.0340032650222222</c:v>
                </c:pt>
                <c:pt idx="724">
                  <c:v>5.9325713058378469</c:v>
                </c:pt>
                <c:pt idx="725">
                  <c:v>5.9113178023956339</c:v>
                </c:pt>
                <c:pt idx="726">
                  <c:v>6.0704674212653238</c:v>
                </c:pt>
                <c:pt idx="727">
                  <c:v>5.6589873591513253</c:v>
                </c:pt>
                <c:pt idx="728">
                  <c:v>5.6476014642368817</c:v>
                </c:pt>
                <c:pt idx="729">
                  <c:v>5.4907445635422674</c:v>
                </c:pt>
                <c:pt idx="730">
                  <c:v>5.4907445635422674</c:v>
                </c:pt>
                <c:pt idx="731">
                  <c:v>5.4893836933970404</c:v>
                </c:pt>
                <c:pt idx="732">
                  <c:v>5.3197744313081552</c:v>
                </c:pt>
                <c:pt idx="733">
                  <c:v>5.3413373847259704</c:v>
                </c:pt>
                <c:pt idx="734">
                  <c:v>5.376513419654426</c:v>
                </c:pt>
                <c:pt idx="735">
                  <c:v>5.3494010836749739</c:v>
                </c:pt>
                <c:pt idx="736">
                  <c:v>5.3722359907425776</c:v>
                </c:pt>
                <c:pt idx="737">
                  <c:v>5.3722359907425776</c:v>
                </c:pt>
                <c:pt idx="738">
                  <c:v>5.3722359907425767</c:v>
                </c:pt>
                <c:pt idx="739">
                  <c:v>5.7098422789578613</c:v>
                </c:pt>
                <c:pt idx="740">
                  <c:v>5.6059287171359218</c:v>
                </c:pt>
                <c:pt idx="741">
                  <c:v>5.5032905517110144</c:v>
                </c:pt>
                <c:pt idx="742">
                  <c:v>5.5435579263464563</c:v>
                </c:pt>
                <c:pt idx="743">
                  <c:v>5.5019327847417481</c:v>
                </c:pt>
                <c:pt idx="744">
                  <c:v>5.7863295097498808</c:v>
                </c:pt>
                <c:pt idx="745">
                  <c:v>5.6366004264819143</c:v>
                </c:pt>
                <c:pt idx="746">
                  <c:v>5.6120764694407521</c:v>
                </c:pt>
                <c:pt idx="747">
                  <c:v>5.7977403446039455</c:v>
                </c:pt>
                <c:pt idx="748">
                  <c:v>5.7655337402832725</c:v>
                </c:pt>
                <c:pt idx="749">
                  <c:v>5.6877565623577526</c:v>
                </c:pt>
                <c:pt idx="750">
                  <c:v>5.7424613249864835</c:v>
                </c:pt>
                <c:pt idx="751">
                  <c:v>5.9383809086393189</c:v>
                </c:pt>
                <c:pt idx="752">
                  <c:v>6.0951271285054984</c:v>
                </c:pt>
                <c:pt idx="753">
                  <c:v>6.1109474028925774</c:v>
                </c:pt>
                <c:pt idx="754">
                  <c:v>6.1101009266077861</c:v>
                </c:pt>
                <c:pt idx="755">
                  <c:v>6.2150170379178533</c:v>
                </c:pt>
                <c:pt idx="756">
                  <c:v>6.0738747124869557</c:v>
                </c:pt>
                <c:pt idx="757">
                  <c:v>6.1894422529254491</c:v>
                </c:pt>
                <c:pt idx="758">
                  <c:v>6.1849836692190028</c:v>
                </c:pt>
                <c:pt idx="759">
                  <c:v>6.3608898387120245</c:v>
                </c:pt>
                <c:pt idx="760">
                  <c:v>6.2706211538548891</c:v>
                </c:pt>
                <c:pt idx="761">
                  <c:v>6.3557377462298241</c:v>
                </c:pt>
                <c:pt idx="762">
                  <c:v>6.3209194733445031</c:v>
                </c:pt>
                <c:pt idx="763">
                  <c:v>6.2957749014077216</c:v>
                </c:pt>
                <c:pt idx="764">
                  <c:v>6.2702545366215396</c:v>
                </c:pt>
                <c:pt idx="765">
                  <c:v>6.2518962640587477</c:v>
                </c:pt>
                <c:pt idx="766">
                  <c:v>6.2444458079381135</c:v>
                </c:pt>
                <c:pt idx="767">
                  <c:v>6.0423790701665032</c:v>
                </c:pt>
                <c:pt idx="768">
                  <c:v>6.045421940343088</c:v>
                </c:pt>
                <c:pt idx="769">
                  <c:v>5.8879381868319598</c:v>
                </c:pt>
                <c:pt idx="770">
                  <c:v>5.835385517507051</c:v>
                </c:pt>
                <c:pt idx="771">
                  <c:v>5.8882310049637239</c:v>
                </c:pt>
                <c:pt idx="772">
                  <c:v>5.8785603054121873</c:v>
                </c:pt>
                <c:pt idx="773">
                  <c:v>6.0099534299264796</c:v>
                </c:pt>
                <c:pt idx="774">
                  <c:v>5.8364687796725114</c:v>
                </c:pt>
                <c:pt idx="775">
                  <c:v>5.8588767508464619</c:v>
                </c:pt>
                <c:pt idx="776">
                  <c:v>5.833316912948975</c:v>
                </c:pt>
                <c:pt idx="777">
                  <c:v>5.7231130504739944</c:v>
                </c:pt>
                <c:pt idx="778">
                  <c:v>5.7504622502851044</c:v>
                </c:pt>
                <c:pt idx="779">
                  <c:v>5.8510240777679847</c:v>
                </c:pt>
                <c:pt idx="780">
                  <c:v>5.7336474118730187</c:v>
                </c:pt>
                <c:pt idx="781">
                  <c:v>5.5178914846870279</c:v>
                </c:pt>
                <c:pt idx="782">
                  <c:v>5.4578847319384112</c:v>
                </c:pt>
                <c:pt idx="783">
                  <c:v>5.4415388290065723</c:v>
                </c:pt>
                <c:pt idx="784">
                  <c:v>5.6877565623577526</c:v>
                </c:pt>
                <c:pt idx="785">
                  <c:v>5.5428321736948822</c:v>
                </c:pt>
                <c:pt idx="786">
                  <c:v>5.6613226999212545</c:v>
                </c:pt>
                <c:pt idx="787">
                  <c:v>5.5331809977645756</c:v>
                </c:pt>
                <c:pt idx="788">
                  <c:v>5.8698528443047966</c:v>
                </c:pt>
                <c:pt idx="789">
                  <c:v>5.6537039024069839</c:v>
                </c:pt>
                <c:pt idx="790">
                  <c:v>5.4515630996884781</c:v>
                </c:pt>
                <c:pt idx="791">
                  <c:v>5.2959537797059388</c:v>
                </c:pt>
                <c:pt idx="792">
                  <c:v>5.3519789013896109</c:v>
                </c:pt>
                <c:pt idx="793">
                  <c:v>5.6719718236091481</c:v>
                </c:pt>
                <c:pt idx="794">
                  <c:v>5.8352870291566363</c:v>
                </c:pt>
                <c:pt idx="795">
                  <c:v>5.8009115415289401</c:v>
                </c:pt>
                <c:pt idx="796">
                  <c:v>5.7556568875234868</c:v>
                </c:pt>
                <c:pt idx="797">
                  <c:v>5.8750397406335031</c:v>
                </c:pt>
                <c:pt idx="798">
                  <c:v>5.8750397406335031</c:v>
                </c:pt>
                <c:pt idx="799">
                  <c:v>5.7854355382992635</c:v>
                </c:pt>
                <c:pt idx="800">
                  <c:v>5.7451628829585095</c:v>
                </c:pt>
                <c:pt idx="801">
                  <c:v>5.4541980035628495</c:v>
                </c:pt>
                <c:pt idx="802">
                  <c:v>5.5003657140689981</c:v>
                </c:pt>
                <c:pt idx="803">
                  <c:v>5.3863386152525656</c:v>
                </c:pt>
                <c:pt idx="804">
                  <c:v>5.4752315859276894</c:v>
                </c:pt>
                <c:pt idx="805">
                  <c:v>5.7143698680174477</c:v>
                </c:pt>
                <c:pt idx="806">
                  <c:v>5.7519611847842276</c:v>
                </c:pt>
                <c:pt idx="807">
                  <c:v>5.8765068989437363</c:v>
                </c:pt>
                <c:pt idx="808">
                  <c:v>5.8392252674595397</c:v>
                </c:pt>
                <c:pt idx="809">
                  <c:v>5.8108103773380275</c:v>
                </c:pt>
                <c:pt idx="810">
                  <c:v>5.7854355382992644</c:v>
                </c:pt>
                <c:pt idx="811">
                  <c:v>5.7779803972724215</c:v>
                </c:pt>
                <c:pt idx="812">
                  <c:v>5.5316227795026531</c:v>
                </c:pt>
                <c:pt idx="813">
                  <c:v>5.8436526130553785</c:v>
                </c:pt>
                <c:pt idx="814">
                  <c:v>5.6552284830413608</c:v>
                </c:pt>
                <c:pt idx="815">
                  <c:v>5.7022883085672706</c:v>
                </c:pt>
                <c:pt idx="816">
                  <c:v>5.5750882679471818</c:v>
                </c:pt>
                <c:pt idx="817">
                  <c:v>5.6186266575775772</c:v>
                </c:pt>
                <c:pt idx="818">
                  <c:v>5.3786508584840549</c:v>
                </c:pt>
                <c:pt idx="819">
                  <c:v>5.4144336688173578</c:v>
                </c:pt>
                <c:pt idx="820">
                  <c:v>5.4198443375873957</c:v>
                </c:pt>
                <c:pt idx="821">
                  <c:v>5.6431221487937773</c:v>
                </c:pt>
                <c:pt idx="822">
                  <c:v>5.6610181448906882</c:v>
                </c:pt>
                <c:pt idx="823">
                  <c:v>5.4668278641778842</c:v>
                </c:pt>
                <c:pt idx="824">
                  <c:v>5.4185717251163039</c:v>
                </c:pt>
                <c:pt idx="825">
                  <c:v>5.691695907095756</c:v>
                </c:pt>
                <c:pt idx="826">
                  <c:v>5.727128425310541</c:v>
                </c:pt>
                <c:pt idx="827">
                  <c:v>5.827008064908247</c:v>
                </c:pt>
                <c:pt idx="828">
                  <c:v>5.8515151785719119</c:v>
                </c:pt>
                <c:pt idx="829">
                  <c:v>5.852202650461531</c:v>
                </c:pt>
                <c:pt idx="830">
                  <c:v>5.8470937864144483</c:v>
                </c:pt>
                <c:pt idx="831">
                  <c:v>5.9693662421846216</c:v>
                </c:pt>
                <c:pt idx="832">
                  <c:v>6.01683462051058</c:v>
                </c:pt>
                <c:pt idx="833">
                  <c:v>6.2019648351221699</c:v>
                </c:pt>
                <c:pt idx="834">
                  <c:v>6.1104771527666113</c:v>
                </c:pt>
                <c:pt idx="835">
                  <c:v>6.0282858164703406</c:v>
                </c:pt>
                <c:pt idx="836">
                  <c:v>5.988494716163423</c:v>
                </c:pt>
                <c:pt idx="837">
                  <c:v>5.8056650890691914</c:v>
                </c:pt>
                <c:pt idx="838">
                  <c:v>5.7863295097498808</c:v>
                </c:pt>
                <c:pt idx="839">
                  <c:v>5.73154208853461</c:v>
                </c:pt>
                <c:pt idx="840">
                  <c:v>5.7830509388141778</c:v>
                </c:pt>
                <c:pt idx="841">
                  <c:v>5.7675270104345371</c:v>
                </c:pt>
                <c:pt idx="842">
                  <c:v>5.824640485180967</c:v>
                </c:pt>
                <c:pt idx="843">
                  <c:v>5.5066313210298672</c:v>
                </c:pt>
                <c:pt idx="844">
                  <c:v>5.5216397697718786</c:v>
                </c:pt>
                <c:pt idx="845">
                  <c:v>5.5216397697718786</c:v>
                </c:pt>
                <c:pt idx="846">
                  <c:v>5.4436507357960933</c:v>
                </c:pt>
                <c:pt idx="847">
                  <c:v>5.4768058481975199</c:v>
                </c:pt>
                <c:pt idx="848">
                  <c:v>5.5800341942675766</c:v>
                </c:pt>
                <c:pt idx="849">
                  <c:v>5.6013134748626747</c:v>
                </c:pt>
                <c:pt idx="850">
                  <c:v>5.8565220544887087</c:v>
                </c:pt>
                <c:pt idx="851">
                  <c:v>5.7531600511990497</c:v>
                </c:pt>
                <c:pt idx="852">
                  <c:v>5.7255226132993569</c:v>
                </c:pt>
                <c:pt idx="853">
                  <c:v>5.5853873387740922</c:v>
                </c:pt>
                <c:pt idx="854">
                  <c:v>5.4705060809407025</c:v>
                </c:pt>
                <c:pt idx="855">
                  <c:v>5.1305933872942155</c:v>
                </c:pt>
                <c:pt idx="856">
                  <c:v>5.2422904531704742</c:v>
                </c:pt>
                <c:pt idx="857">
                  <c:v>5.0418934593238305</c:v>
                </c:pt>
                <c:pt idx="858">
                  <c:v>5.0205325540660315</c:v>
                </c:pt>
                <c:pt idx="859">
                  <c:v>5.0578265287969586</c:v>
                </c:pt>
                <c:pt idx="860">
                  <c:v>5.3170729135320398</c:v>
                </c:pt>
                <c:pt idx="861">
                  <c:v>5.276384167690737</c:v>
                </c:pt>
                <c:pt idx="862">
                  <c:v>5.2291182967035219</c:v>
                </c:pt>
                <c:pt idx="863">
                  <c:v>4.8882923704347494</c:v>
                </c:pt>
                <c:pt idx="864">
                  <c:v>4.8233150235177416</c:v>
                </c:pt>
                <c:pt idx="865">
                  <c:v>4.5692626231745788</c:v>
                </c:pt>
                <c:pt idx="866">
                  <c:v>4.6099592338686719</c:v>
                </c:pt>
                <c:pt idx="867">
                  <c:v>4.6043457732885358</c:v>
                </c:pt>
                <c:pt idx="868">
                  <c:v>4.8707430573819517</c:v>
                </c:pt>
                <c:pt idx="869">
                  <c:v>4.8670839059057167</c:v>
                </c:pt>
                <c:pt idx="870">
                  <c:v>4.8377110575004458</c:v>
                </c:pt>
                <c:pt idx="871">
                  <c:v>4.9891837030709247</c:v>
                </c:pt>
                <c:pt idx="872">
                  <c:v>5.3863386152525647</c:v>
                </c:pt>
                <c:pt idx="873">
                  <c:v>5.3922038230175904</c:v>
                </c:pt>
                <c:pt idx="874">
                  <c:v>5.3922038230175913</c:v>
                </c:pt>
                <c:pt idx="875">
                  <c:v>5.3712730998007983</c:v>
                </c:pt>
                <c:pt idx="876">
                  <c:v>5.4865561922370496</c:v>
                </c:pt>
                <c:pt idx="877">
                  <c:v>5.6182174945521615</c:v>
                </c:pt>
                <c:pt idx="878">
                  <c:v>5.6674103636392044</c:v>
                </c:pt>
                <c:pt idx="879">
                  <c:v>5.6431221487937773</c:v>
                </c:pt>
                <c:pt idx="880">
                  <c:v>5.3649565348369457</c:v>
                </c:pt>
                <c:pt idx="881">
                  <c:v>5.3222586165658266</c:v>
                </c:pt>
                <c:pt idx="882">
                  <c:v>5.3132884810405896</c:v>
                </c:pt>
                <c:pt idx="883">
                  <c:v>5.3400460629120969</c:v>
                </c:pt>
                <c:pt idx="884">
                  <c:v>5.4007236637282245</c:v>
                </c:pt>
                <c:pt idx="885">
                  <c:v>5.5874448748855743</c:v>
                </c:pt>
                <c:pt idx="886">
                  <c:v>5.7890105957893105</c:v>
                </c:pt>
                <c:pt idx="887">
                  <c:v>6.1179968173799564</c:v>
                </c:pt>
                <c:pt idx="888">
                  <c:v>6.0133950094958735</c:v>
                </c:pt>
                <c:pt idx="889">
                  <c:v>5.9746591303720358</c:v>
                </c:pt>
                <c:pt idx="890">
                  <c:v>5.9159826381348211</c:v>
                </c:pt>
                <c:pt idx="891">
                  <c:v>6.072739161164443</c:v>
                </c:pt>
                <c:pt idx="892">
                  <c:v>6.1213776527687038</c:v>
                </c:pt>
                <c:pt idx="893">
                  <c:v>6.2430651181102954</c:v>
                </c:pt>
                <c:pt idx="894">
                  <c:v>6.1722404136697353</c:v>
                </c:pt>
                <c:pt idx="895">
                  <c:v>6.3969281420985507</c:v>
                </c:pt>
                <c:pt idx="896">
                  <c:v>6.1863773218108911</c:v>
                </c:pt>
                <c:pt idx="897">
                  <c:v>6.3155527783838314</c:v>
                </c:pt>
                <c:pt idx="898">
                  <c:v>6.2859083415335375</c:v>
                </c:pt>
                <c:pt idx="899">
                  <c:v>6.2609903369994111</c:v>
                </c:pt>
                <c:pt idx="900">
                  <c:v>6.3282798955783868</c:v>
                </c:pt>
                <c:pt idx="901">
                  <c:v>6.3263724602450591</c:v>
                </c:pt>
                <c:pt idx="902">
                  <c:v>6.3263724602450591</c:v>
                </c:pt>
                <c:pt idx="903">
                  <c:v>6.5341718908252311</c:v>
                </c:pt>
                <c:pt idx="904">
                  <c:v>6.5639208916062026</c:v>
                </c:pt>
                <c:pt idx="905">
                  <c:v>6.7514153475698917</c:v>
                </c:pt>
                <c:pt idx="906">
                  <c:v>6.6909614792824339</c:v>
                </c:pt>
                <c:pt idx="907">
                  <c:v>6.7640020799768417</c:v>
                </c:pt>
                <c:pt idx="908">
                  <c:v>6.6405234525704326</c:v>
                </c:pt>
                <c:pt idx="909">
                  <c:v>6.6627287220018578</c:v>
                </c:pt>
                <c:pt idx="910">
                  <c:v>6.6957698088668893</c:v>
                </c:pt>
                <c:pt idx="911">
                  <c:v>6.6957698088668893</c:v>
                </c:pt>
                <c:pt idx="912">
                  <c:v>6.8195965094515776</c:v>
                </c:pt>
                <c:pt idx="913">
                  <c:v>6.8073658550909002</c:v>
                </c:pt>
                <c:pt idx="914">
                  <c:v>6.7399137072821036</c:v>
                </c:pt>
                <c:pt idx="915">
                  <c:v>6.5320606313746072</c:v>
                </c:pt>
                <c:pt idx="916">
                  <c:v>6.4775474285917172</c:v>
                </c:pt>
                <c:pt idx="917">
                  <c:v>6.2408553790381145</c:v>
                </c:pt>
                <c:pt idx="918">
                  <c:v>6.5197313251179416</c:v>
                </c:pt>
                <c:pt idx="919">
                  <c:v>6.5386560536937361</c:v>
                </c:pt>
                <c:pt idx="920">
                  <c:v>6.3304591179217136</c:v>
                </c:pt>
                <c:pt idx="921">
                  <c:v>6.0328602087940499</c:v>
                </c:pt>
                <c:pt idx="922">
                  <c:v>6.0022984103505346</c:v>
                </c:pt>
                <c:pt idx="923">
                  <c:v>5.8530864242427834</c:v>
                </c:pt>
                <c:pt idx="924">
                  <c:v>6.0819121312638025</c:v>
                </c:pt>
                <c:pt idx="925">
                  <c:v>5.8706360657165559</c:v>
                </c:pt>
                <c:pt idx="926">
                  <c:v>6.0077536108162652</c:v>
                </c:pt>
                <c:pt idx="927">
                  <c:v>6.0378118895667088</c:v>
                </c:pt>
                <c:pt idx="928">
                  <c:v>6.0511231977231272</c:v>
                </c:pt>
                <c:pt idx="929">
                  <c:v>6.0917317244194908</c:v>
                </c:pt>
                <c:pt idx="930">
                  <c:v>6.1794059157223504</c:v>
                </c:pt>
                <c:pt idx="931">
                  <c:v>6.1794059157223513</c:v>
                </c:pt>
                <c:pt idx="932">
                  <c:v>6.1270082328210949</c:v>
                </c:pt>
                <c:pt idx="933">
                  <c:v>5.8600537442123732</c:v>
                </c:pt>
                <c:pt idx="934">
                  <c:v>5.8984704816578093</c:v>
                </c:pt>
                <c:pt idx="935">
                  <c:v>5.6516704884790325</c:v>
                </c:pt>
                <c:pt idx="936">
                  <c:v>5.6977511191778074</c:v>
                </c:pt>
                <c:pt idx="937">
                  <c:v>5.5107001453494115</c:v>
                </c:pt>
                <c:pt idx="938">
                  <c:v>5.4058291228771846</c:v>
                </c:pt>
                <c:pt idx="939">
                  <c:v>5.6258843493839858</c:v>
                </c:pt>
                <c:pt idx="940">
                  <c:v>5.8800265852866813</c:v>
                </c:pt>
                <c:pt idx="941">
                  <c:v>5.81555583372496</c:v>
                </c:pt>
                <c:pt idx="942">
                  <c:v>5.8526936523711681</c:v>
                </c:pt>
                <c:pt idx="943">
                  <c:v>5.833021338126108</c:v>
                </c:pt>
                <c:pt idx="944">
                  <c:v>5.8411933908992486</c:v>
                </c:pt>
                <c:pt idx="945">
                  <c:v>5.7651350035532918</c:v>
                </c:pt>
                <c:pt idx="946">
                  <c:v>5.5889875298836893</c:v>
                </c:pt>
                <c:pt idx="947">
                  <c:v>5.7699180256731992</c:v>
                </c:pt>
                <c:pt idx="948">
                  <c:v>5.5655962905124108</c:v>
                </c:pt>
                <c:pt idx="949">
                  <c:v>5.5936129421981331</c:v>
                </c:pt>
                <c:pt idx="950">
                  <c:v>5.5815788974541736</c:v>
                </c:pt>
                <c:pt idx="951">
                  <c:v>5.5878562911938321</c:v>
                </c:pt>
                <c:pt idx="952">
                  <c:v>5.7204010790981368</c:v>
                </c:pt>
                <c:pt idx="953">
                  <c:v>5.7660321224202011</c:v>
                </c:pt>
                <c:pt idx="954">
                  <c:v>5.5373341027535306</c:v>
                </c:pt>
                <c:pt idx="955">
                  <c:v>5.7155766193756889</c:v>
                </c:pt>
                <c:pt idx="956">
                  <c:v>5.4991117360040489</c:v>
                </c:pt>
                <c:pt idx="957">
                  <c:v>5.2335126991738337</c:v>
                </c:pt>
                <c:pt idx="958">
                  <c:v>5.2017901427926887</c:v>
                </c:pt>
                <c:pt idx="959">
                  <c:v>5.2017901427926887</c:v>
                </c:pt>
                <c:pt idx="960">
                  <c:v>4.8476798574163293</c:v>
                </c:pt>
                <c:pt idx="961">
                  <c:v>5.085024214727774</c:v>
                </c:pt>
                <c:pt idx="962">
                  <c:v>4.9531134989351235</c:v>
                </c:pt>
                <c:pt idx="963">
                  <c:v>4.9293864298422214</c:v>
                </c:pt>
                <c:pt idx="964">
                  <c:v>4.8262929302183739</c:v>
                </c:pt>
                <c:pt idx="965">
                  <c:v>4.8942847269550773</c:v>
                </c:pt>
                <c:pt idx="966">
                  <c:v>4.8204545023467853</c:v>
                </c:pt>
                <c:pt idx="967">
                  <c:v>4.7885159556454715</c:v>
                </c:pt>
                <c:pt idx="968">
                  <c:v>4.7596242486677189</c:v>
                </c:pt>
                <c:pt idx="969">
                  <c:v>4.5673755637378761</c:v>
                </c:pt>
                <c:pt idx="970">
                  <c:v>4.7451124279644832</c:v>
                </c:pt>
                <c:pt idx="971">
                  <c:v>4.7885159556454715</c:v>
                </c:pt>
                <c:pt idx="972">
                  <c:v>4.9475408961968395</c:v>
                </c:pt>
                <c:pt idx="973">
                  <c:v>5.2679905218148448</c:v>
                </c:pt>
                <c:pt idx="974">
                  <c:v>5.2649349691981051</c:v>
                </c:pt>
                <c:pt idx="975">
                  <c:v>5.2701719747725644</c:v>
                </c:pt>
                <c:pt idx="976">
                  <c:v>5.3235542530397364</c:v>
                </c:pt>
                <c:pt idx="977">
                  <c:v>5.1621968058249159</c:v>
                </c:pt>
                <c:pt idx="978">
                  <c:v>5.1621968058249159</c:v>
                </c:pt>
                <c:pt idx="979">
                  <c:v>5.1621968058249159</c:v>
                </c:pt>
                <c:pt idx="980">
                  <c:v>5.3482191686450236</c:v>
                </c:pt>
                <c:pt idx="981">
                  <c:v>5.5158080034600987</c:v>
                </c:pt>
                <c:pt idx="982">
                  <c:v>5.511117290813492</c:v>
                </c:pt>
                <c:pt idx="983">
                  <c:v>5.7364533077263111</c:v>
                </c:pt>
                <c:pt idx="984">
                  <c:v>5.888231004963723</c:v>
                </c:pt>
                <c:pt idx="985">
                  <c:v>5.8250351486285998</c:v>
                </c:pt>
                <c:pt idx="986">
                  <c:v>5.9035348849592681</c:v>
                </c:pt>
                <c:pt idx="987">
                  <c:v>5.9096647900735011</c:v>
                </c:pt>
                <c:pt idx="988">
                  <c:v>6.0840851369801685</c:v>
                </c:pt>
                <c:pt idx="989">
                  <c:v>6.1950109700903857</c:v>
                </c:pt>
                <c:pt idx="990">
                  <c:v>6.2275804788609239</c:v>
                </c:pt>
                <c:pt idx="991">
                  <c:v>6.0004789080903187</c:v>
                </c:pt>
                <c:pt idx="992">
                  <c:v>5.9984672371700336</c:v>
                </c:pt>
                <c:pt idx="993">
                  <c:v>6.0954099934709687</c:v>
                </c:pt>
                <c:pt idx="994">
                  <c:v>6.1228796470626285</c:v>
                </c:pt>
                <c:pt idx="995">
                  <c:v>6.0382877987248911</c:v>
                </c:pt>
                <c:pt idx="996">
                  <c:v>6.0382877987248911</c:v>
                </c:pt>
                <c:pt idx="997">
                  <c:v>6.2330229193099935</c:v>
                </c:pt>
                <c:pt idx="998">
                  <c:v>6.2338527044059902</c:v>
                </c:pt>
                <c:pt idx="999">
                  <c:v>6.2628259201216121</c:v>
                </c:pt>
                <c:pt idx="1000">
                  <c:v>6.0428546196332569</c:v>
                </c:pt>
                <c:pt idx="1001">
                  <c:v>5.9869590077868056</c:v>
                </c:pt>
                <c:pt idx="1002">
                  <c:v>5.821186038648114</c:v>
                </c:pt>
                <c:pt idx="1003">
                  <c:v>5.5378530218807756</c:v>
                </c:pt>
                <c:pt idx="1004">
                  <c:v>5.616478219151829</c:v>
                </c:pt>
                <c:pt idx="1005">
                  <c:v>5.6512637178949117</c:v>
                </c:pt>
                <c:pt idx="1006">
                  <c:v>5.6185243696146774</c:v>
                </c:pt>
                <c:pt idx="1007">
                  <c:v>5.6353767633023271</c:v>
                </c:pt>
                <c:pt idx="1008">
                  <c:v>5.8882310049637221</c:v>
                </c:pt>
                <c:pt idx="1009">
                  <c:v>5.8726915249420726</c:v>
                </c:pt>
                <c:pt idx="1010">
                  <c:v>5.7684237572909085</c:v>
                </c:pt>
                <c:pt idx="1011">
                  <c:v>5.5878562911938321</c:v>
                </c:pt>
                <c:pt idx="1012">
                  <c:v>5.6962379196081345</c:v>
                </c:pt>
                <c:pt idx="1013">
                  <c:v>5.5580530784608833</c:v>
                </c:pt>
                <c:pt idx="1014">
                  <c:v>5.6568542494923806</c:v>
                </c:pt>
                <c:pt idx="1015">
                  <c:v>5.5232008044644525</c:v>
                </c:pt>
                <c:pt idx="1016">
                  <c:v>5.563014150330881</c:v>
                </c:pt>
                <c:pt idx="1017">
                  <c:v>5.869167439831787</c:v>
                </c:pt>
                <c:pt idx="1018">
                  <c:v>5.7615451311996662</c:v>
                </c:pt>
                <c:pt idx="1019">
                  <c:v>5.4907445635422674</c:v>
                </c:pt>
                <c:pt idx="1020">
                  <c:v>5.4815259222940478</c:v>
                </c:pt>
                <c:pt idx="1021">
                  <c:v>5.5158080034600987</c:v>
                </c:pt>
                <c:pt idx="1022">
                  <c:v>5.5889875298836902</c:v>
                </c:pt>
                <c:pt idx="1023">
                  <c:v>5.35197890138961</c:v>
                </c:pt>
                <c:pt idx="1024">
                  <c:v>5.4185717251163057</c:v>
                </c:pt>
                <c:pt idx="1025">
                  <c:v>5.4169805390936689</c:v>
                </c:pt>
                <c:pt idx="1026">
                  <c:v>5.4177231507277153</c:v>
                </c:pt>
                <c:pt idx="1027">
                  <c:v>5.6307856580087279</c:v>
                </c:pt>
                <c:pt idx="1028">
                  <c:v>5.6074662870961181</c:v>
                </c:pt>
                <c:pt idx="1029">
                  <c:v>5.5960782655376597</c:v>
                </c:pt>
                <c:pt idx="1030">
                  <c:v>5.5688996828961574</c:v>
                </c:pt>
                <c:pt idx="1031">
                  <c:v>5.6099255224838842</c:v>
                </c:pt>
                <c:pt idx="1032">
                  <c:v>5.6908880586909918</c:v>
                </c:pt>
                <c:pt idx="1033">
                  <c:v>5.7083322845875371</c:v>
                </c:pt>
                <c:pt idx="1034">
                  <c:v>5.7364533077263111</c:v>
                </c:pt>
                <c:pt idx="1035">
                  <c:v>5.6381296319902416</c:v>
                </c:pt>
                <c:pt idx="1036">
                  <c:v>5.5655962905124117</c:v>
                </c:pt>
                <c:pt idx="1037">
                  <c:v>5.6962379196081336</c:v>
                </c:pt>
                <c:pt idx="1038">
                  <c:v>5.3149107106393583</c:v>
                </c:pt>
                <c:pt idx="1039">
                  <c:v>5.4312844313949009</c:v>
                </c:pt>
                <c:pt idx="1040">
                  <c:v>5.2881346253751849</c:v>
                </c:pt>
                <c:pt idx="1041">
                  <c:v>5.5069444142472692</c:v>
                </c:pt>
                <c:pt idx="1042">
                  <c:v>5.3558433015972717</c:v>
                </c:pt>
                <c:pt idx="1043">
                  <c:v>5.3914576963891712</c:v>
                </c:pt>
                <c:pt idx="1044">
                  <c:v>5.3914576963891712</c:v>
                </c:pt>
                <c:pt idx="1045">
                  <c:v>5.4920004520681935</c:v>
                </c:pt>
                <c:pt idx="1046">
                  <c:v>5.4920004520681935</c:v>
                </c:pt>
                <c:pt idx="1047">
                  <c:v>5.2583813776335848</c:v>
                </c:pt>
                <c:pt idx="1048">
                  <c:v>5.2254901326513643</c:v>
                </c:pt>
                <c:pt idx="1049">
                  <c:v>5.4291677142049606</c:v>
                </c:pt>
                <c:pt idx="1050">
                  <c:v>5.7375552485257222</c:v>
                </c:pt>
                <c:pt idx="1051">
                  <c:v>5.81555583372496</c:v>
                </c:pt>
                <c:pt idx="1052">
                  <c:v>5.9797551174247774</c:v>
                </c:pt>
                <c:pt idx="1053">
                  <c:v>6.1143321361588105</c:v>
                </c:pt>
                <c:pt idx="1054">
                  <c:v>6.3053525884257899</c:v>
                </c:pt>
                <c:pt idx="1055">
                  <c:v>6.3394404916464397</c:v>
                </c:pt>
                <c:pt idx="1056">
                  <c:v>6.4833119108472115</c:v>
                </c:pt>
                <c:pt idx="1057">
                  <c:v>6.122222569900762</c:v>
                </c:pt>
                <c:pt idx="1058">
                  <c:v>6.1334770098114051</c:v>
                </c:pt>
                <c:pt idx="1059">
                  <c:v>6.0648791101463573</c:v>
                </c:pt>
                <c:pt idx="1060">
                  <c:v>6.058052492344383</c:v>
                </c:pt>
                <c:pt idx="1061">
                  <c:v>5.8574051765520583</c:v>
                </c:pt>
                <c:pt idx="1062">
                  <c:v>5.3609915020504797</c:v>
                </c:pt>
                <c:pt idx="1063">
                  <c:v>5.3558433015972717</c:v>
                </c:pt>
                <c:pt idx="1064">
                  <c:v>4.9335818514602012</c:v>
                </c:pt>
                <c:pt idx="1065">
                  <c:v>4.7441433949369767</c:v>
                </c:pt>
                <c:pt idx="1066">
                  <c:v>4.6456010585716792</c:v>
                </c:pt>
                <c:pt idx="1067">
                  <c:v>3.9034320295344478</c:v>
                </c:pt>
                <c:pt idx="1068">
                  <c:v>3.7448815643534674</c:v>
                </c:pt>
                <c:pt idx="1069">
                  <c:v>2.7534722071236351</c:v>
                </c:pt>
                <c:pt idx="1070">
                  <c:v>2.5508619232965426</c:v>
                </c:pt>
                <c:pt idx="1071">
                  <c:v>2.5694938899664099</c:v>
                </c:pt>
                <c:pt idx="1072">
                  <c:v>2.5042492623171708</c:v>
                </c:pt>
                <c:pt idx="1073">
                  <c:v>2.5917641442288581</c:v>
                </c:pt>
                <c:pt idx="1074">
                  <c:v>2.7352530404703503</c:v>
                </c:pt>
                <c:pt idx="1075">
                  <c:v>2.8235463150271589</c:v>
                </c:pt>
                <c:pt idx="1076">
                  <c:v>3.002106540108282</c:v>
                </c:pt>
                <c:pt idx="1077">
                  <c:v>3.0026807945605851</c:v>
                </c:pt>
                <c:pt idx="1078">
                  <c:v>2.8357325879470419</c:v>
                </c:pt>
                <c:pt idx="1079">
                  <c:v>2.8464537323790653</c:v>
                </c:pt>
                <c:pt idx="1080">
                  <c:v>2.8464537323790653</c:v>
                </c:pt>
                <c:pt idx="1081">
                  <c:v>2.9563879794535546</c:v>
                </c:pt>
                <c:pt idx="1082">
                  <c:v>3.0126171460983087</c:v>
                </c:pt>
                <c:pt idx="1083">
                  <c:v>3.1176177170854444</c:v>
                </c:pt>
                <c:pt idx="1084">
                  <c:v>3.1593684804723705</c:v>
                </c:pt>
                <c:pt idx="1085">
                  <c:v>3.1593684804723705</c:v>
                </c:pt>
                <c:pt idx="1086">
                  <c:v>3.0926312124293052</c:v>
                </c:pt>
                <c:pt idx="1087">
                  <c:v>3.1154048094006623</c:v>
                </c:pt>
                <c:pt idx="1088">
                  <c:v>3.1805804429416638</c:v>
                </c:pt>
                <c:pt idx="1089">
                  <c:v>3.0792221737643901</c:v>
                </c:pt>
                <c:pt idx="1090">
                  <c:v>3.0663168216240662</c:v>
                </c:pt>
                <c:pt idx="1091">
                  <c:v>3.0522273758720835</c:v>
                </c:pt>
                <c:pt idx="1092">
                  <c:v>3.0369373562434778</c:v>
                </c:pt>
                <c:pt idx="1093">
                  <c:v>3.0399637021426469</c:v>
                </c:pt>
                <c:pt idx="1094">
                  <c:v>3.0399637021426469</c:v>
                </c:pt>
                <c:pt idx="1095">
                  <c:v>3.0618152530285303</c:v>
                </c:pt>
                <c:pt idx="1096">
                  <c:v>3.0325816929042362</c:v>
                </c:pt>
                <c:pt idx="1097">
                  <c:v>3.7008852622228008</c:v>
                </c:pt>
                <c:pt idx="1098">
                  <c:v>3.9276502875904304</c:v>
                </c:pt>
                <c:pt idx="1099">
                  <c:v>4.0931678426990681</c:v>
                </c:pt>
                <c:pt idx="1100">
                  <c:v>4.0606041111054445</c:v>
                </c:pt>
                <c:pt idx="1101">
                  <c:v>4.4921387272464761</c:v>
                </c:pt>
                <c:pt idx="1102">
                  <c:v>4.6292423848261892</c:v>
                </c:pt>
                <c:pt idx="1103">
                  <c:v>4.730556089884173</c:v>
                </c:pt>
                <c:pt idx="1104">
                  <c:v>4.6064672179323125</c:v>
                </c:pt>
                <c:pt idx="1105">
                  <c:v>4.4546243568812329</c:v>
                </c:pt>
                <c:pt idx="1106">
                  <c:v>5.3520862835166341</c:v>
                </c:pt>
                <c:pt idx="1107">
                  <c:v>5.9870550011008667</c:v>
                </c:pt>
                <c:pt idx="1108">
                  <c:v>6.3350874763757865</c:v>
                </c:pt>
                <c:pt idx="1109">
                  <c:v>6.2757515463300786</c:v>
                </c:pt>
                <c:pt idx="1110">
                  <c:v>6.3730755490597311</c:v>
                </c:pt>
                <c:pt idx="1111">
                  <c:v>6.3922546523296377</c:v>
                </c:pt>
                <c:pt idx="1112">
                  <c:v>6.253275004016861</c:v>
                </c:pt>
                <c:pt idx="1113">
                  <c:v>6.0784147963742656</c:v>
                </c:pt>
                <c:pt idx="1114">
                  <c:v>6.1053020108491092</c:v>
                </c:pt>
                <c:pt idx="1115">
                  <c:v>6.1143321361588105</c:v>
                </c:pt>
                <c:pt idx="1116">
                  <c:v>6.398724729265945</c:v>
                </c:pt>
                <c:pt idx="1117">
                  <c:v>6.2717208769699493</c:v>
                </c:pt>
                <c:pt idx="1118">
                  <c:v>5.9951129522590998</c:v>
                </c:pt>
                <c:pt idx="1119">
                  <c:v>6.457998693592061</c:v>
                </c:pt>
                <c:pt idx="1120">
                  <c:v>6.3706402716888961</c:v>
                </c:pt>
                <c:pt idx="1121">
                  <c:v>6.2308096188013247</c:v>
                </c:pt>
                <c:pt idx="1122">
                  <c:v>6.0939955373462009</c:v>
                </c:pt>
                <c:pt idx="1123">
                  <c:v>5.8018031283584497</c:v>
                </c:pt>
                <c:pt idx="1124">
                  <c:v>5.8404062211104986</c:v>
                </c:pt>
                <c:pt idx="1125">
                  <c:v>5.511638678246265</c:v>
                </c:pt>
                <c:pt idx="1126">
                  <c:v>5.511638678246265</c:v>
                </c:pt>
                <c:pt idx="1127">
                  <c:v>5.6491276917910893</c:v>
                </c:pt>
                <c:pt idx="1128">
                  <c:v>5.858974842657763</c:v>
                </c:pt>
                <c:pt idx="1129">
                  <c:v>5.8565220544887087</c:v>
                </c:pt>
                <c:pt idx="1130">
                  <c:v>6.0096665426646583</c:v>
                </c:pt>
                <c:pt idx="1131">
                  <c:v>6.2683294443566462</c:v>
                </c:pt>
                <c:pt idx="1132">
                  <c:v>6.4771925236560435</c:v>
                </c:pt>
                <c:pt idx="1133">
                  <c:v>6.5565620371599049</c:v>
                </c:pt>
                <c:pt idx="1134">
                  <c:v>6.4376764566821416</c:v>
                </c:pt>
                <c:pt idx="1135">
                  <c:v>6.2061334141333919</c:v>
                </c:pt>
                <c:pt idx="1136">
                  <c:v>6.4094936769921453</c:v>
                </c:pt>
                <c:pt idx="1137">
                  <c:v>6.5373375015517903</c:v>
                </c:pt>
                <c:pt idx="1138">
                  <c:v>6.5649714831606572</c:v>
                </c:pt>
                <c:pt idx="1139">
                  <c:v>6.745027968722634</c:v>
                </c:pt>
                <c:pt idx="1140">
                  <c:v>6.8364304727829568</c:v>
                </c:pt>
                <c:pt idx="1141">
                  <c:v>6.6024203155349408</c:v>
                </c:pt>
                <c:pt idx="1142">
                  <c:v>6.7636622059932607</c:v>
                </c:pt>
                <c:pt idx="1143">
                  <c:v>6.7565209029976128</c:v>
                </c:pt>
                <c:pt idx="1144">
                  <c:v>6.8511262602934675</c:v>
                </c:pt>
                <c:pt idx="1145">
                  <c:v>7.0417474320335947</c:v>
                </c:pt>
                <c:pt idx="1146">
                  <c:v>7.1503556699577233</c:v>
                </c:pt>
                <c:pt idx="1147">
                  <c:v>7.266993560083761</c:v>
                </c:pt>
                <c:pt idx="1148">
                  <c:v>7.4293608270732543</c:v>
                </c:pt>
                <c:pt idx="1149">
                  <c:v>7.4602394340793854</c:v>
                </c:pt>
                <c:pt idx="1150">
                  <c:v>7.3933800771715532</c:v>
                </c:pt>
                <c:pt idx="1151">
                  <c:v>7.180433182591087</c:v>
                </c:pt>
                <c:pt idx="1152">
                  <c:v>7.2050429338180155</c:v>
                </c:pt>
                <c:pt idx="1153">
                  <c:v>7.4096085490783326</c:v>
                </c:pt>
                <c:pt idx="1154">
                  <c:v>7.3183755499192005</c:v>
                </c:pt>
                <c:pt idx="1155">
                  <c:v>7.4929085247932621</c:v>
                </c:pt>
                <c:pt idx="1156">
                  <c:v>7.4943656997359911</c:v>
                </c:pt>
                <c:pt idx="1157">
                  <c:v>7.678601405218914</c:v>
                </c:pt>
                <c:pt idx="1158">
                  <c:v>7.7154122512602363</c:v>
                </c:pt>
                <c:pt idx="1159">
                  <c:v>7.7712260308775285</c:v>
                </c:pt>
                <c:pt idx="1160">
                  <c:v>7.616452246786964</c:v>
                </c:pt>
                <c:pt idx="1161">
                  <c:v>7.5700559526622246</c:v>
                </c:pt>
                <c:pt idx="1162">
                  <c:v>7.4219308452224464</c:v>
                </c:pt>
                <c:pt idx="1163">
                  <c:v>7.3171189607015048</c:v>
                </c:pt>
                <c:pt idx="1164">
                  <c:v>7.2384668472578211</c:v>
                </c:pt>
                <c:pt idx="1165">
                  <c:v>7.4114698311111864</c:v>
                </c:pt>
                <c:pt idx="1166">
                  <c:v>7.2139711193173506</c:v>
                </c:pt>
                <c:pt idx="1167">
                  <c:v>7.2225699886798829</c:v>
                </c:pt>
                <c:pt idx="1168">
                  <c:v>7.2286944179779606</c:v>
                </c:pt>
                <c:pt idx="1169">
                  <c:v>7.0093533569622979</c:v>
                </c:pt>
                <c:pt idx="1170">
                  <c:v>6.9782091039786556</c:v>
                </c:pt>
                <c:pt idx="1171">
                  <c:v>6.9782091039786556</c:v>
                </c:pt>
                <c:pt idx="1172">
                  <c:v>6.9099295536772019</c:v>
                </c:pt>
                <c:pt idx="1173">
                  <c:v>6.9365763856547398</c:v>
                </c:pt>
                <c:pt idx="1174">
                  <c:v>6.8397922936803921</c:v>
                </c:pt>
                <c:pt idx="1175">
                  <c:v>6.6984300785513451</c:v>
                </c:pt>
                <c:pt idx="1176">
                  <c:v>6.5713589630067881</c:v>
                </c:pt>
                <c:pt idx="1177">
                  <c:v>6.5143519715467786</c:v>
                </c:pt>
                <c:pt idx="1178">
                  <c:v>6.3296419974665188</c:v>
                </c:pt>
                <c:pt idx="1179">
                  <c:v>5.9927158849857829</c:v>
                </c:pt>
                <c:pt idx="1180">
                  <c:v>5.973119864822757</c:v>
                </c:pt>
                <c:pt idx="1181">
                  <c:v>5.9450549333811491</c:v>
                </c:pt>
                <c:pt idx="1182">
                  <c:v>5.9049949633544463</c:v>
                </c:pt>
                <c:pt idx="1183">
                  <c:v>5.689272017750076</c:v>
                </c:pt>
                <c:pt idx="1184">
                  <c:v>5.8108103773380275</c:v>
                </c:pt>
                <c:pt idx="1185">
                  <c:v>5.48184044939687</c:v>
                </c:pt>
                <c:pt idx="1186">
                  <c:v>5.3909246855727124</c:v>
                </c:pt>
                <c:pt idx="1187">
                  <c:v>4.9136216949333349</c:v>
                </c:pt>
                <c:pt idx="1188">
                  <c:v>4.9947098451042784</c:v>
                </c:pt>
                <c:pt idx="1189">
                  <c:v>5.053847970640275</c:v>
                </c:pt>
                <c:pt idx="1190">
                  <c:v>5.0836677862464157</c:v>
                </c:pt>
                <c:pt idx="1191">
                  <c:v>4.9666705237970064</c:v>
                </c:pt>
                <c:pt idx="1192">
                  <c:v>5.0456536434494952</c:v>
                </c:pt>
                <c:pt idx="1193">
                  <c:v>5.402106868684629</c:v>
                </c:pt>
                <c:pt idx="1194">
                  <c:v>5.6503483770126239</c:v>
                </c:pt>
                <c:pt idx="1195">
                  <c:v>5.498589160741207</c:v>
                </c:pt>
                <c:pt idx="1196">
                  <c:v>5.4629367707231919</c:v>
                </c:pt>
                <c:pt idx="1197">
                  <c:v>5.2832417773712503</c:v>
                </c:pt>
                <c:pt idx="1198">
                  <c:v>5.4747067312417244</c:v>
                </c:pt>
                <c:pt idx="1199">
                  <c:v>5.5236170058745211</c:v>
                </c:pt>
                <c:pt idx="1200">
                  <c:v>5.5589836166852225</c:v>
                </c:pt>
                <c:pt idx="1201">
                  <c:v>5.625884349383985</c:v>
                </c:pt>
                <c:pt idx="1202">
                  <c:v>5.7098422789578613</c:v>
                </c:pt>
                <c:pt idx="1203">
                  <c:v>5.8274025680104833</c:v>
                </c:pt>
                <c:pt idx="1204">
                  <c:v>5.9383809086393198</c:v>
                </c:pt>
                <c:pt idx="1205">
                  <c:v>6.0747262366772317</c:v>
                </c:pt>
                <c:pt idx="1206">
                  <c:v>5.984750736606359</c:v>
                </c:pt>
                <c:pt idx="1207">
                  <c:v>5.943121204819267</c:v>
                </c:pt>
                <c:pt idx="1208">
                  <c:v>5.9977007088636434</c:v>
                </c:pt>
                <c:pt idx="1209">
                  <c:v>6.1682352773529647</c:v>
                </c:pt>
                <c:pt idx="1210">
                  <c:v>6.1764290542407236</c:v>
                </c:pt>
                <c:pt idx="1211">
                  <c:v>6.4473107643384173</c:v>
                </c:pt>
                <c:pt idx="1212">
                  <c:v>6.6505552442988742</c:v>
                </c:pt>
                <c:pt idx="1213">
                  <c:v>6.674363373145157</c:v>
                </c:pt>
                <c:pt idx="1214">
                  <c:v>6.583591585215439</c:v>
                </c:pt>
                <c:pt idx="1215">
                  <c:v>6.6107714262841304</c:v>
                </c:pt>
                <c:pt idx="1216">
                  <c:v>6.4673361426177003</c:v>
                </c:pt>
                <c:pt idx="1217">
                  <c:v>6.6038129007101816</c:v>
                </c:pt>
                <c:pt idx="1218">
                  <c:v>6.4344618151462152</c:v>
                </c:pt>
                <c:pt idx="1219">
                  <c:v>6.3622449590958237</c:v>
                </c:pt>
                <c:pt idx="1220">
                  <c:v>6.441692502661903</c:v>
                </c:pt>
                <c:pt idx="1221">
                  <c:v>6.6045090831859001</c:v>
                </c:pt>
                <c:pt idx="1222">
                  <c:v>6.6523697272855902</c:v>
                </c:pt>
                <c:pt idx="1223">
                  <c:v>6.6277022248747102</c:v>
                </c:pt>
                <c:pt idx="1224">
                  <c:v>6.5932741765996719</c:v>
                </c:pt>
                <c:pt idx="1225">
                  <c:v>6.6207614938631272</c:v>
                </c:pt>
                <c:pt idx="1226">
                  <c:v>6.83542160409635</c:v>
                </c:pt>
                <c:pt idx="1227">
                  <c:v>6.9216468706731096</c:v>
                </c:pt>
                <c:pt idx="1228">
                  <c:v>6.7941827720653718</c:v>
                </c:pt>
                <c:pt idx="1229">
                  <c:v>6.8856839658933602</c:v>
                </c:pt>
                <c:pt idx="1230">
                  <c:v>6.8460912583196976</c:v>
                </c:pt>
                <c:pt idx="1231">
                  <c:v>6.8174893413587547</c:v>
                </c:pt>
                <c:pt idx="1232">
                  <c:v>6.8144538746105985</c:v>
                </c:pt>
                <c:pt idx="1233">
                  <c:v>7.2563091850131176</c:v>
                </c:pt>
                <c:pt idx="1234">
                  <c:v>7.5417611285123733</c:v>
                </c:pt>
                <c:pt idx="1235">
                  <c:v>7.4726320587231827</c:v>
                </c:pt>
                <c:pt idx="1236">
                  <c:v>7.6281390749727702</c:v>
                </c:pt>
                <c:pt idx="1237">
                  <c:v>7.7073632505456802</c:v>
                </c:pt>
                <c:pt idx="1238">
                  <c:v>7.7933806277632431</c:v>
                </c:pt>
                <c:pt idx="1239">
                  <c:v>7.52436654835628</c:v>
                </c:pt>
                <c:pt idx="1240">
                  <c:v>7.765233452685929</c:v>
                </c:pt>
                <c:pt idx="1241">
                  <c:v>7.6702889993359005</c:v>
                </c:pt>
                <c:pt idx="1242">
                  <c:v>7.4553074514336624</c:v>
                </c:pt>
                <c:pt idx="1243">
                  <c:v>7.3209665840063716</c:v>
                </c:pt>
                <c:pt idx="1244">
                  <c:v>7.2699191287063885</c:v>
                </c:pt>
                <c:pt idx="1245">
                  <c:v>7.4460511790424562</c:v>
                </c:pt>
                <c:pt idx="1246">
                  <c:v>7.3324973400185627</c:v>
                </c:pt>
                <c:pt idx="1247">
                  <c:v>7.3281852358257629</c:v>
                </c:pt>
                <c:pt idx="1248">
                  <c:v>6.9547800480850146</c:v>
                </c:pt>
                <c:pt idx="1249">
                  <c:v>7.098324231574078</c:v>
                </c:pt>
                <c:pt idx="1250">
                  <c:v>7.1666533012438869</c:v>
                </c:pt>
                <c:pt idx="1251">
                  <c:v>7.2317944228740787</c:v>
                </c:pt>
                <c:pt idx="1252">
                  <c:v>6.757286403596483</c:v>
                </c:pt>
                <c:pt idx="1253">
                  <c:v>5.9499830966629395</c:v>
                </c:pt>
                <c:pt idx="1254">
                  <c:v>4.9513727343054059</c:v>
                </c:pt>
                <c:pt idx="1255">
                  <c:v>4.8100708528248735</c:v>
                </c:pt>
                <c:pt idx="1256">
                  <c:v>4.9065988875878341</c:v>
                </c:pt>
                <c:pt idx="1257">
                  <c:v>3.6230424758218334</c:v>
                </c:pt>
                <c:pt idx="1258">
                  <c:v>3.5616088318714021</c:v>
                </c:pt>
                <c:pt idx="1259">
                  <c:v>3.6149434424281144</c:v>
                </c:pt>
                <c:pt idx="1260">
                  <c:v>3.5616088318714012</c:v>
                </c:pt>
                <c:pt idx="1261">
                  <c:v>3.3726417900035224</c:v>
                </c:pt>
                <c:pt idx="1262">
                  <c:v>3.3646232560529592</c:v>
                </c:pt>
                <c:pt idx="1263">
                  <c:v>3.3646232560529592</c:v>
                </c:pt>
                <c:pt idx="1264">
                  <c:v>3.438958676926664</c:v>
                </c:pt>
                <c:pt idx="1265">
                  <c:v>3.5404071458831807</c:v>
                </c:pt>
                <c:pt idx="1266">
                  <c:v>3.5499716689819807</c:v>
                </c:pt>
                <c:pt idx="1267">
                  <c:v>3.5751376470567258</c:v>
                </c:pt>
                <c:pt idx="1268">
                  <c:v>3.7114299998353939</c:v>
                </c:pt>
                <c:pt idx="1269">
                  <c:v>3.6358685660905095</c:v>
                </c:pt>
                <c:pt idx="1270">
                  <c:v>3.6001277116555026</c:v>
                </c:pt>
                <c:pt idx="1271">
                  <c:v>3.4376214712080126</c:v>
                </c:pt>
                <c:pt idx="1272">
                  <c:v>3.4180050644622595</c:v>
                </c:pt>
                <c:pt idx="1273">
                  <c:v>3.3884523304013445</c:v>
                </c:pt>
                <c:pt idx="1274">
                  <c:v>3.3870951851259576</c:v>
                </c:pt>
                <c:pt idx="1275">
                  <c:v>3.3603502827813205</c:v>
                </c:pt>
                <c:pt idx="1276">
                  <c:v>3.3218191941495987</c:v>
                </c:pt>
                <c:pt idx="1277">
                  <c:v>3.3218191941495987</c:v>
                </c:pt>
                <c:pt idx="1278">
                  <c:v>3.4275757996095373</c:v>
                </c:pt>
                <c:pt idx="1279">
                  <c:v>4.9461467645119415</c:v>
                </c:pt>
                <c:pt idx="1280">
                  <c:v>5.9348958293930583</c:v>
                </c:pt>
                <c:pt idx="1281">
                  <c:v>5.9159826381348219</c:v>
                </c:pt>
                <c:pt idx="1282">
                  <c:v>5.943121204819267</c:v>
                </c:pt>
                <c:pt idx="1283">
                  <c:v>6.0423790701665032</c:v>
                </c:pt>
                <c:pt idx="1284">
                  <c:v>6.6357616995589384</c:v>
                </c:pt>
                <c:pt idx="1285">
                  <c:v>7.2155642756538425</c:v>
                </c:pt>
                <c:pt idx="1286">
                  <c:v>7.5048643229406302</c:v>
                </c:pt>
                <c:pt idx="1287">
                  <c:v>7.5140481459882782</c:v>
                </c:pt>
                <c:pt idx="1288">
                  <c:v>7.5014174905691053</c:v>
                </c:pt>
                <c:pt idx="1289">
                  <c:v>7.5645877948337095</c:v>
                </c:pt>
                <c:pt idx="1290">
                  <c:v>7.6525857698896287</c:v>
                </c:pt>
                <c:pt idx="1291">
                  <c:v>7.6279130482238955</c:v>
                </c:pt>
                <c:pt idx="1292">
                  <c:v>7.7374295532789201</c:v>
                </c:pt>
                <c:pt idx="1293">
                  <c:v>7.5418373321643308</c:v>
                </c:pt>
                <c:pt idx="1294">
                  <c:v>7.3268518901837814</c:v>
                </c:pt>
                <c:pt idx="1295">
                  <c:v>7.1241857772313706</c:v>
                </c:pt>
                <c:pt idx="1296">
                  <c:v>7.0941938377025302</c:v>
                </c:pt>
                <c:pt idx="1297">
                  <c:v>7.1602350182966328</c:v>
                </c:pt>
                <c:pt idx="1298">
                  <c:v>7.3331243439395042</c:v>
                </c:pt>
                <c:pt idx="1299">
                  <c:v>7.1964231217408576</c:v>
                </c:pt>
                <c:pt idx="1300">
                  <c:v>6.8869358249856862</c:v>
                </c:pt>
                <c:pt idx="1301">
                  <c:v>6.8215345292194582</c:v>
                </c:pt>
                <c:pt idx="1302">
                  <c:v>7.0339080224982711</c:v>
                </c:pt>
                <c:pt idx="1303">
                  <c:v>6.8195965094515785</c:v>
                </c:pt>
                <c:pt idx="1304">
                  <c:v>6.8195965094515776</c:v>
                </c:pt>
                <c:pt idx="1305">
                  <c:v>6.5754681665411008</c:v>
                </c:pt>
                <c:pt idx="1306">
                  <c:v>6.46866896362146</c:v>
                </c:pt>
                <c:pt idx="1307">
                  <c:v>6.5478784841869331</c:v>
                </c:pt>
                <c:pt idx="1308">
                  <c:v>6.5210534372166027</c:v>
                </c:pt>
                <c:pt idx="1309">
                  <c:v>6.4137961933004544</c:v>
                </c:pt>
                <c:pt idx="1310">
                  <c:v>6.3680235660627886</c:v>
                </c:pt>
                <c:pt idx="1311">
                  <c:v>6.2460102207858199</c:v>
                </c:pt>
                <c:pt idx="1312">
                  <c:v>6.3589921850239284</c:v>
                </c:pt>
                <c:pt idx="1313">
                  <c:v>6.4097626688719433</c:v>
                </c:pt>
                <c:pt idx="1314">
                  <c:v>6.3114564688842378</c:v>
                </c:pt>
                <c:pt idx="1315">
                  <c:v>6.1584443475287802</c:v>
                </c:pt>
                <c:pt idx="1316">
                  <c:v>6.1838685210034559</c:v>
                </c:pt>
                <c:pt idx="1317">
                  <c:v>6.190556397105766</c:v>
                </c:pt>
                <c:pt idx="1318">
                  <c:v>6.201964835122169</c:v>
                </c:pt>
                <c:pt idx="1319">
                  <c:v>6.4779910324183039</c:v>
                </c:pt>
                <c:pt idx="1320">
                  <c:v>6.4779910324183039</c:v>
                </c:pt>
                <c:pt idx="1321">
                  <c:v>6.3828073670648626</c:v>
                </c:pt>
                <c:pt idx="1322">
                  <c:v>6.365857203160818</c:v>
                </c:pt>
                <c:pt idx="1323">
                  <c:v>6.327190002942328</c:v>
                </c:pt>
                <c:pt idx="1324">
                  <c:v>6.398724729265945</c:v>
                </c:pt>
                <c:pt idx="1325">
                  <c:v>6.632903006893029</c:v>
                </c:pt>
                <c:pt idx="1326">
                  <c:v>6.6991164282717337</c:v>
                </c:pt>
                <c:pt idx="1327">
                  <c:v>6.6513329404757258</c:v>
                </c:pt>
                <c:pt idx="1328">
                  <c:v>6.5587530353955499</c:v>
                </c:pt>
                <c:pt idx="1329">
                  <c:v>6.6159855175035034</c:v>
                </c:pt>
                <c:pt idx="1330">
                  <c:v>6.7179635666441833</c:v>
                </c:pt>
                <c:pt idx="1331">
                  <c:v>6.6578102091910969</c:v>
                </c:pt>
                <c:pt idx="1332">
                  <c:v>6.3177363907849369</c:v>
                </c:pt>
                <c:pt idx="1333">
                  <c:v>6.1494789985837821</c:v>
                </c:pt>
                <c:pt idx="1334">
                  <c:v>6.0454219403430889</c:v>
                </c:pt>
                <c:pt idx="1335">
                  <c:v>6.2440776538353875</c:v>
                </c:pt>
                <c:pt idx="1336">
                  <c:v>6.0211313711382983</c:v>
                </c:pt>
                <c:pt idx="1337">
                  <c:v>5.9218085153062843</c:v>
                </c:pt>
                <c:pt idx="1338">
                  <c:v>6.0211313711382974</c:v>
                </c:pt>
                <c:pt idx="1339">
                  <c:v>5.8844232327059203</c:v>
                </c:pt>
                <c:pt idx="1340">
                  <c:v>5.9271438722844101</c:v>
                </c:pt>
                <c:pt idx="1341">
                  <c:v>6.1053020108491083</c:v>
                </c:pt>
                <c:pt idx="1342">
                  <c:v>5.8447343429988239</c:v>
                </c:pt>
                <c:pt idx="1343">
                  <c:v>6.0613719474272045</c:v>
                </c:pt>
                <c:pt idx="1344">
                  <c:v>6.0795492875894901</c:v>
                </c:pt>
                <c:pt idx="1345">
                  <c:v>6.0656371489719447</c:v>
                </c:pt>
                <c:pt idx="1346">
                  <c:v>5.8639753492448889</c:v>
                </c:pt>
                <c:pt idx="1347">
                  <c:v>5.7724076133942939</c:v>
                </c:pt>
                <c:pt idx="1348">
                  <c:v>5.7324444646441961</c:v>
                </c:pt>
                <c:pt idx="1349">
                  <c:v>5.6451586418765967</c:v>
                </c:pt>
                <c:pt idx="1350">
                  <c:v>5.6564478516866536</c:v>
                </c:pt>
                <c:pt idx="1351">
                  <c:v>5.5443872416216982</c:v>
                </c:pt>
                <c:pt idx="1352">
                  <c:v>5.8432592070624034</c:v>
                </c:pt>
                <c:pt idx="1353">
                  <c:v>5.9043136383689756</c:v>
                </c:pt>
                <c:pt idx="1354">
                  <c:v>6.0154016882718961</c:v>
                </c:pt>
                <c:pt idx="1355">
                  <c:v>5.7022883085672706</c:v>
                </c:pt>
                <c:pt idx="1356">
                  <c:v>5.5469780527095454</c:v>
                </c:pt>
                <c:pt idx="1357">
                  <c:v>5.3287336487059074</c:v>
                </c:pt>
                <c:pt idx="1358">
                  <c:v>5.5003657140689981</c:v>
                </c:pt>
                <c:pt idx="1359">
                  <c:v>5.8187173212287782</c:v>
                </c:pt>
                <c:pt idx="1360">
                  <c:v>5.818717321228779</c:v>
                </c:pt>
                <c:pt idx="1361">
                  <c:v>5.7519611847842267</c:v>
                </c:pt>
                <c:pt idx="1362">
                  <c:v>5.8160499294288392</c:v>
                </c:pt>
                <c:pt idx="1363">
                  <c:v>5.9154968893809645</c:v>
                </c:pt>
                <c:pt idx="1364">
                  <c:v>5.9476644696618663</c:v>
                </c:pt>
                <c:pt idx="1365">
                  <c:v>5.7256229897444051</c:v>
                </c:pt>
                <c:pt idx="1366">
                  <c:v>5.7411601214588917</c:v>
                </c:pt>
                <c:pt idx="1367">
                  <c:v>5.8108103773380275</c:v>
                </c:pt>
                <c:pt idx="1368">
                  <c:v>6.0099534299264796</c:v>
                </c:pt>
                <c:pt idx="1369">
                  <c:v>5.994729485906384</c:v>
                </c:pt>
                <c:pt idx="1370">
                  <c:v>6.0875792142406802</c:v>
                </c:pt>
                <c:pt idx="1371">
                  <c:v>5.8926215308423737</c:v>
                </c:pt>
                <c:pt idx="1372">
                  <c:v>5.9290828117429557</c:v>
                </c:pt>
                <c:pt idx="1373">
                  <c:v>5.804180023666258</c:v>
                </c:pt>
                <c:pt idx="1374">
                  <c:v>5.930245871121536</c:v>
                </c:pt>
                <c:pt idx="1375">
                  <c:v>6.1199691983298203</c:v>
                </c:pt>
                <c:pt idx="1376">
                  <c:v>6.2935836692856366</c:v>
                </c:pt>
                <c:pt idx="1377">
                  <c:v>6.2935836692856357</c:v>
                </c:pt>
                <c:pt idx="1378">
                  <c:v>6.3285523394093595</c:v>
                </c:pt>
                <c:pt idx="1379">
                  <c:v>6.5231682592074103</c:v>
                </c:pt>
                <c:pt idx="1380">
                  <c:v>6.4985409503025089</c:v>
                </c:pt>
                <c:pt idx="1381">
                  <c:v>6.4971258013186821</c:v>
                </c:pt>
                <c:pt idx="1382">
                  <c:v>6.3417065037188793</c:v>
                </c:pt>
                <c:pt idx="1383">
                  <c:v>6.2900212890014888</c:v>
                </c:pt>
                <c:pt idx="1384">
                  <c:v>6.1853553406134374</c:v>
                </c:pt>
                <c:pt idx="1385">
                  <c:v>6.201686830228522</c:v>
                </c:pt>
                <c:pt idx="1386">
                  <c:v>6.2141847376806387</c:v>
                </c:pt>
                <c:pt idx="1387">
                  <c:v>6.2019648351221699</c:v>
                </c:pt>
                <c:pt idx="1388">
                  <c:v>6.2252729248207057</c:v>
                </c:pt>
                <c:pt idx="1389">
                  <c:v>5.8933042075527222</c:v>
                </c:pt>
                <c:pt idx="1390">
                  <c:v>6.0458021914325837</c:v>
                </c:pt>
                <c:pt idx="1391">
                  <c:v>6.1134861285258628</c:v>
                </c:pt>
                <c:pt idx="1392">
                  <c:v>6.2020575006508372</c:v>
                </c:pt>
                <c:pt idx="1393">
                  <c:v>6.1191239700564601</c:v>
                </c:pt>
                <c:pt idx="1394">
                  <c:v>6.2455501400376363</c:v>
                </c:pt>
                <c:pt idx="1395">
                  <c:v>6.3405282785091899</c:v>
                </c:pt>
                <c:pt idx="1396">
                  <c:v>6.4932325513196627</c:v>
                </c:pt>
                <c:pt idx="1397">
                  <c:v>6.325373097895981</c:v>
                </c:pt>
                <c:pt idx="1398">
                  <c:v>6.0795492875894892</c:v>
                </c:pt>
                <c:pt idx="1399">
                  <c:v>6.3285523394093603</c:v>
                </c:pt>
                <c:pt idx="1400">
                  <c:v>6.3285523394093595</c:v>
                </c:pt>
                <c:pt idx="1401">
                  <c:v>6.4750626855351134</c:v>
                </c:pt>
                <c:pt idx="1402">
                  <c:v>6.4750626855351134</c:v>
                </c:pt>
                <c:pt idx="1403">
                  <c:v>6.5147048521283626</c:v>
                </c:pt>
                <c:pt idx="1404">
                  <c:v>6.4094936769921453</c:v>
                </c:pt>
                <c:pt idx="1405">
                  <c:v>6.1495724550012696</c:v>
                </c:pt>
                <c:pt idx="1406">
                  <c:v>5.79496412373729</c:v>
                </c:pt>
                <c:pt idx="1407">
                  <c:v>5.9407031589693569</c:v>
                </c:pt>
                <c:pt idx="1408">
                  <c:v>6.0553956181205892</c:v>
                </c:pt>
                <c:pt idx="1409">
                  <c:v>5.8659351686068639</c:v>
                </c:pt>
                <c:pt idx="1410">
                  <c:v>5.8902803243012611</c:v>
                </c:pt>
                <c:pt idx="1411">
                  <c:v>6.1011587367511169</c:v>
                </c:pt>
                <c:pt idx="1412">
                  <c:v>6.1626423650525295</c:v>
                </c:pt>
                <c:pt idx="1413">
                  <c:v>6.3969281420985515</c:v>
                </c:pt>
                <c:pt idx="1414">
                  <c:v>6.3108190262127772</c:v>
                </c:pt>
                <c:pt idx="1415">
                  <c:v>6.3318207510153428</c:v>
                </c:pt>
                <c:pt idx="1416">
                  <c:v>6.3241918297005011</c:v>
                </c:pt>
                <c:pt idx="1417">
                  <c:v>6.3285523394093595</c:v>
                </c:pt>
                <c:pt idx="1418">
                  <c:v>6.4036627450018111</c:v>
                </c:pt>
                <c:pt idx="1419">
                  <c:v>6.6024203155349408</c:v>
                </c:pt>
                <c:pt idx="1420">
                  <c:v>6.4771925236560435</c:v>
                </c:pt>
                <c:pt idx="1421">
                  <c:v>6.3132773790138357</c:v>
                </c:pt>
                <c:pt idx="1422">
                  <c:v>6.2669540164004847</c:v>
                </c:pt>
                <c:pt idx="1423">
                  <c:v>6.3946816983324899</c:v>
                </c:pt>
                <c:pt idx="1424">
                  <c:v>6.3946816983324899</c:v>
                </c:pt>
                <c:pt idx="1425">
                  <c:v>6.548141791343574</c:v>
                </c:pt>
                <c:pt idx="1426">
                  <c:v>6.548141791343574</c:v>
                </c:pt>
                <c:pt idx="1427">
                  <c:v>6.5657593165070285</c:v>
                </c:pt>
                <c:pt idx="1428">
                  <c:v>6.7043475344039978</c:v>
                </c:pt>
                <c:pt idx="1429">
                  <c:v>6.4598672631464549</c:v>
                </c:pt>
                <c:pt idx="1430">
                  <c:v>6.4615574080813563</c:v>
                </c:pt>
                <c:pt idx="1431">
                  <c:v>6.3976468375076214</c:v>
                </c:pt>
                <c:pt idx="1432">
                  <c:v>6.3688357621717051</c:v>
                </c:pt>
                <c:pt idx="1433">
                  <c:v>6.2075223183918826</c:v>
                </c:pt>
                <c:pt idx="1434">
                  <c:v>6.3539290044116363</c:v>
                </c:pt>
                <c:pt idx="1435">
                  <c:v>6.4000718386772721</c:v>
                </c:pt>
                <c:pt idx="1436">
                  <c:v>6.4952679503717503</c:v>
                </c:pt>
                <c:pt idx="1437">
                  <c:v>6.4952679503717503</c:v>
                </c:pt>
                <c:pt idx="1438">
                  <c:v>6.4097626688719442</c:v>
                </c:pt>
                <c:pt idx="1439">
                  <c:v>6.3373550449313827</c:v>
                </c:pt>
                <c:pt idx="1440">
                  <c:v>6.3554664677731161</c:v>
                </c:pt>
                <c:pt idx="1441">
                  <c:v>6.2614492832280275</c:v>
                </c:pt>
                <c:pt idx="1442">
                  <c:v>6.174102382523718</c:v>
                </c:pt>
                <c:pt idx="1443">
                  <c:v>6.1271020319841938</c:v>
                </c:pt>
                <c:pt idx="1444">
                  <c:v>5.9981798005345128</c:v>
                </c:pt>
                <c:pt idx="1445">
                  <c:v>6.072833798551347</c:v>
                </c:pt>
                <c:pt idx="1446">
                  <c:v>6.3684747989112607</c:v>
                </c:pt>
                <c:pt idx="1447">
                  <c:v>6.4913735861127853</c:v>
                </c:pt>
                <c:pt idx="1448">
                  <c:v>6.339440491646438</c:v>
                </c:pt>
                <c:pt idx="1449">
                  <c:v>6.2867311462911415</c:v>
                </c:pt>
                <c:pt idx="1450">
                  <c:v>6.4151401378696127</c:v>
                </c:pt>
                <c:pt idx="1451">
                  <c:v>6.6937095191259077</c:v>
                </c:pt>
                <c:pt idx="1452">
                  <c:v>6.7309543993728536</c:v>
                </c:pt>
                <c:pt idx="1453">
                  <c:v>6.7350515618092999</c:v>
                </c:pt>
                <c:pt idx="1454">
                  <c:v>6.7790244441064766</c:v>
                </c:pt>
                <c:pt idx="1455">
                  <c:v>6.5239611407117719</c:v>
                </c:pt>
                <c:pt idx="1456">
                  <c:v>6.3332728369766462</c:v>
                </c:pt>
                <c:pt idx="1457">
                  <c:v>6.3489523074519028</c:v>
                </c:pt>
                <c:pt idx="1458">
                  <c:v>6.2900212890014888</c:v>
                </c:pt>
                <c:pt idx="1459">
                  <c:v>6.2944054707243842</c:v>
                </c:pt>
                <c:pt idx="1460">
                  <c:v>5.9682108064213892</c:v>
                </c:pt>
                <c:pt idx="1461">
                  <c:v>6.1045488974517452</c:v>
                </c:pt>
                <c:pt idx="1462">
                  <c:v>6.0765235069926682</c:v>
                </c:pt>
                <c:pt idx="1463">
                  <c:v>6.1606836461959107</c:v>
                </c:pt>
                <c:pt idx="1464">
                  <c:v>6.2462862529684777</c:v>
                </c:pt>
                <c:pt idx="1465">
                  <c:v>6.5210534372166027</c:v>
                </c:pt>
                <c:pt idx="1466">
                  <c:v>6.4430306283736485</c:v>
                </c:pt>
                <c:pt idx="1467">
                  <c:v>6.3035293890502873</c:v>
                </c:pt>
                <c:pt idx="1468">
                  <c:v>6.3296419974665206</c:v>
                </c:pt>
                <c:pt idx="1469">
                  <c:v>6.3864079807472152</c:v>
                </c:pt>
                <c:pt idx="1470">
                  <c:v>6.3676625567614362</c:v>
                </c:pt>
                <c:pt idx="1471">
                  <c:v>6.339168515764853</c:v>
                </c:pt>
                <c:pt idx="1472">
                  <c:v>6.3828073670648626</c:v>
                </c:pt>
                <c:pt idx="1473">
                  <c:v>6.5901354354422228</c:v>
                </c:pt>
                <c:pt idx="1474">
                  <c:v>6.7708808574813144</c:v>
                </c:pt>
                <c:pt idx="1475">
                  <c:v>6.7708808574813144</c:v>
                </c:pt>
                <c:pt idx="1476">
                  <c:v>6.5122342865025091</c:v>
                </c:pt>
                <c:pt idx="1477">
                  <c:v>6.473731180880069</c:v>
                </c:pt>
                <c:pt idx="1478">
                  <c:v>6.3712717292763354</c:v>
                </c:pt>
                <c:pt idx="1479">
                  <c:v>6.3712717292763354</c:v>
                </c:pt>
                <c:pt idx="1480">
                  <c:v>6.2694295694613871</c:v>
                </c:pt>
                <c:pt idx="1481">
                  <c:v>5.9774480388767302</c:v>
                </c:pt>
                <c:pt idx="1482">
                  <c:v>5.9861910058584575</c:v>
                </c:pt>
                <c:pt idx="1483">
                  <c:v>5.8285859171074632</c:v>
                </c:pt>
                <c:pt idx="1484">
                  <c:v>5.6665990530110921</c:v>
                </c:pt>
                <c:pt idx="1485">
                  <c:v>5.8683840224104937</c:v>
                </c:pt>
                <c:pt idx="1486">
                  <c:v>6.2706211538548891</c:v>
                </c:pt>
                <c:pt idx="1487">
                  <c:v>6.2462862529684777</c:v>
                </c:pt>
                <c:pt idx="1488">
                  <c:v>6.3435187305672454</c:v>
                </c:pt>
                <c:pt idx="1489">
                  <c:v>6.3535671942582006</c:v>
                </c:pt>
                <c:pt idx="1490">
                  <c:v>6.3663085895573159</c:v>
                </c:pt>
                <c:pt idx="1491">
                  <c:v>6.1741954662265446</c:v>
                </c:pt>
                <c:pt idx="1492">
                  <c:v>6.1900921947342873</c:v>
                </c:pt>
                <c:pt idx="1493">
                  <c:v>6.1109474028925774</c:v>
                </c:pt>
                <c:pt idx="1494">
                  <c:v>6.1532161481226417</c:v>
                </c:pt>
                <c:pt idx="1495">
                  <c:v>5.8639753492448898</c:v>
                </c:pt>
                <c:pt idx="1496">
                  <c:v>5.8574051765520592</c:v>
                </c:pt>
                <c:pt idx="1497">
                  <c:v>5.7934763153129367</c:v>
                </c:pt>
                <c:pt idx="1498">
                  <c:v>5.7014819610101508</c:v>
                </c:pt>
                <c:pt idx="1499">
                  <c:v>5.6625407562411363</c:v>
                </c:pt>
                <c:pt idx="1500">
                  <c:v>5.8848138868411644</c:v>
                </c:pt>
                <c:pt idx="1501">
                  <c:v>5.8344990625026956</c:v>
                </c:pt>
                <c:pt idx="1502">
                  <c:v>5.8762134965870052</c:v>
                </c:pt>
                <c:pt idx="1503">
                  <c:v>5.7759907345421908</c:v>
                </c:pt>
                <c:pt idx="1504">
                  <c:v>5.7759907345421908</c:v>
                </c:pt>
                <c:pt idx="1505">
                  <c:v>5.571788544642275</c:v>
                </c:pt>
                <c:pt idx="1506">
                  <c:v>5.7264259379641418</c:v>
                </c:pt>
                <c:pt idx="1507">
                  <c:v>5.5207029370851162</c:v>
                </c:pt>
                <c:pt idx="1508">
                  <c:v>5.534115718125995</c:v>
                </c:pt>
                <c:pt idx="1509">
                  <c:v>5.5877534399566278</c:v>
                </c:pt>
                <c:pt idx="1510">
                  <c:v>5.6182174945521606</c:v>
                </c:pt>
                <c:pt idx="1511">
                  <c:v>5.39955298277488</c:v>
                </c:pt>
                <c:pt idx="1512">
                  <c:v>5.3601338120198667</c:v>
                </c:pt>
                <c:pt idx="1513">
                  <c:v>5.6246583548865789</c:v>
                </c:pt>
                <c:pt idx="1514">
                  <c:v>5.7934763153129367</c:v>
                </c:pt>
                <c:pt idx="1515">
                  <c:v>5.7219078885505903</c:v>
                </c:pt>
                <c:pt idx="1516">
                  <c:v>5.441855667274563</c:v>
                </c:pt>
                <c:pt idx="1517">
                  <c:v>5.4515630996884781</c:v>
                </c:pt>
                <c:pt idx="1518">
                  <c:v>5.301160141947677</c:v>
                </c:pt>
                <c:pt idx="1519">
                  <c:v>5.3687045463265273</c:v>
                </c:pt>
                <c:pt idx="1520">
                  <c:v>5.5373341027535306</c:v>
                </c:pt>
                <c:pt idx="1521">
                  <c:v>5.7922857934190093</c:v>
                </c:pt>
                <c:pt idx="1522">
                  <c:v>5.9573194620075389</c:v>
                </c:pt>
                <c:pt idx="1523">
                  <c:v>5.9465048171366925</c:v>
                </c:pt>
                <c:pt idx="1524">
                  <c:v>5.8952542768319791</c:v>
                </c:pt>
                <c:pt idx="1525">
                  <c:v>5.932571305837846</c:v>
                </c:pt>
                <c:pt idx="1526">
                  <c:v>5.9232640892724318</c:v>
                </c:pt>
                <c:pt idx="1527">
                  <c:v>6.1517215607437512</c:v>
                </c:pt>
                <c:pt idx="1528">
                  <c:v>6.1191239700564601</c:v>
                </c:pt>
                <c:pt idx="1529">
                  <c:v>6.0156883020255005</c:v>
                </c:pt>
                <c:pt idx="1530">
                  <c:v>5.9287920112484711</c:v>
                </c:pt>
                <c:pt idx="1531">
                  <c:v>5.981196589619687</c:v>
                </c:pt>
                <c:pt idx="1532">
                  <c:v>6.1010645387298705</c:v>
                </c:pt>
                <c:pt idx="1533">
                  <c:v>6.1741023825237198</c:v>
                </c:pt>
                <c:pt idx="1534">
                  <c:v>6.1236305060570606</c:v>
                </c:pt>
                <c:pt idx="1535">
                  <c:v>6.0807780808845102</c:v>
                </c:pt>
                <c:pt idx="1536">
                  <c:v>5.9019770698752572</c:v>
                </c:pt>
                <c:pt idx="1537">
                  <c:v>6.0320980509729551</c:v>
                </c:pt>
                <c:pt idx="1538">
                  <c:v>6.0325744108952781</c:v>
                </c:pt>
                <c:pt idx="1539">
                  <c:v>6.1615231733794484</c:v>
                </c:pt>
                <c:pt idx="1540">
                  <c:v>6.09173172441949</c:v>
                </c:pt>
                <c:pt idx="1541">
                  <c:v>6.0897501977720214</c:v>
                </c:pt>
                <c:pt idx="1542">
                  <c:v>6.1120758555803132</c:v>
                </c:pt>
                <c:pt idx="1543">
                  <c:v>5.8545590840784518</c:v>
                </c:pt>
                <c:pt idx="1544">
                  <c:v>5.6969441294252752</c:v>
                </c:pt>
                <c:pt idx="1545">
                  <c:v>5.9369290409084066</c:v>
                </c:pt>
                <c:pt idx="1546">
                  <c:v>5.9970299162245269</c:v>
                </c:pt>
                <c:pt idx="1547">
                  <c:v>6.2418682732199562</c:v>
                </c:pt>
                <c:pt idx="1548">
                  <c:v>6.2108544213882642</c:v>
                </c:pt>
                <c:pt idx="1549">
                  <c:v>6.17828976075225</c:v>
                </c:pt>
                <c:pt idx="1550">
                  <c:v>6.0568190885368507</c:v>
                </c:pt>
                <c:pt idx="1551">
                  <c:v>5.9499830966629403</c:v>
                </c:pt>
                <c:pt idx="1552">
                  <c:v>5.8427674123212165</c:v>
                </c:pt>
                <c:pt idx="1553">
                  <c:v>5.8574051765520592</c:v>
                </c:pt>
                <c:pt idx="1554">
                  <c:v>5.7770851338437224</c:v>
                </c:pt>
                <c:pt idx="1555">
                  <c:v>5.7564556464195409</c:v>
                </c:pt>
                <c:pt idx="1556">
                  <c:v>5.8569145696229912</c:v>
                </c:pt>
                <c:pt idx="1557">
                  <c:v>5.7183913821983179</c:v>
                </c:pt>
                <c:pt idx="1558">
                  <c:v>5.7219078885505912</c:v>
                </c:pt>
                <c:pt idx="1559">
                  <c:v>5.8427674123212165</c:v>
                </c:pt>
                <c:pt idx="1560">
                  <c:v>5.8427674123212165</c:v>
                </c:pt>
                <c:pt idx="1561">
                  <c:v>5.9732160805404986</c:v>
                </c:pt>
                <c:pt idx="1562">
                  <c:v>5.6780480699847438</c:v>
                </c:pt>
                <c:pt idx="1563">
                  <c:v>5.4519847698828441</c:v>
                </c:pt>
                <c:pt idx="1564">
                  <c:v>5.4414332121508995</c:v>
                </c:pt>
                <c:pt idx="1565">
                  <c:v>5.4423836900649567</c:v>
                </c:pt>
                <c:pt idx="1566">
                  <c:v>5.4246139753543021</c:v>
                </c:pt>
                <c:pt idx="1567">
                  <c:v>5.3558433015972717</c:v>
                </c:pt>
                <c:pt idx="1568">
                  <c:v>5.4376296390940446</c:v>
                </c:pt>
                <c:pt idx="1569">
                  <c:v>5.1734290191411691</c:v>
                </c:pt>
                <c:pt idx="1570">
                  <c:v>5.1888474569054823</c:v>
                </c:pt>
                <c:pt idx="1571">
                  <c:v>5.4312844313949027</c:v>
                </c:pt>
                <c:pt idx="1572">
                  <c:v>5.4177231507277144</c:v>
                </c:pt>
                <c:pt idx="1573">
                  <c:v>5.4373125545706831</c:v>
                </c:pt>
                <c:pt idx="1574">
                  <c:v>5.4177231507277144</c:v>
                </c:pt>
                <c:pt idx="1575">
                  <c:v>5.1238679714162965</c:v>
                </c:pt>
                <c:pt idx="1576">
                  <c:v>5.0623696236936864</c:v>
                </c:pt>
                <c:pt idx="1577">
                  <c:v>4.766863592106148</c:v>
                </c:pt>
                <c:pt idx="1578">
                  <c:v>4.7002078701892005</c:v>
                </c:pt>
                <c:pt idx="1579">
                  <c:v>4.5814468426921424</c:v>
                </c:pt>
                <c:pt idx="1580">
                  <c:v>4.7538248363515301</c:v>
                </c:pt>
                <c:pt idx="1581">
                  <c:v>4.753824836351531</c:v>
                </c:pt>
                <c:pt idx="1582">
                  <c:v>4.7294625584683532</c:v>
                </c:pt>
                <c:pt idx="1583">
                  <c:v>4.7989462444865199</c:v>
                </c:pt>
                <c:pt idx="1584">
                  <c:v>4.780347700526713</c:v>
                </c:pt>
                <c:pt idx="1585">
                  <c:v>4.8735740620135282</c:v>
                </c:pt>
                <c:pt idx="1586">
                  <c:v>4.7628833148907148</c:v>
                </c:pt>
                <c:pt idx="1587">
                  <c:v>4.6337095687813763</c:v>
                </c:pt>
                <c:pt idx="1588">
                  <c:v>4.6337095687813763</c:v>
                </c:pt>
                <c:pt idx="1589">
                  <c:v>4.2237696297333107</c:v>
                </c:pt>
                <c:pt idx="1590">
                  <c:v>4.2540041988857897</c:v>
                </c:pt>
                <c:pt idx="1591">
                  <c:v>4.0826236774841282</c:v>
                </c:pt>
                <c:pt idx="1592">
                  <c:v>4.1117996731022943</c:v>
                </c:pt>
                <c:pt idx="1593">
                  <c:v>4.3179656768213075</c:v>
                </c:pt>
                <c:pt idx="1594">
                  <c:v>4.280536006827548</c:v>
                </c:pt>
                <c:pt idx="1595">
                  <c:v>4.4931621100430412</c:v>
                </c:pt>
                <c:pt idx="1596">
                  <c:v>4.5008300639290759</c:v>
                </c:pt>
                <c:pt idx="1597">
                  <c:v>4.5914713540870871</c:v>
                </c:pt>
                <c:pt idx="1598">
                  <c:v>4.7749345545253297</c:v>
                </c:pt>
                <c:pt idx="1599">
                  <c:v>4.8261738492296882</c:v>
                </c:pt>
                <c:pt idx="1600">
                  <c:v>4.8333135156153366</c:v>
                </c:pt>
                <c:pt idx="1601">
                  <c:v>4.6910283655544847</c:v>
                </c:pt>
                <c:pt idx="1602">
                  <c:v>4.853722353993394</c:v>
                </c:pt>
                <c:pt idx="1603">
                  <c:v>4.8953414401951525</c:v>
                </c:pt>
                <c:pt idx="1604">
                  <c:v>4.8262929302183739</c:v>
                </c:pt>
                <c:pt idx="1605">
                  <c:v>4.8046911941626771</c:v>
                </c:pt>
                <c:pt idx="1606">
                  <c:v>4.8161605349957526</c:v>
                </c:pt>
                <c:pt idx="1607">
                  <c:v>4.8528934371819537</c:v>
                </c:pt>
                <c:pt idx="1608">
                  <c:v>4.7396590400673295</c:v>
                </c:pt>
                <c:pt idx="1609">
                  <c:v>4.686615816993319</c:v>
                </c:pt>
                <c:pt idx="1610">
                  <c:v>4.5737883892769959</c:v>
                </c:pt>
                <c:pt idx="1611">
                  <c:v>4.8844110458035583</c:v>
                </c:pt>
                <c:pt idx="1612">
                  <c:v>5.0887525287491204</c:v>
                </c:pt>
                <c:pt idx="1613">
                  <c:v>5.0441726934076652</c:v>
                </c:pt>
                <c:pt idx="1614">
                  <c:v>5.3777959848968253</c:v>
                </c:pt>
                <c:pt idx="1615">
                  <c:v>5.2959537797059379</c:v>
                </c:pt>
                <c:pt idx="1616">
                  <c:v>5.5253855121132744</c:v>
                </c:pt>
                <c:pt idx="1617">
                  <c:v>5.6390469562429297</c:v>
                </c:pt>
                <c:pt idx="1618">
                  <c:v>5.6120764694407521</c:v>
                </c:pt>
                <c:pt idx="1619">
                  <c:v>5.7818582702684145</c:v>
                </c:pt>
                <c:pt idx="1620">
                  <c:v>5.8293746830515456</c:v>
                </c:pt>
                <c:pt idx="1621">
                  <c:v>6.1217531858909116</c:v>
                </c:pt>
                <c:pt idx="1622">
                  <c:v>6.2935836692856357</c:v>
                </c:pt>
                <c:pt idx="1623">
                  <c:v>6.0670582164916498</c:v>
                </c:pt>
                <c:pt idx="1624">
                  <c:v>5.9778326138008149</c:v>
                </c:pt>
                <c:pt idx="1625">
                  <c:v>5.8526936523711672</c:v>
                </c:pt>
                <c:pt idx="1626">
                  <c:v>6.0549210536155833</c:v>
                </c:pt>
                <c:pt idx="1627">
                  <c:v>6.0397153011992408</c:v>
                </c:pt>
                <c:pt idx="1628">
                  <c:v>5.9708102224609068</c:v>
                </c:pt>
                <c:pt idx="1629">
                  <c:v>5.9797551174247774</c:v>
                </c:pt>
                <c:pt idx="1630">
                  <c:v>6.1458330898110223</c:v>
                </c:pt>
                <c:pt idx="1631">
                  <c:v>6.2680543829107318</c:v>
                </c:pt>
                <c:pt idx="1632">
                  <c:v>6.0439957856927116</c:v>
                </c:pt>
                <c:pt idx="1633">
                  <c:v>6.0499833760577157</c:v>
                </c:pt>
                <c:pt idx="1634">
                  <c:v>6.0499833760577157</c:v>
                </c:pt>
                <c:pt idx="1635">
                  <c:v>6.0670582164916516</c:v>
                </c:pt>
                <c:pt idx="1636">
                  <c:v>5.9797551174247774</c:v>
                </c:pt>
                <c:pt idx="1637">
                  <c:v>6.1203448178722066</c:v>
                </c:pt>
                <c:pt idx="1638">
                  <c:v>6.0670582164916516</c:v>
                </c:pt>
                <c:pt idx="1639">
                  <c:v>6.1662783350856882</c:v>
                </c:pt>
                <c:pt idx="1640">
                  <c:v>6.1662783350856882</c:v>
                </c:pt>
                <c:pt idx="1641">
                  <c:v>5.9905097359533386</c:v>
                </c:pt>
                <c:pt idx="1642">
                  <c:v>5.7711131618117451</c:v>
                </c:pt>
                <c:pt idx="1643">
                  <c:v>5.7516614291352637</c:v>
                </c:pt>
                <c:pt idx="1644">
                  <c:v>5.5646668580768885</c:v>
                </c:pt>
                <c:pt idx="1645">
                  <c:v>5.6771370476210334</c:v>
                </c:pt>
                <c:pt idx="1646">
                  <c:v>5.5646668580768885</c:v>
                </c:pt>
                <c:pt idx="1647">
                  <c:v>5.5543293665971651</c:v>
                </c:pt>
                <c:pt idx="1648">
                  <c:v>5.5593971392340844</c:v>
                </c:pt>
                <c:pt idx="1649">
                  <c:v>5.6552284830413617</c:v>
                </c:pt>
                <c:pt idx="1650">
                  <c:v>5.7391576938155957</c:v>
                </c:pt>
                <c:pt idx="1651">
                  <c:v>5.4802676333673102</c:v>
                </c:pt>
                <c:pt idx="1652">
                  <c:v>5.4329772113741051</c:v>
                </c:pt>
                <c:pt idx="1653">
                  <c:v>5.3456395378818353</c:v>
                </c:pt>
                <c:pt idx="1654">
                  <c:v>5.2832417773712486</c:v>
                </c:pt>
                <c:pt idx="1655">
                  <c:v>5.177426689624566</c:v>
                </c:pt>
                <c:pt idx="1656">
                  <c:v>5.1157858015964761</c:v>
                </c:pt>
                <c:pt idx="1657">
                  <c:v>5.11207720338155</c:v>
                </c:pt>
                <c:pt idx="1658">
                  <c:v>4.7265452378092681</c:v>
                </c:pt>
                <c:pt idx="1659">
                  <c:v>4.62824909173787</c:v>
                </c:pt>
                <c:pt idx="1660">
                  <c:v>4.5480828346968751</c:v>
                </c:pt>
                <c:pt idx="1661">
                  <c:v>4.792834690224157</c:v>
                </c:pt>
                <c:pt idx="1662">
                  <c:v>4.8375922575775974</c:v>
                </c:pt>
                <c:pt idx="1663">
                  <c:v>4.8546695141846712</c:v>
                </c:pt>
                <c:pt idx="1664">
                  <c:v>4.9960904255457468</c:v>
                </c:pt>
                <c:pt idx="1665">
                  <c:v>4.9975856239753931</c:v>
                </c:pt>
                <c:pt idx="1666">
                  <c:v>5.2959537797059388</c:v>
                </c:pt>
                <c:pt idx="1667">
                  <c:v>5.2357085173031654</c:v>
                </c:pt>
                <c:pt idx="1668">
                  <c:v>5.2172349218609151</c:v>
                </c:pt>
                <c:pt idx="1669">
                  <c:v>5.169428257142866</c:v>
                </c:pt>
                <c:pt idx="1670">
                  <c:v>5.2004641702646985</c:v>
                </c:pt>
                <c:pt idx="1671">
                  <c:v>5.4186777875711751</c:v>
                </c:pt>
                <c:pt idx="1672">
                  <c:v>5.4439674511513569</c:v>
                </c:pt>
                <c:pt idx="1673">
                  <c:v>5.5256975426938926</c:v>
                </c:pt>
                <c:pt idx="1674">
                  <c:v>5.852202650461531</c:v>
                </c:pt>
                <c:pt idx="1675">
                  <c:v>5.6671061357647954</c:v>
                </c:pt>
                <c:pt idx="1676">
                  <c:v>5.7029937691562038</c:v>
                </c:pt>
                <c:pt idx="1677">
                  <c:v>5.8290789083302208</c:v>
                </c:pt>
                <c:pt idx="1678">
                  <c:v>5.9268529766560407</c:v>
                </c:pt>
                <c:pt idx="1679">
                  <c:v>5.8172355878937445</c:v>
                </c:pt>
                <c:pt idx="1680">
                  <c:v>5.6054161000921612</c:v>
                </c:pt>
                <c:pt idx="1681">
                  <c:v>5.3760858299114531</c:v>
                </c:pt>
                <c:pt idx="1682">
                  <c:v>5.1107279549869462</c:v>
                </c:pt>
                <c:pt idx="1683">
                  <c:v>5.3601338120198658</c:v>
                </c:pt>
                <c:pt idx="1684">
                  <c:v>5.2452496297279225</c:v>
                </c:pt>
                <c:pt idx="1685">
                  <c:v>5.4262029229397166</c:v>
                </c:pt>
                <c:pt idx="1686">
                  <c:v>5.3994465446474926</c:v>
                </c:pt>
                <c:pt idx="1687">
                  <c:v>5.3914576963891703</c:v>
                </c:pt>
                <c:pt idx="1688">
                  <c:v>5.4956618209797714</c:v>
                </c:pt>
                <c:pt idx="1689">
                  <c:v>5.5053787701028201</c:v>
                </c:pt>
                <c:pt idx="1690">
                  <c:v>5.5469780527095454</c:v>
                </c:pt>
                <c:pt idx="1691">
                  <c:v>5.5527770829858936</c:v>
                </c:pt>
                <c:pt idx="1692">
                  <c:v>5.8448326721572839</c:v>
                </c:pt>
                <c:pt idx="1693">
                  <c:v>6.0724552401543619</c:v>
                </c:pt>
                <c:pt idx="1694">
                  <c:v>6.0309546336466058</c:v>
                </c:pt>
                <c:pt idx="1695">
                  <c:v>6.0328602087940491</c:v>
                </c:pt>
                <c:pt idx="1696">
                  <c:v>6.1360064139995538</c:v>
                </c:pt>
                <c:pt idx="1697">
                  <c:v>6.0912599908280116</c:v>
                </c:pt>
                <c:pt idx="1698">
                  <c:v>6.1554573487608373</c:v>
                </c:pt>
                <c:pt idx="1699">
                  <c:v>6.1116056922817785</c:v>
                </c:pt>
                <c:pt idx="1700">
                  <c:v>6.7163379458078829</c:v>
                </c:pt>
                <c:pt idx="1701">
                  <c:v>6.8263350763577844</c:v>
                </c:pt>
                <c:pt idx="1702">
                  <c:v>7.1425550018199369</c:v>
                </c:pt>
                <c:pt idx="1703">
                  <c:v>7.0538975938390136</c:v>
                </c:pt>
                <c:pt idx="1704">
                  <c:v>7.2479882266276707</c:v>
                </c:pt>
                <c:pt idx="1705">
                  <c:v>7.3284205069330444</c:v>
                </c:pt>
                <c:pt idx="1706">
                  <c:v>7.498735525590873</c:v>
                </c:pt>
                <c:pt idx="1707">
                  <c:v>7.7129537255459919</c:v>
                </c:pt>
                <c:pt idx="1708">
                  <c:v>7.6157731058639087</c:v>
                </c:pt>
                <c:pt idx="1709">
                  <c:v>7.4728627821551452</c:v>
                </c:pt>
                <c:pt idx="1710">
                  <c:v>7.4728627821551452</c:v>
                </c:pt>
                <c:pt idx="1711">
                  <c:v>7.4726320587231827</c:v>
                </c:pt>
                <c:pt idx="1712">
                  <c:v>7.595294974332889</c:v>
                </c:pt>
                <c:pt idx="1713">
                  <c:v>7.3585512067300956</c:v>
                </c:pt>
                <c:pt idx="1714">
                  <c:v>7.4135632148265849</c:v>
                </c:pt>
                <c:pt idx="1715">
                  <c:v>7.3769600940960132</c:v>
                </c:pt>
                <c:pt idx="1716">
                  <c:v>7.3030461287479698</c:v>
                </c:pt>
                <c:pt idx="1717">
                  <c:v>7.2118197999940481</c:v>
                </c:pt>
                <c:pt idx="1718">
                  <c:v>6.8275978172431175</c:v>
                </c:pt>
                <c:pt idx="1719">
                  <c:v>6.9150011843318122</c:v>
                </c:pt>
                <c:pt idx="1720">
                  <c:v>6.7705413288050664</c:v>
                </c:pt>
                <c:pt idx="1721">
                  <c:v>6.9355820844810649</c:v>
                </c:pt>
                <c:pt idx="1722">
                  <c:v>6.1596574020269026</c:v>
                </c:pt>
                <c:pt idx="1723">
                  <c:v>6.2056703769686496</c:v>
                </c:pt>
                <c:pt idx="1724">
                  <c:v>6.2752936461035498</c:v>
                </c:pt>
                <c:pt idx="1725">
                  <c:v>6.0454219403430898</c:v>
                </c:pt>
                <c:pt idx="1726">
                  <c:v>5.0510042247221394</c:v>
                </c:pt>
                <c:pt idx="1727">
                  <c:v>4.9555495421161746</c:v>
                </c:pt>
                <c:pt idx="1728">
                  <c:v>4.283757079088832</c:v>
                </c:pt>
                <c:pt idx="1729">
                  <c:v>3.7563738934757565</c:v>
                </c:pt>
                <c:pt idx="1730">
                  <c:v>3.6685992816952862</c:v>
                </c:pt>
                <c:pt idx="1731">
                  <c:v>3.7777327020073952</c:v>
                </c:pt>
                <c:pt idx="1732">
                  <c:v>3.7368928023281534</c:v>
                </c:pt>
                <c:pt idx="1733">
                  <c:v>3.6952905723086382</c:v>
                </c:pt>
                <c:pt idx="1734">
                  <c:v>3.6547874444853585</c:v>
                </c:pt>
                <c:pt idx="1735">
                  <c:v>3.6458132183353142</c:v>
                </c:pt>
                <c:pt idx="1736">
                  <c:v>3.7183916928706151</c:v>
                </c:pt>
                <c:pt idx="1737">
                  <c:v>3.7183916928706151</c:v>
                </c:pt>
                <c:pt idx="1738">
                  <c:v>3.7845724336769044</c:v>
                </c:pt>
                <c:pt idx="1739">
                  <c:v>3.8092446531545079</c:v>
                </c:pt>
                <c:pt idx="1740">
                  <c:v>3.6811105270887583</c:v>
                </c:pt>
                <c:pt idx="1741">
                  <c:v>3.5501335574682353</c:v>
                </c:pt>
                <c:pt idx="1742">
                  <c:v>3.5397577681913868</c:v>
                </c:pt>
                <c:pt idx="1743">
                  <c:v>3.6079414323559003</c:v>
                </c:pt>
                <c:pt idx="1744">
                  <c:v>3.7447280950353563</c:v>
                </c:pt>
                <c:pt idx="1745">
                  <c:v>5.0995830345663347</c:v>
                </c:pt>
                <c:pt idx="1746">
                  <c:v>6.0362887281172526</c:v>
                </c:pt>
                <c:pt idx="1747">
                  <c:v>6.2793220221192083</c:v>
                </c:pt>
                <c:pt idx="1748">
                  <c:v>6.8427325320917767</c:v>
                </c:pt>
                <c:pt idx="1749">
                  <c:v>6.8000169032920406</c:v>
                </c:pt>
                <c:pt idx="1750">
                  <c:v>6.7073471467582797</c:v>
                </c:pt>
                <c:pt idx="1751">
                  <c:v>6.6305631597996229</c:v>
                </c:pt>
                <c:pt idx="1752">
                  <c:v>6.6575512394383516</c:v>
                </c:pt>
                <c:pt idx="1753">
                  <c:v>7.1280569163201015</c:v>
                </c:pt>
                <c:pt idx="1754">
                  <c:v>7.0502302888938866</c:v>
                </c:pt>
                <c:pt idx="1755">
                  <c:v>7.3237921211953276</c:v>
                </c:pt>
                <c:pt idx="1756">
                  <c:v>7.2098272652957709</c:v>
                </c:pt>
                <c:pt idx="1757">
                  <c:v>7.3266165687053393</c:v>
                </c:pt>
                <c:pt idx="1758">
                  <c:v>7.2229678365486363</c:v>
                </c:pt>
                <c:pt idx="1759">
                  <c:v>7.0287586582455699</c:v>
                </c:pt>
                <c:pt idx="1760">
                  <c:v>7.0058268031262578</c:v>
                </c:pt>
                <c:pt idx="1761">
                  <c:v>7.0188580136723058</c:v>
                </c:pt>
                <c:pt idx="1762">
                  <c:v>6.9999178977122751</c:v>
                </c:pt>
                <c:pt idx="1763">
                  <c:v>7.1365177122649435</c:v>
                </c:pt>
                <c:pt idx="1764">
                  <c:v>7.3629235822573165</c:v>
                </c:pt>
                <c:pt idx="1765">
                  <c:v>7.2926510008836747</c:v>
                </c:pt>
                <c:pt idx="1766">
                  <c:v>7.1132869037254931</c:v>
                </c:pt>
                <c:pt idx="1767">
                  <c:v>6.8397922936803912</c:v>
                </c:pt>
                <c:pt idx="1768">
                  <c:v>6.4094936769921462</c:v>
                </c:pt>
                <c:pt idx="1769">
                  <c:v>6.3612512323739665</c:v>
                </c:pt>
                <c:pt idx="1770">
                  <c:v>6.258786926641891</c:v>
                </c:pt>
                <c:pt idx="1771">
                  <c:v>6.0818176351421815</c:v>
                </c:pt>
                <c:pt idx="1772">
                  <c:v>5.8219758071337413</c:v>
                </c:pt>
                <c:pt idx="1773">
                  <c:v>5.3213946836623904</c:v>
                </c:pt>
                <c:pt idx="1774">
                  <c:v>5.2232900188185658</c:v>
                </c:pt>
                <c:pt idx="1775">
                  <c:v>5.0130863230906586</c:v>
                </c:pt>
                <c:pt idx="1776">
                  <c:v>4.9181811421628661</c:v>
                </c:pt>
                <c:pt idx="1777">
                  <c:v>4.9304356199324673</c:v>
                </c:pt>
                <c:pt idx="1778">
                  <c:v>5.0264815966418617</c:v>
                </c:pt>
                <c:pt idx="1779">
                  <c:v>5.0264815966418608</c:v>
                </c:pt>
                <c:pt idx="1780">
                  <c:v>5.1795353273142712</c:v>
                </c:pt>
                <c:pt idx="1781">
                  <c:v>5.1507169459669653</c:v>
                </c:pt>
                <c:pt idx="1782">
                  <c:v>5.1255501526973752</c:v>
                </c:pt>
                <c:pt idx="1783">
                  <c:v>5.1738733572867224</c:v>
                </c:pt>
                <c:pt idx="1784">
                  <c:v>5.1157858015964752</c:v>
                </c:pt>
                <c:pt idx="1785">
                  <c:v>5.2637340882423134</c:v>
                </c:pt>
                <c:pt idx="1786">
                  <c:v>5.2232900188185658</c:v>
                </c:pt>
                <c:pt idx="1787">
                  <c:v>5.4032769963097929</c:v>
                </c:pt>
                <c:pt idx="1788">
                  <c:v>5.61084745786252</c:v>
                </c:pt>
                <c:pt idx="1789">
                  <c:v>5.7977403446039455</c:v>
                </c:pt>
                <c:pt idx="1790">
                  <c:v>6.049223375630616</c:v>
                </c:pt>
                <c:pt idx="1791">
                  <c:v>6.2900212890014897</c:v>
                </c:pt>
                <c:pt idx="1792">
                  <c:v>6.3339987551218435</c:v>
                </c:pt>
                <c:pt idx="1793">
                  <c:v>6.4419601500407202</c:v>
                </c:pt>
                <c:pt idx="1794">
                  <c:v>6.484730074407957</c:v>
                </c:pt>
                <c:pt idx="1795">
                  <c:v>6.5320606313746064</c:v>
                </c:pt>
                <c:pt idx="1796">
                  <c:v>6.3173725077993339</c:v>
                </c:pt>
                <c:pt idx="1797">
                  <c:v>6.3543812381332803</c:v>
                </c:pt>
                <c:pt idx="1798">
                  <c:v>6.3169176245904985</c:v>
                </c:pt>
                <c:pt idx="1799">
                  <c:v>6.2702545366215405</c:v>
                </c:pt>
                <c:pt idx="1800">
                  <c:v>6.3922546523296377</c:v>
                </c:pt>
                <c:pt idx="1801">
                  <c:v>6.5373375015517894</c:v>
                </c:pt>
                <c:pt idx="1802">
                  <c:v>6.6751382955237579</c:v>
                </c:pt>
                <c:pt idx="1803">
                  <c:v>6.6003308868640786</c:v>
                </c:pt>
                <c:pt idx="1804">
                  <c:v>6.6523697272855893</c:v>
                </c:pt>
                <c:pt idx="1805">
                  <c:v>6.7350515618092999</c:v>
                </c:pt>
                <c:pt idx="1806">
                  <c:v>6.6627287220018578</c:v>
                </c:pt>
                <c:pt idx="1807">
                  <c:v>6.6743633731451579</c:v>
                </c:pt>
                <c:pt idx="1808">
                  <c:v>6.5058770954890619</c:v>
                </c:pt>
                <c:pt idx="1809">
                  <c:v>6.5058770954890628</c:v>
                </c:pt>
                <c:pt idx="1810">
                  <c:v>6.3417065037188802</c:v>
                </c:pt>
                <c:pt idx="1811">
                  <c:v>6.4612016248358639</c:v>
                </c:pt>
                <c:pt idx="1812">
                  <c:v>6.4612016248358639</c:v>
                </c:pt>
                <c:pt idx="1813">
                  <c:v>6.5098510673855063</c:v>
                </c:pt>
                <c:pt idx="1814">
                  <c:v>6.5731078742431119</c:v>
                </c:pt>
                <c:pt idx="1815">
                  <c:v>6.4545270578276996</c:v>
                </c:pt>
                <c:pt idx="1816">
                  <c:v>6.4644029691168248</c:v>
                </c:pt>
                <c:pt idx="1817">
                  <c:v>6.4992484092437541</c:v>
                </c:pt>
                <c:pt idx="1818">
                  <c:v>6.6051181826593046</c:v>
                </c:pt>
                <c:pt idx="1819">
                  <c:v>6.4473107643384173</c:v>
                </c:pt>
                <c:pt idx="1820">
                  <c:v>6.2449059700457177</c:v>
                </c:pt>
                <c:pt idx="1821">
                  <c:v>6.2449059700457168</c:v>
                </c:pt>
                <c:pt idx="1822">
                  <c:v>6.3652252084292336</c:v>
                </c:pt>
                <c:pt idx="1823">
                  <c:v>6.2030767301025884</c:v>
                </c:pt>
                <c:pt idx="1824">
                  <c:v>6.0142550966695856</c:v>
                </c:pt>
                <c:pt idx="1825">
                  <c:v>6.1303840985212581</c:v>
                </c:pt>
                <c:pt idx="1826">
                  <c:v>6.0932410264896433</c:v>
                </c:pt>
                <c:pt idx="1827">
                  <c:v>6.2186223850476807</c:v>
                </c:pt>
                <c:pt idx="1828">
                  <c:v>6.2462862529684777</c:v>
                </c:pt>
                <c:pt idx="1829">
                  <c:v>6.2460102207858199</c:v>
                </c:pt>
                <c:pt idx="1830">
                  <c:v>6.0076579482347778</c:v>
                </c:pt>
                <c:pt idx="1831">
                  <c:v>5.8941818185686152</c:v>
                </c:pt>
                <c:pt idx="1832">
                  <c:v>6.0625096279103525</c:v>
                </c:pt>
                <c:pt idx="1833">
                  <c:v>5.9615627049505626</c:v>
                </c:pt>
                <c:pt idx="1834">
                  <c:v>5.9093730340174346</c:v>
                </c:pt>
                <c:pt idx="1835">
                  <c:v>5.8167415929041137</c:v>
                </c:pt>
                <c:pt idx="1836">
                  <c:v>5.7989297466771017</c:v>
                </c:pt>
                <c:pt idx="1837">
                  <c:v>5.8167415929041137</c:v>
                </c:pt>
                <c:pt idx="1838">
                  <c:v>5.8338095043747638</c:v>
                </c:pt>
                <c:pt idx="1839">
                  <c:v>5.6512637178949099</c:v>
                </c:pt>
                <c:pt idx="1840">
                  <c:v>5.7279311624965308</c:v>
                </c:pt>
                <c:pt idx="1841">
                  <c:v>5.6503483770126222</c:v>
                </c:pt>
                <c:pt idx="1842">
                  <c:v>5.6405754984773484</c:v>
                </c:pt>
                <c:pt idx="1843">
                  <c:v>5.5019327847417472</c:v>
                </c:pt>
                <c:pt idx="1844">
                  <c:v>5.491895805660362</c:v>
                </c:pt>
                <c:pt idx="1845">
                  <c:v>5.642714761979156</c:v>
                </c:pt>
                <c:pt idx="1846">
                  <c:v>5.6026471575866523</c:v>
                </c:pt>
                <c:pt idx="1847">
                  <c:v>5.4058291228771846</c:v>
                </c:pt>
                <c:pt idx="1848">
                  <c:v>5.3464995530968071</c:v>
                </c:pt>
                <c:pt idx="1849">
                  <c:v>5.412310361414602</c:v>
                </c:pt>
                <c:pt idx="1850">
                  <c:v>5.3802533803513013</c:v>
                </c:pt>
                <c:pt idx="1851">
                  <c:v>5.2619868630704918</c:v>
                </c:pt>
                <c:pt idx="1852">
                  <c:v>5.2619868630704918</c:v>
                </c:pt>
                <c:pt idx="1853">
                  <c:v>5.5095528324713525</c:v>
                </c:pt>
                <c:pt idx="1854">
                  <c:v>5.8187173212287773</c:v>
                </c:pt>
                <c:pt idx="1855">
                  <c:v>5.6226144366698554</c:v>
                </c:pt>
                <c:pt idx="1856">
                  <c:v>5.6226144366698554</c:v>
                </c:pt>
                <c:pt idx="1857">
                  <c:v>5.3472519529451628</c:v>
                </c:pt>
                <c:pt idx="1858">
                  <c:v>5.5028728129407369</c:v>
                </c:pt>
                <c:pt idx="1859">
                  <c:v>5.7879184513951127</c:v>
                </c:pt>
                <c:pt idx="1860">
                  <c:v>6.0328602087940482</c:v>
                </c:pt>
                <c:pt idx="1861">
                  <c:v>6.2793220221192083</c:v>
                </c:pt>
                <c:pt idx="1862">
                  <c:v>6.3012496480013223</c:v>
                </c:pt>
                <c:pt idx="1863">
                  <c:v>6.3766816578465981</c:v>
                </c:pt>
                <c:pt idx="1864">
                  <c:v>6.3766816578465981</c:v>
                </c:pt>
                <c:pt idx="1865">
                  <c:v>6.3604380677586274</c:v>
                </c:pt>
                <c:pt idx="1866">
                  <c:v>6.4620021095917179</c:v>
                </c:pt>
                <c:pt idx="1867">
                  <c:v>6.6519377524198884</c:v>
                </c:pt>
                <c:pt idx="1868">
                  <c:v>6.6419945764825039</c:v>
                </c:pt>
                <c:pt idx="1869">
                  <c:v>6.7819910276297604</c:v>
                </c:pt>
                <c:pt idx="1870">
                  <c:v>6.7701168940145111</c:v>
                </c:pt>
                <c:pt idx="1871">
                  <c:v>6.5998955059648612</c:v>
                </c:pt>
                <c:pt idx="1872">
                  <c:v>6.6124230000079764</c:v>
                </c:pt>
                <c:pt idx="1873">
                  <c:v>6.8000169032920397</c:v>
                </c:pt>
                <c:pt idx="1874">
                  <c:v>7.0534902096714536</c:v>
                </c:pt>
                <c:pt idx="1875">
                  <c:v>7.0534902096714536</c:v>
                </c:pt>
                <c:pt idx="1876">
                  <c:v>7.1413479522225094</c:v>
                </c:pt>
                <c:pt idx="1877">
                  <c:v>7.3001338359641403</c:v>
                </c:pt>
                <c:pt idx="1878">
                  <c:v>7.227740302823384</c:v>
                </c:pt>
                <c:pt idx="1879">
                  <c:v>7.4124002968619775</c:v>
                </c:pt>
                <c:pt idx="1880">
                  <c:v>7.4532257924098655</c:v>
                </c:pt>
                <c:pt idx="1881">
                  <c:v>7.5871185450137757</c:v>
                </c:pt>
                <c:pt idx="1882">
                  <c:v>7.6221094012181387</c:v>
                </c:pt>
                <c:pt idx="1883">
                  <c:v>7.4772451746815713</c:v>
                </c:pt>
                <c:pt idx="1884">
                  <c:v>7.4061949837910044</c:v>
                </c:pt>
                <c:pt idx="1885">
                  <c:v>7.4417276451659786</c:v>
                </c:pt>
                <c:pt idx="1886">
                  <c:v>7.5106055283378348</c:v>
                </c:pt>
                <c:pt idx="1887">
                  <c:v>7.5710428380225396</c:v>
                </c:pt>
                <c:pt idx="1888">
                  <c:v>7.6064098801187292</c:v>
                </c:pt>
                <c:pt idx="1889">
                  <c:v>7.3503459923255692</c:v>
                </c:pt>
                <c:pt idx="1890">
                  <c:v>7.2916264366706294</c:v>
                </c:pt>
                <c:pt idx="1891">
                  <c:v>7.3672153537795753</c:v>
                </c:pt>
                <c:pt idx="1892">
                  <c:v>7.0482736127040528</c:v>
                </c:pt>
                <c:pt idx="1893">
                  <c:v>6.8952757440298855</c:v>
                </c:pt>
                <c:pt idx="1894">
                  <c:v>6.8115014295042124</c:v>
                </c:pt>
                <c:pt idx="1895">
                  <c:v>6.7924907828044025</c:v>
                </c:pt>
                <c:pt idx="1896">
                  <c:v>6.3395311476807015</c:v>
                </c:pt>
                <c:pt idx="1897">
                  <c:v>6.3771322780662159</c:v>
                </c:pt>
                <c:pt idx="1898">
                  <c:v>6.2150170379178524</c:v>
                </c:pt>
                <c:pt idx="1899">
                  <c:v>6.3680235660627886</c:v>
                </c:pt>
                <c:pt idx="1900">
                  <c:v>6.4598672631464549</c:v>
                </c:pt>
                <c:pt idx="1901">
                  <c:v>6.290295389880673</c:v>
                </c:pt>
                <c:pt idx="1902">
                  <c:v>6.4363372178288794</c:v>
                </c:pt>
                <c:pt idx="1903">
                  <c:v>5.8053681063800537</c:v>
                </c:pt>
                <c:pt idx="1904">
                  <c:v>4.9822674060860193</c:v>
                </c:pt>
                <c:pt idx="1905">
                  <c:v>4.9929835827360032</c:v>
                </c:pt>
                <c:pt idx="1906">
                  <c:v>4.2647984415592761</c:v>
                </c:pt>
                <c:pt idx="1907">
                  <c:v>4.2798646449753939</c:v>
                </c:pt>
                <c:pt idx="1908">
                  <c:v>4.2078197592621258</c:v>
                </c:pt>
                <c:pt idx="1909">
                  <c:v>4.3071712454847946</c:v>
                </c:pt>
                <c:pt idx="1910">
                  <c:v>4.3286004215214193</c:v>
                </c:pt>
                <c:pt idx="1911">
                  <c:v>4.3449005649773174</c:v>
                </c:pt>
                <c:pt idx="1912">
                  <c:v>4.3623256478020149</c:v>
                </c:pt>
                <c:pt idx="1913">
                  <c:v>3.8803957613068043</c:v>
                </c:pt>
                <c:pt idx="1914">
                  <c:v>3.8906017027184108</c:v>
                </c:pt>
                <c:pt idx="1915">
                  <c:v>3.2048813344359712</c:v>
                </c:pt>
                <c:pt idx="1916">
                  <c:v>3.2048813344359712</c:v>
                </c:pt>
                <c:pt idx="1917">
                  <c:v>3.2048813344359712</c:v>
                </c:pt>
                <c:pt idx="1918">
                  <c:v>3.2241901772151365</c:v>
                </c:pt>
                <c:pt idx="1919">
                  <c:v>3.2206231994915901</c:v>
                </c:pt>
                <c:pt idx="1920">
                  <c:v>3.2206231994915897</c:v>
                </c:pt>
                <c:pt idx="1921">
                  <c:v>3.2206231994915901</c:v>
                </c:pt>
                <c:pt idx="1922">
                  <c:v>3.3577838887692226</c:v>
                </c:pt>
                <c:pt idx="1923">
                  <c:v>3.4376214712080122</c:v>
                </c:pt>
                <c:pt idx="1924">
                  <c:v>3.4713937709000513</c:v>
                </c:pt>
                <c:pt idx="1925">
                  <c:v>3.4481379282757518</c:v>
                </c:pt>
                <c:pt idx="1926">
                  <c:v>3.4132938216103925</c:v>
                </c:pt>
                <c:pt idx="1927">
                  <c:v>3.4188456746578133</c:v>
                </c:pt>
                <c:pt idx="1928">
                  <c:v>3.4107672646097296</c:v>
                </c:pt>
                <c:pt idx="1929">
                  <c:v>3.3577838887692226</c:v>
                </c:pt>
                <c:pt idx="1930">
                  <c:v>3.337181686572579</c:v>
                </c:pt>
                <c:pt idx="1931">
                  <c:v>3.4549647768386005</c:v>
                </c:pt>
                <c:pt idx="1932">
                  <c:v>3.3997971541924636</c:v>
                </c:pt>
                <c:pt idx="1933">
                  <c:v>3.3997971541924636</c:v>
                </c:pt>
                <c:pt idx="1934">
                  <c:v>3.8549863216657316</c:v>
                </c:pt>
                <c:pt idx="1935">
                  <c:v>4.0914826023163622</c:v>
                </c:pt>
                <c:pt idx="1936">
                  <c:v>4.3766622457979443</c:v>
                </c:pt>
                <c:pt idx="1937">
                  <c:v>4.3607444265885364</c:v>
                </c:pt>
                <c:pt idx="1938">
                  <c:v>4.2595396653769457</c:v>
                </c:pt>
                <c:pt idx="1939">
                  <c:v>4.6585726194377086</c:v>
                </c:pt>
                <c:pt idx="1940">
                  <c:v>4.6490636802960958</c:v>
                </c:pt>
                <c:pt idx="1941">
                  <c:v>4.676795248148399</c:v>
                </c:pt>
                <c:pt idx="1942">
                  <c:v>5.0410954839360986</c:v>
                </c:pt>
                <c:pt idx="1943">
                  <c:v>5.6491276917910884</c:v>
                </c:pt>
                <c:pt idx="1944">
                  <c:v>5.5914548926099679</c:v>
                </c:pt>
                <c:pt idx="1945">
                  <c:v>5.9043136383689756</c:v>
                </c:pt>
                <c:pt idx="1946">
                  <c:v>5.9151082616572994</c:v>
                </c:pt>
                <c:pt idx="1947">
                  <c:v>5.8823718728566208</c:v>
                </c:pt>
                <c:pt idx="1948">
                  <c:v>6.1663715368954612</c:v>
                </c:pt>
                <c:pt idx="1949">
                  <c:v>6.1402197721722249</c:v>
                </c:pt>
                <c:pt idx="1950">
                  <c:v>6.4612016248358639</c:v>
                </c:pt>
                <c:pt idx="1951">
                  <c:v>6.4097626688719425</c:v>
                </c:pt>
                <c:pt idx="1952">
                  <c:v>6.4952679503717503</c:v>
                </c:pt>
                <c:pt idx="1953">
                  <c:v>6.4762164347977773</c:v>
                </c:pt>
                <c:pt idx="1954">
                  <c:v>6.5516515422475337</c:v>
                </c:pt>
                <c:pt idx="1955">
                  <c:v>6.4094936769921453</c:v>
                </c:pt>
                <c:pt idx="1956">
                  <c:v>6.2098364685003773</c:v>
                </c:pt>
                <c:pt idx="1957">
                  <c:v>5.9996168460036312</c:v>
                </c:pt>
                <c:pt idx="1958">
                  <c:v>5.5812699910185035</c:v>
                </c:pt>
                <c:pt idx="1959">
                  <c:v>5.6564478516866536</c:v>
                </c:pt>
                <c:pt idx="1960">
                  <c:v>5.4144336688173578</c:v>
                </c:pt>
                <c:pt idx="1961">
                  <c:v>5.6414924250245333</c:v>
                </c:pt>
                <c:pt idx="1962">
                  <c:v>5.8036849174201084</c:v>
                </c:pt>
                <c:pt idx="1963">
                  <c:v>5.8506311674443525</c:v>
                </c:pt>
                <c:pt idx="1964">
                  <c:v>5.9271438722844092</c:v>
                </c:pt>
                <c:pt idx="1965">
                  <c:v>6.1852624248586103</c:v>
                </c:pt>
                <c:pt idx="1966">
                  <c:v>6.1852624248586112</c:v>
                </c:pt>
                <c:pt idx="1967">
                  <c:v>6.1458330898110223</c:v>
                </c:pt>
                <c:pt idx="1968">
                  <c:v>6.1143321361588105</c:v>
                </c:pt>
                <c:pt idx="1969">
                  <c:v>6.1228796470626303</c:v>
                </c:pt>
                <c:pt idx="1970">
                  <c:v>6.153683132235038</c:v>
                </c:pt>
                <c:pt idx="1971">
                  <c:v>5.9938665969146481</c:v>
                </c:pt>
                <c:pt idx="1972">
                  <c:v>6.1214715382090485</c:v>
                </c:pt>
                <c:pt idx="1973">
                  <c:v>6.0458021914325837</c:v>
                </c:pt>
                <c:pt idx="1974">
                  <c:v>5.9476644696618663</c:v>
                </c:pt>
                <c:pt idx="1975">
                  <c:v>5.9835982715972884</c:v>
                </c:pt>
                <c:pt idx="1976">
                  <c:v>5.8463074110781745</c:v>
                </c:pt>
                <c:pt idx="1977">
                  <c:v>5.7364533077263111</c:v>
                </c:pt>
                <c:pt idx="1978">
                  <c:v>5.8609363341230454</c:v>
                </c:pt>
                <c:pt idx="1979">
                  <c:v>6.0229446343931734</c:v>
                </c:pt>
                <c:pt idx="1980">
                  <c:v>5.9797551174247774</c:v>
                </c:pt>
                <c:pt idx="1981">
                  <c:v>5.9797551174247774</c:v>
                </c:pt>
                <c:pt idx="1982">
                  <c:v>6.1090661852014998</c:v>
                </c:pt>
                <c:pt idx="1983">
                  <c:v>6.1270082328210949</c:v>
                </c:pt>
                <c:pt idx="1984">
                  <c:v>5.833021338126108</c:v>
                </c:pt>
                <c:pt idx="1985">
                  <c:v>5.761644880078773</c:v>
                </c:pt>
                <c:pt idx="1986">
                  <c:v>6.1067138481337491</c:v>
                </c:pt>
                <c:pt idx="1987">
                  <c:v>6.0172166781431544</c:v>
                </c:pt>
                <c:pt idx="1988">
                  <c:v>6.0840851369801676</c:v>
                </c:pt>
                <c:pt idx="1989">
                  <c:v>6.0076579482347778</c:v>
                </c:pt>
                <c:pt idx="1990">
                  <c:v>6.0172166781431544</c:v>
                </c:pt>
                <c:pt idx="1991">
                  <c:v>5.8703423699329411</c:v>
                </c:pt>
                <c:pt idx="1992">
                  <c:v>5.7495627020120237</c:v>
                </c:pt>
                <c:pt idx="1993">
                  <c:v>5.9996168460036312</c:v>
                </c:pt>
                <c:pt idx="1994">
                  <c:v>6.1453655091767576</c:v>
                </c:pt>
                <c:pt idx="1995">
                  <c:v>5.8750397406335031</c:v>
                </c:pt>
                <c:pt idx="1996">
                  <c:v>5.8835441660637651</c:v>
                </c:pt>
                <c:pt idx="1997">
                  <c:v>6.0878624299106212</c:v>
                </c:pt>
                <c:pt idx="1998">
                  <c:v>6.2030767301025875</c:v>
                </c:pt>
                <c:pt idx="1999">
                  <c:v>6.2870968027299021</c:v>
                </c:pt>
                <c:pt idx="2000">
                  <c:v>6.2499655171462551</c:v>
                </c:pt>
                <c:pt idx="2001">
                  <c:v>6.0556803389723353</c:v>
                </c:pt>
                <c:pt idx="2002">
                  <c:v>6.0742531824198709</c:v>
                </c:pt>
                <c:pt idx="2003">
                  <c:v>6.1134861285258637</c:v>
                </c:pt>
                <c:pt idx="2004">
                  <c:v>6.1177149967622064</c:v>
                </c:pt>
                <c:pt idx="2005">
                  <c:v>6.1621760598917863</c:v>
                </c:pt>
                <c:pt idx="2006">
                  <c:v>6.1101009266077861</c:v>
                </c:pt>
                <c:pt idx="2007">
                  <c:v>6.2702545366215396</c:v>
                </c:pt>
                <c:pt idx="2008">
                  <c:v>6.2278573278898843</c:v>
                </c:pt>
                <c:pt idx="2009">
                  <c:v>6.1794059157223504</c:v>
                </c:pt>
                <c:pt idx="2010">
                  <c:v>6.0977666912312785</c:v>
                </c:pt>
                <c:pt idx="2011">
                  <c:v>6.1778246366645355</c:v>
                </c:pt>
                <c:pt idx="2012">
                  <c:v>6.2980566241801368</c:v>
                </c:pt>
                <c:pt idx="2013">
                  <c:v>6.2738281407948921</c:v>
                </c:pt>
                <c:pt idx="2014">
                  <c:v>6.3173725077993339</c:v>
                </c:pt>
                <c:pt idx="2015">
                  <c:v>6.3413439962015099</c:v>
                </c:pt>
                <c:pt idx="2016">
                  <c:v>5.9387680134217558</c:v>
                </c:pt>
                <c:pt idx="2017">
                  <c:v>6.3339987551218426</c:v>
                </c:pt>
                <c:pt idx="2018">
                  <c:v>6.3086330194989655</c:v>
                </c:pt>
                <c:pt idx="2019">
                  <c:v>6.317645422003431</c:v>
                </c:pt>
                <c:pt idx="2020">
                  <c:v>6.2922137617048977</c:v>
                </c:pt>
                <c:pt idx="2021">
                  <c:v>6.3380804955298649</c:v>
                </c:pt>
                <c:pt idx="2022">
                  <c:v>6.3879376269995607</c:v>
                </c:pt>
                <c:pt idx="2023">
                  <c:v>6.1794059157223495</c:v>
                </c:pt>
                <c:pt idx="2024">
                  <c:v>5.9057735242337426</c:v>
                </c:pt>
                <c:pt idx="2025">
                  <c:v>6.0610874939399615</c:v>
                </c:pt>
                <c:pt idx="2026">
                  <c:v>6.2197313021757097</c:v>
                </c:pt>
                <c:pt idx="2027">
                  <c:v>5.7879184513951127</c:v>
                </c:pt>
                <c:pt idx="2028">
                  <c:v>6.1214715382090485</c:v>
                </c:pt>
                <c:pt idx="2029">
                  <c:v>6.1214715382090485</c:v>
                </c:pt>
                <c:pt idx="2030">
                  <c:v>6.1671171006665126</c:v>
                </c:pt>
                <c:pt idx="2031">
                  <c:v>6.2976916040903346</c:v>
                </c:pt>
                <c:pt idx="2032">
                  <c:v>6.2495976882010424</c:v>
                </c:pt>
                <c:pt idx="2033">
                  <c:v>6.1503200552173869</c:v>
                </c:pt>
                <c:pt idx="2034">
                  <c:v>6.1615231733794493</c:v>
                </c:pt>
                <c:pt idx="2035">
                  <c:v>6.0637418742259621</c:v>
                </c:pt>
                <c:pt idx="2036">
                  <c:v>6.1390964927362424</c:v>
                </c:pt>
                <c:pt idx="2037">
                  <c:v>6.2607149531134176</c:v>
                </c:pt>
                <c:pt idx="2038">
                  <c:v>6.327190002942328</c:v>
                </c:pt>
                <c:pt idx="2039">
                  <c:v>6.2297026736674086</c:v>
                </c:pt>
                <c:pt idx="2040">
                  <c:v>6.3296419974665188</c:v>
                </c:pt>
                <c:pt idx="2041">
                  <c:v>6.3209194733445022</c:v>
                </c:pt>
                <c:pt idx="2042">
                  <c:v>6.0852185710515991</c:v>
                </c:pt>
                <c:pt idx="2043">
                  <c:v>6.1900921947342873</c:v>
                </c:pt>
                <c:pt idx="2044">
                  <c:v>6.2738281407948921</c:v>
                </c:pt>
                <c:pt idx="2045">
                  <c:v>6.2738281407948921</c:v>
                </c:pt>
                <c:pt idx="2046">
                  <c:v>6.5109103835783602</c:v>
                </c:pt>
                <c:pt idx="2047">
                  <c:v>6.3933334531899844</c:v>
                </c:pt>
                <c:pt idx="2048">
                  <c:v>6.4205131029962956</c:v>
                </c:pt>
                <c:pt idx="2049">
                  <c:v>6.4673361426176994</c:v>
                </c:pt>
                <c:pt idx="2050">
                  <c:v>6.441692502661903</c:v>
                </c:pt>
                <c:pt idx="2051">
                  <c:v>6.46866896362146</c:v>
                </c:pt>
                <c:pt idx="2052">
                  <c:v>6.46866896362146</c:v>
                </c:pt>
                <c:pt idx="2053">
                  <c:v>6.3035293890502873</c:v>
                </c:pt>
                <c:pt idx="2054">
                  <c:v>6.32319212270904</c:v>
                </c:pt>
                <c:pt idx="2055">
                  <c:v>6.3842478562204317</c:v>
                </c:pt>
                <c:pt idx="2056">
                  <c:v>6.2400265251425626</c:v>
                </c:pt>
                <c:pt idx="2057">
                  <c:v>6.2400265251425617</c:v>
                </c:pt>
                <c:pt idx="2058">
                  <c:v>5.8127881216440711</c:v>
                </c:pt>
                <c:pt idx="2059">
                  <c:v>5.7989297466771008</c:v>
                </c:pt>
                <c:pt idx="2060">
                  <c:v>5.8495505279730979</c:v>
                </c:pt>
                <c:pt idx="2061">
                  <c:v>5.7743985107472051</c:v>
                </c:pt>
                <c:pt idx="2062">
                  <c:v>5.7855348752819271</c:v>
                </c:pt>
                <c:pt idx="2063">
                  <c:v>5.757653576991558</c:v>
                </c:pt>
                <c:pt idx="2064">
                  <c:v>5.802199345194829</c:v>
                </c:pt>
                <c:pt idx="2065">
                  <c:v>5.8550498883786046</c:v>
                </c:pt>
                <c:pt idx="2066">
                  <c:v>5.7934763153129367</c:v>
                </c:pt>
                <c:pt idx="2067">
                  <c:v>5.5874448748855743</c:v>
                </c:pt>
                <c:pt idx="2068">
                  <c:v>5.7519611847842276</c:v>
                </c:pt>
                <c:pt idx="2069">
                  <c:v>5.7198987210710595</c:v>
                </c:pt>
                <c:pt idx="2070">
                  <c:v>5.5428321736948822</c:v>
                </c:pt>
                <c:pt idx="2071">
                  <c:v>5.4752315859276894</c:v>
                </c:pt>
                <c:pt idx="2072">
                  <c:v>5.530375888785894</c:v>
                </c:pt>
                <c:pt idx="2073">
                  <c:v>5.4718716460042103</c:v>
                </c:pt>
                <c:pt idx="2074">
                  <c:v>5.4752315859276885</c:v>
                </c:pt>
                <c:pt idx="2075">
                  <c:v>5.5815788974541736</c:v>
                </c:pt>
                <c:pt idx="2076">
                  <c:v>5.3271156285123213</c:v>
                </c:pt>
                <c:pt idx="2077">
                  <c:v>5.0860412986874213</c:v>
                </c:pt>
                <c:pt idx="2078">
                  <c:v>4.9340477892098793</c:v>
                </c:pt>
                <c:pt idx="2079">
                  <c:v>5.2238401341471432</c:v>
                </c:pt>
                <c:pt idx="2080">
                  <c:v>5.2888953282423214</c:v>
                </c:pt>
                <c:pt idx="2081">
                  <c:v>5.4865561922370496</c:v>
                </c:pt>
                <c:pt idx="2082">
                  <c:v>5.4865561922370496</c:v>
                </c:pt>
                <c:pt idx="2083">
                  <c:v>5.6977511191778065</c:v>
                </c:pt>
                <c:pt idx="2084">
                  <c:v>5.6046983574641125</c:v>
                </c:pt>
                <c:pt idx="2085">
                  <c:v>5.3459620598006108</c:v>
                </c:pt>
                <c:pt idx="2086">
                  <c:v>5.191062168456626</c:v>
                </c:pt>
                <c:pt idx="2087">
                  <c:v>5.1800900893066846</c:v>
                </c:pt>
                <c:pt idx="2088">
                  <c:v>5.0797094676626999</c:v>
                </c:pt>
                <c:pt idx="2089">
                  <c:v>5.4830983773859048</c:v>
                </c:pt>
                <c:pt idx="2090">
                  <c:v>5.4928375515589467</c:v>
                </c:pt>
                <c:pt idx="2091">
                  <c:v>5.7264259379641418</c:v>
                </c:pt>
                <c:pt idx="2092">
                  <c:v>5.70954031203149</c:v>
                </c:pt>
                <c:pt idx="2093">
                  <c:v>5.6917968800843486</c:v>
                </c:pt>
                <c:pt idx="2094">
                  <c:v>5.7576535769915589</c:v>
                </c:pt>
                <c:pt idx="2095">
                  <c:v>5.8730829594239387</c:v>
                </c:pt>
                <c:pt idx="2096">
                  <c:v>5.8659351686068648</c:v>
                </c:pt>
                <c:pt idx="2097">
                  <c:v>5.8659351686068648</c:v>
                </c:pt>
                <c:pt idx="2098">
                  <c:v>5.7075267909108867</c:v>
                </c:pt>
                <c:pt idx="2099">
                  <c:v>5.7276301492359636</c:v>
                </c:pt>
                <c:pt idx="2100">
                  <c:v>5.9919486209297608</c:v>
                </c:pt>
                <c:pt idx="2101">
                  <c:v>6.0819121312638025</c:v>
                </c:pt>
                <c:pt idx="2102">
                  <c:v>6.0613719474272045</c:v>
                </c:pt>
                <c:pt idx="2103">
                  <c:v>6.2141847376806387</c:v>
                </c:pt>
                <c:pt idx="2104">
                  <c:v>6.3576363713163921</c:v>
                </c:pt>
                <c:pt idx="2105">
                  <c:v>6.1927840841291788</c:v>
                </c:pt>
                <c:pt idx="2106">
                  <c:v>6.2238879817358059</c:v>
                </c:pt>
                <c:pt idx="2107">
                  <c:v>6.201686830228522</c:v>
                </c:pt>
                <c:pt idx="2108">
                  <c:v>6.4165733684812993</c:v>
                </c:pt>
                <c:pt idx="2109">
                  <c:v>6.1626423650525295</c:v>
                </c:pt>
                <c:pt idx="2110">
                  <c:v>6.2738281407948913</c:v>
                </c:pt>
                <c:pt idx="2111">
                  <c:v>5.9907975405962262</c:v>
                </c:pt>
                <c:pt idx="2112">
                  <c:v>5.9256892513401569</c:v>
                </c:pt>
                <c:pt idx="2113">
                  <c:v>5.8009115415289401</c:v>
                </c:pt>
                <c:pt idx="2114">
                  <c:v>5.810118007783303</c:v>
                </c:pt>
                <c:pt idx="2115">
                  <c:v>5.8285859171074632</c:v>
                </c:pt>
                <c:pt idx="2116">
                  <c:v>5.7982359584519374</c:v>
                </c:pt>
                <c:pt idx="2117">
                  <c:v>5.6292544574860388</c:v>
                </c:pt>
                <c:pt idx="2118">
                  <c:v>5.393056412764877</c:v>
                </c:pt>
                <c:pt idx="2119">
                  <c:v>5.6675117693016226</c:v>
                </c:pt>
                <c:pt idx="2120">
                  <c:v>5.8456192458811485</c:v>
                </c:pt>
                <c:pt idx="2121">
                  <c:v>5.8952542768319791</c:v>
                </c:pt>
                <c:pt idx="2122">
                  <c:v>5.9387680134217558</c:v>
                </c:pt>
                <c:pt idx="2123">
                  <c:v>5.9951129522591016</c:v>
                </c:pt>
                <c:pt idx="2124">
                  <c:v>5.7914919761961885</c:v>
                </c:pt>
                <c:pt idx="2125">
                  <c:v>5.7914919761961885</c:v>
                </c:pt>
                <c:pt idx="2126">
                  <c:v>5.7684237572909085</c:v>
                </c:pt>
                <c:pt idx="2127">
                  <c:v>5.7579530206928347</c:v>
                </c:pt>
                <c:pt idx="2128">
                  <c:v>5.8515151785719119</c:v>
                </c:pt>
                <c:pt idx="2129">
                  <c:v>5.9682108064213901</c:v>
                </c:pt>
                <c:pt idx="2130">
                  <c:v>5.8844232327059212</c:v>
                </c:pt>
                <c:pt idx="2131">
                  <c:v>5.7691211307000358</c:v>
                </c:pt>
                <c:pt idx="2132">
                  <c:v>5.8200011849744016</c:v>
                </c:pt>
                <c:pt idx="2133">
                  <c:v>5.5357770535135273</c:v>
                </c:pt>
                <c:pt idx="2134">
                  <c:v>5.2789976408361863</c:v>
                </c:pt>
                <c:pt idx="2135">
                  <c:v>5.6304794512168082</c:v>
                </c:pt>
                <c:pt idx="2136">
                  <c:v>5.7204010790981359</c:v>
                </c:pt>
                <c:pt idx="2137">
                  <c:v>5.8081393542700646</c:v>
                </c:pt>
                <c:pt idx="2138">
                  <c:v>5.7555570348671896</c:v>
                </c:pt>
                <c:pt idx="2139">
                  <c:v>5.7384566790619989</c:v>
                </c:pt>
                <c:pt idx="2140">
                  <c:v>5.677238279547427</c:v>
                </c:pt>
                <c:pt idx="2141">
                  <c:v>5.6856342462041285</c:v>
                </c:pt>
                <c:pt idx="2142">
                  <c:v>5.8305576318951307</c:v>
                </c:pt>
                <c:pt idx="2143">
                  <c:v>5.5194535794851971</c:v>
                </c:pt>
                <c:pt idx="2144">
                  <c:v>5.4755464745906686</c:v>
                </c:pt>
                <c:pt idx="2145">
                  <c:v>5.0782384492190227</c:v>
                </c:pt>
                <c:pt idx="2146">
                  <c:v>5.1933865991100729</c:v>
                </c:pt>
                <c:pt idx="2147">
                  <c:v>5.0878489459251561</c:v>
                </c:pt>
                <c:pt idx="2148">
                  <c:v>5.1354078507070344</c:v>
                </c:pt>
                <c:pt idx="2149">
                  <c:v>5.1354078507070344</c:v>
                </c:pt>
                <c:pt idx="2150">
                  <c:v>5.030481798638851</c:v>
                </c:pt>
                <c:pt idx="2151">
                  <c:v>5.2242801847025646</c:v>
                </c:pt>
                <c:pt idx="2152">
                  <c:v>5.3957198874152343</c:v>
                </c:pt>
                <c:pt idx="2153">
                  <c:v>5.3994465446474926</c:v>
                </c:pt>
                <c:pt idx="2154">
                  <c:v>5.7937739075626711</c:v>
                </c:pt>
                <c:pt idx="2155">
                  <c:v>5.7699180256731992</c:v>
                </c:pt>
                <c:pt idx="2156">
                  <c:v>5.818717321228779</c:v>
                </c:pt>
                <c:pt idx="2157">
                  <c:v>5.875039740633504</c:v>
                </c:pt>
                <c:pt idx="2158">
                  <c:v>5.9256892513401569</c:v>
                </c:pt>
                <c:pt idx="2159">
                  <c:v>6.0295250570665262</c:v>
                </c:pt>
                <c:pt idx="2160">
                  <c:v>6.2127973228419942</c:v>
                </c:pt>
                <c:pt idx="2161">
                  <c:v>6.2859083415335375</c:v>
                </c:pt>
                <c:pt idx="2162">
                  <c:v>6.2127973228419942</c:v>
                </c:pt>
                <c:pt idx="2163">
                  <c:v>6.3046233719445111</c:v>
                </c:pt>
                <c:pt idx="2164">
                  <c:v>6.4739975037190831</c:v>
                </c:pt>
                <c:pt idx="2165">
                  <c:v>6.1402197721722231</c:v>
                </c:pt>
                <c:pt idx="2166">
                  <c:v>5.9383809086393189</c:v>
                </c:pt>
                <c:pt idx="2167">
                  <c:v>6.0821956108198183</c:v>
                </c:pt>
                <c:pt idx="2168">
                  <c:v>6.0291437793971774</c:v>
                </c:pt>
                <c:pt idx="2169">
                  <c:v>6.1596574020269044</c:v>
                </c:pt>
                <c:pt idx="2170">
                  <c:v>6.3969281420985507</c:v>
                </c:pt>
                <c:pt idx="2171">
                  <c:v>6.6492588818725444</c:v>
                </c:pt>
                <c:pt idx="2172">
                  <c:v>6.5249300872636296</c:v>
                </c:pt>
                <c:pt idx="2173">
                  <c:v>6.6557381690322401</c:v>
                </c:pt>
                <c:pt idx="2174">
                  <c:v>6.6557381690322401</c:v>
                </c:pt>
                <c:pt idx="2175">
                  <c:v>6.7776678591677388</c:v>
                </c:pt>
                <c:pt idx="2176">
                  <c:v>6.7995943083849273</c:v>
                </c:pt>
                <c:pt idx="2177">
                  <c:v>6.9653493777428697</c:v>
                </c:pt>
                <c:pt idx="2178">
                  <c:v>6.9653493777428697</c:v>
                </c:pt>
                <c:pt idx="2179">
                  <c:v>6.7196743216100696</c:v>
                </c:pt>
                <c:pt idx="2180">
                  <c:v>6.7343688745071741</c:v>
                </c:pt>
                <c:pt idx="2181">
                  <c:v>6.7705413288050655</c:v>
                </c:pt>
                <c:pt idx="2182">
                  <c:v>6.6643674196016738</c:v>
                </c:pt>
                <c:pt idx="2183">
                  <c:v>6.7858033007729901</c:v>
                </c:pt>
                <c:pt idx="2184">
                  <c:v>6.5898738061975966</c:v>
                </c:pt>
                <c:pt idx="2185">
                  <c:v>6.6318631767703335</c:v>
                </c:pt>
                <c:pt idx="2186">
                  <c:v>6.5354910816373168</c:v>
                </c:pt>
                <c:pt idx="2187">
                  <c:v>6.6660919292487568</c:v>
                </c:pt>
                <c:pt idx="2188">
                  <c:v>6.5210534372166027</c:v>
                </c:pt>
                <c:pt idx="2189">
                  <c:v>6.6661781430203897</c:v>
                </c:pt>
                <c:pt idx="2190">
                  <c:v>6.459066513814907</c:v>
                </c:pt>
                <c:pt idx="2191">
                  <c:v>6.579400105414356</c:v>
                </c:pt>
                <c:pt idx="2192">
                  <c:v>6.6454547598728899</c:v>
                </c:pt>
                <c:pt idx="2193">
                  <c:v>6.5569126460763432</c:v>
                </c:pt>
                <c:pt idx="2194">
                  <c:v>6.4012391041864305</c:v>
                </c:pt>
                <c:pt idx="2195">
                  <c:v>6.4022266241618171</c:v>
                </c:pt>
                <c:pt idx="2196">
                  <c:v>6.5038450166036412</c:v>
                </c:pt>
                <c:pt idx="2197">
                  <c:v>6.3517578343484491</c:v>
                </c:pt>
                <c:pt idx="2198">
                  <c:v>6.5531426171661744</c:v>
                </c:pt>
                <c:pt idx="2199">
                  <c:v>6.4684024213910414</c:v>
                </c:pt>
                <c:pt idx="2200">
                  <c:v>6.3738871014169369</c:v>
                </c:pt>
                <c:pt idx="2201">
                  <c:v>6.1551772433092236</c:v>
                </c:pt>
                <c:pt idx="2202">
                  <c:v>6.3471416319908691</c:v>
                </c:pt>
                <c:pt idx="2203">
                  <c:v>6.2274881931162502</c:v>
                </c:pt>
                <c:pt idx="2204">
                  <c:v>6.2333917263230854</c:v>
                </c:pt>
                <c:pt idx="2205">
                  <c:v>6.0932410264896433</c:v>
                </c:pt>
                <c:pt idx="2206">
                  <c:v>6.1704710228375736</c:v>
                </c:pt>
                <c:pt idx="2207">
                  <c:v>6.1273834208581155</c:v>
                </c:pt>
                <c:pt idx="2208">
                  <c:v>6.1677693950361689</c:v>
                </c:pt>
                <c:pt idx="2209">
                  <c:v>6.1671171006665126</c:v>
                </c:pt>
                <c:pt idx="2210">
                  <c:v>6.1626423650525304</c:v>
                </c:pt>
                <c:pt idx="2211">
                  <c:v>5.988110825992436</c:v>
                </c:pt>
                <c:pt idx="2212">
                  <c:v>5.75645564641954</c:v>
                </c:pt>
                <c:pt idx="2213">
                  <c:v>5.9054815759324972</c:v>
                </c:pt>
                <c:pt idx="2214">
                  <c:v>5.8506311674443525</c:v>
                </c:pt>
                <c:pt idx="2215">
                  <c:v>5.8432592070624034</c:v>
                </c:pt>
                <c:pt idx="2216">
                  <c:v>6.1177149967622055</c:v>
                </c:pt>
                <c:pt idx="2217">
                  <c:v>6.0191266025455272</c:v>
                </c:pt>
                <c:pt idx="2218">
                  <c:v>6.253275004016861</c:v>
                </c:pt>
                <c:pt idx="2219">
                  <c:v>6.1271020319841938</c:v>
                </c:pt>
                <c:pt idx="2220">
                  <c:v>6.2172359604976979</c:v>
                </c:pt>
                <c:pt idx="2221">
                  <c:v>5.9981798005345128</c:v>
                </c:pt>
                <c:pt idx="2222">
                  <c:v>6.0271416759197889</c:v>
                </c:pt>
                <c:pt idx="2223">
                  <c:v>5.990413797999631</c:v>
                </c:pt>
                <c:pt idx="2224">
                  <c:v>6.6784952534665099</c:v>
                </c:pt>
                <c:pt idx="2225">
                  <c:v>7.7741836249527045</c:v>
                </c:pt>
                <c:pt idx="2226">
                  <c:v>8.4066202702284638</c:v>
                </c:pt>
                <c:pt idx="2227">
                  <c:v>8.4750478925849855</c:v>
                </c:pt>
                <c:pt idx="2228">
                  <c:v>8.8227110280830061</c:v>
                </c:pt>
                <c:pt idx="2229">
                  <c:v>9.3732316339866379</c:v>
                </c:pt>
                <c:pt idx="2230">
                  <c:v>9.4835004934462575</c:v>
                </c:pt>
                <c:pt idx="2231">
                  <c:v>9.4820459502313543</c:v>
                </c:pt>
                <c:pt idx="2232">
                  <c:v>9.7015818120125346</c:v>
                </c:pt>
                <c:pt idx="2233">
                  <c:v>9.9602081869023724</c:v>
                </c:pt>
                <c:pt idx="2234">
                  <c:v>10.024624853243909</c:v>
                </c:pt>
                <c:pt idx="2235">
                  <c:v>9.8188184320873777</c:v>
                </c:pt>
                <c:pt idx="2236">
                  <c:v>9.5357162844471848</c:v>
                </c:pt>
                <c:pt idx="2237">
                  <c:v>9.7591689866681186</c:v>
                </c:pt>
                <c:pt idx="2238">
                  <c:v>9.812026399728321</c:v>
                </c:pt>
                <c:pt idx="2239">
                  <c:v>9.8704831078123618</c:v>
                </c:pt>
                <c:pt idx="2240">
                  <c:v>9.7749974277563716</c:v>
                </c:pt>
                <c:pt idx="2241">
                  <c:v>9.4638452975570093</c:v>
                </c:pt>
                <c:pt idx="2242">
                  <c:v>9.4465221965120794</c:v>
                </c:pt>
                <c:pt idx="2243">
                  <c:v>8.7473477096788024</c:v>
                </c:pt>
                <c:pt idx="2244">
                  <c:v>8.4241033494004167</c:v>
                </c:pt>
                <c:pt idx="2245">
                  <c:v>7.6218077923146623</c:v>
                </c:pt>
                <c:pt idx="2246">
                  <c:v>6.6492588818725453</c:v>
                </c:pt>
                <c:pt idx="2247">
                  <c:v>6.4299049884830755</c:v>
                </c:pt>
                <c:pt idx="2248">
                  <c:v>6.6058142275722078</c:v>
                </c:pt>
                <c:pt idx="2249">
                  <c:v>6.4441901125662451</c:v>
                </c:pt>
                <c:pt idx="2250">
                  <c:v>6.2338527044059902</c:v>
                </c:pt>
                <c:pt idx="2251">
                  <c:v>5.8423739467217715</c:v>
                </c:pt>
                <c:pt idx="2252">
                  <c:v>5.6123836802835072</c:v>
                </c:pt>
                <c:pt idx="2253">
                  <c:v>4.9597228324486684</c:v>
                </c:pt>
                <c:pt idx="2254">
                  <c:v>4.9785747856742812</c:v>
                </c:pt>
                <c:pt idx="2255">
                  <c:v>4.8953414401951525</c:v>
                </c:pt>
                <c:pt idx="2256">
                  <c:v>4.9452171250404264</c:v>
                </c:pt>
                <c:pt idx="2257">
                  <c:v>4.8457826194952558</c:v>
                </c:pt>
                <c:pt idx="2258">
                  <c:v>4.9304356199324664</c:v>
                </c:pt>
                <c:pt idx="2259">
                  <c:v>4.8258165886331028</c:v>
                </c:pt>
                <c:pt idx="2260">
                  <c:v>4.7773411544233602</c:v>
                </c:pt>
                <c:pt idx="2261">
                  <c:v>4.9251874344402182</c:v>
                </c:pt>
                <c:pt idx="2262">
                  <c:v>4.9874555279900159</c:v>
                </c:pt>
                <c:pt idx="2263">
                  <c:v>5.1523903614518192</c:v>
                </c:pt>
                <c:pt idx="2264">
                  <c:v>5.1417828653573814</c:v>
                </c:pt>
                <c:pt idx="2265">
                  <c:v>5.3170729135320389</c:v>
                </c:pt>
                <c:pt idx="2266">
                  <c:v>5.4810016703468385</c:v>
                </c:pt>
                <c:pt idx="2267">
                  <c:v>5.7300378125570282</c:v>
                </c:pt>
                <c:pt idx="2268">
                  <c:v>6.0114832640940428</c:v>
                </c:pt>
                <c:pt idx="2269">
                  <c:v>6.7654463539234495</c:v>
                </c:pt>
                <c:pt idx="2270">
                  <c:v>6.9725240733914271</c:v>
                </c:pt>
                <c:pt idx="2271">
                  <c:v>7.079596715574441</c:v>
                </c:pt>
                <c:pt idx="2272">
                  <c:v>7.4358559711030248</c:v>
                </c:pt>
                <c:pt idx="2273">
                  <c:v>7.4633972727287343</c:v>
                </c:pt>
                <c:pt idx="2274">
                  <c:v>7.5197823397211181</c:v>
                </c:pt>
                <c:pt idx="2275">
                  <c:v>7.5539439344965524</c:v>
                </c:pt>
                <c:pt idx="2276">
                  <c:v>21.554235256006294</c:v>
                </c:pt>
                <c:pt idx="2277">
                  <c:v>29.085466608189257</c:v>
                </c:pt>
                <c:pt idx="2278">
                  <c:v>34.607237964625703</c:v>
                </c:pt>
                <c:pt idx="2279">
                  <c:v>39.109689542259908</c:v>
                </c:pt>
                <c:pt idx="2280">
                  <c:v>42.84937532236895</c:v>
                </c:pt>
                <c:pt idx="2281">
                  <c:v>46.03866441035899</c:v>
                </c:pt>
                <c:pt idx="2282">
                  <c:v>48.776336829273667</c:v>
                </c:pt>
                <c:pt idx="2283">
                  <c:v>51.170674521980686</c:v>
                </c:pt>
                <c:pt idx="2284">
                  <c:v>53.087392706440347</c:v>
                </c:pt>
                <c:pt idx="2285">
                  <c:v>54.850853156118028</c:v>
                </c:pt>
                <c:pt idx="2286">
                  <c:v>56.083732556520026</c:v>
                </c:pt>
                <c:pt idx="2287">
                  <c:v>57.183672615468694</c:v>
                </c:pt>
                <c:pt idx="2288">
                  <c:v>58.19582479000109</c:v>
                </c:pt>
                <c:pt idx="2289">
                  <c:v>58.825369849504852</c:v>
                </c:pt>
                <c:pt idx="2290">
                  <c:v>59.309058058749272</c:v>
                </c:pt>
                <c:pt idx="2291">
                  <c:v>59.29920237489582</c:v>
                </c:pt>
                <c:pt idx="2292">
                  <c:v>58.951138933944229</c:v>
                </c:pt>
                <c:pt idx="2293">
                  <c:v>58.282861580596645</c:v>
                </c:pt>
                <c:pt idx="2294">
                  <c:v>58.041602202272955</c:v>
                </c:pt>
                <c:pt idx="2295">
                  <c:v>57.533038983810371</c:v>
                </c:pt>
                <c:pt idx="2296">
                  <c:v>56.787251685770002</c:v>
                </c:pt>
                <c:pt idx="2297">
                  <c:v>55.963463039757457</c:v>
                </c:pt>
                <c:pt idx="2298">
                  <c:v>55.177133777988345</c:v>
                </c:pt>
                <c:pt idx="2299">
                  <c:v>53.750049451995423</c:v>
                </c:pt>
                <c:pt idx="2300">
                  <c:v>52.755878901035189</c:v>
                </c:pt>
                <c:pt idx="2301">
                  <c:v>51.678003947076199</c:v>
                </c:pt>
                <c:pt idx="2302">
                  <c:v>50.215180651035119</c:v>
                </c:pt>
                <c:pt idx="2303">
                  <c:v>48.962112962443996</c:v>
                </c:pt>
                <c:pt idx="2304">
                  <c:v>47.295063045795246</c:v>
                </c:pt>
                <c:pt idx="2305">
                  <c:v>45.931683402961461</c:v>
                </c:pt>
                <c:pt idx="2306">
                  <c:v>46.097148788583247</c:v>
                </c:pt>
                <c:pt idx="2307">
                  <c:v>46.335904997679961</c:v>
                </c:pt>
                <c:pt idx="2308">
                  <c:v>46.091874767037083</c:v>
                </c:pt>
                <c:pt idx="2309">
                  <c:v>45.519024695125026</c:v>
                </c:pt>
                <c:pt idx="2310">
                  <c:v>44.735814549958469</c:v>
                </c:pt>
                <c:pt idx="2311">
                  <c:v>43.826932358995876</c:v>
                </c:pt>
                <c:pt idx="2312">
                  <c:v>42.740919584123972</c:v>
                </c:pt>
                <c:pt idx="2313">
                  <c:v>41.240589313157869</c:v>
                </c:pt>
                <c:pt idx="2314">
                  <c:v>39.399063528167154</c:v>
                </c:pt>
                <c:pt idx="2315">
                  <c:v>37.434525216181385</c:v>
                </c:pt>
                <c:pt idx="2316">
                  <c:v>35.026492436637049</c:v>
                </c:pt>
                <c:pt idx="2317">
                  <c:v>32.124470566772032</c:v>
                </c:pt>
                <c:pt idx="2318">
                  <c:v>28.587916424903039</c:v>
                </c:pt>
                <c:pt idx="2319">
                  <c:v>23.940635392330464</c:v>
                </c:pt>
                <c:pt idx="2320">
                  <c:v>17.721861296604597</c:v>
                </c:pt>
                <c:pt idx="2321">
                  <c:v>6.0894670699004774</c:v>
                </c:pt>
                <c:pt idx="2322">
                  <c:v>6.0257111947303663</c:v>
                </c:pt>
                <c:pt idx="2323">
                  <c:v>6.014923968333064</c:v>
                </c:pt>
                <c:pt idx="2324">
                  <c:v>5.8397173605042498</c:v>
                </c:pt>
                <c:pt idx="2325">
                  <c:v>6.0142550966695856</c:v>
                </c:pt>
                <c:pt idx="2326">
                  <c:v>6.2584196161614178</c:v>
                </c:pt>
                <c:pt idx="2327">
                  <c:v>6.2848111009570244</c:v>
                </c:pt>
                <c:pt idx="2328">
                  <c:v>6.2072445624021677</c:v>
                </c:pt>
                <c:pt idx="2329">
                  <c:v>6.1199691983298203</c:v>
                </c:pt>
                <c:pt idx="2330">
                  <c:v>6.3321838037234786</c:v>
                </c:pt>
                <c:pt idx="2331">
                  <c:v>6.3915353505969943</c:v>
                </c:pt>
                <c:pt idx="2332">
                  <c:v>6.1741954662265446</c:v>
                </c:pt>
                <c:pt idx="2333">
                  <c:v>6.3622449590958254</c:v>
                </c:pt>
                <c:pt idx="2334">
                  <c:v>6.0557752429481271</c:v>
                </c:pt>
                <c:pt idx="2335">
                  <c:v>6.1941759816745616</c:v>
                </c:pt>
                <c:pt idx="2336">
                  <c:v>6.4219451344857212</c:v>
                </c:pt>
                <c:pt idx="2337">
                  <c:v>6.4931440412353307</c:v>
                </c:pt>
                <c:pt idx="2338">
                  <c:v>6.6898447656508244</c:v>
                </c:pt>
                <c:pt idx="2339">
                  <c:v>6.8073658550909011</c:v>
                </c:pt>
                <c:pt idx="2340">
                  <c:v>6.8060993605549962</c:v>
                </c:pt>
                <c:pt idx="2341">
                  <c:v>6.8568281263294768</c:v>
                </c:pt>
                <c:pt idx="2342">
                  <c:v>6.9106780611143952</c:v>
                </c:pt>
                <c:pt idx="2343">
                  <c:v>7.0228690472749387</c:v>
                </c:pt>
                <c:pt idx="2344">
                  <c:v>7.0168925892588234</c:v>
                </c:pt>
                <c:pt idx="2345">
                  <c:v>6.9286179809855852</c:v>
                </c:pt>
                <c:pt idx="2346">
                  <c:v>6.727965312141504</c:v>
                </c:pt>
                <c:pt idx="2347">
                  <c:v>6.5051703574395612</c:v>
                </c:pt>
                <c:pt idx="2348">
                  <c:v>6.0795492875894892</c:v>
                </c:pt>
                <c:pt idx="2349">
                  <c:v>6.2130748305951311</c:v>
                </c:pt>
                <c:pt idx="2350">
                  <c:v>6.0123436247497501</c:v>
                </c:pt>
                <c:pt idx="2351">
                  <c:v>6.1424657147981918</c:v>
                </c:pt>
                <c:pt idx="2352">
                  <c:v>6.0610874939399615</c:v>
                </c:pt>
                <c:pt idx="2353">
                  <c:v>6.0973896808011405</c:v>
                </c:pt>
                <c:pt idx="2354">
                  <c:v>6.0973896808011396</c:v>
                </c:pt>
                <c:pt idx="2355">
                  <c:v>5.9174396451525366</c:v>
                </c:pt>
                <c:pt idx="2356">
                  <c:v>5.6811849176879923</c:v>
                </c:pt>
                <c:pt idx="2357">
                  <c:v>5.6811849176879923</c:v>
                </c:pt>
                <c:pt idx="2358">
                  <c:v>5.6811849176879923</c:v>
                </c:pt>
                <c:pt idx="2359">
                  <c:v>5.6442423109189601</c:v>
                </c:pt>
                <c:pt idx="2360">
                  <c:v>5.3456395378818353</c:v>
                </c:pt>
                <c:pt idx="2361">
                  <c:v>5.4830983773859057</c:v>
                </c:pt>
                <c:pt idx="2362">
                  <c:v>5.5733355331899084</c:v>
                </c:pt>
                <c:pt idx="2363">
                  <c:v>5.644242310918961</c:v>
                </c:pt>
                <c:pt idx="2364">
                  <c:v>5.817630753683745</c:v>
                </c:pt>
                <c:pt idx="2365">
                  <c:v>5.8411933908992486</c:v>
                </c:pt>
                <c:pt idx="2366">
                  <c:v>5.7571544695454273</c:v>
                </c:pt>
                <c:pt idx="2367">
                  <c:v>5.9346053137411801</c:v>
                </c:pt>
                <c:pt idx="2368">
                  <c:v>5.832922809856746</c:v>
                </c:pt>
                <c:pt idx="2369">
                  <c:v>5.9503694466582608</c:v>
                </c:pt>
                <c:pt idx="2370">
                  <c:v>5.9855189233356532</c:v>
                </c:pt>
                <c:pt idx="2371">
                  <c:v>5.9253012921115547</c:v>
                </c:pt>
                <c:pt idx="2372">
                  <c:v>5.8068528679384546</c:v>
                </c:pt>
                <c:pt idx="2373">
                  <c:v>5.8068528679384546</c:v>
                </c:pt>
                <c:pt idx="2374">
                  <c:v>6.0656371489719447</c:v>
                </c:pt>
                <c:pt idx="2375">
                  <c:v>5.869167439831787</c:v>
                </c:pt>
                <c:pt idx="2376">
                  <c:v>6.0883344267503912</c:v>
                </c:pt>
                <c:pt idx="2377">
                  <c:v>6.2363413972447423</c:v>
                </c:pt>
                <c:pt idx="2378">
                  <c:v>6.4620021095917179</c:v>
                </c:pt>
                <c:pt idx="2379">
                  <c:v>6.5586654095191497</c:v>
                </c:pt>
                <c:pt idx="2380">
                  <c:v>6.6089455225126672</c:v>
                </c:pt>
                <c:pt idx="2381">
                  <c:v>6.5144401934842229</c:v>
                </c:pt>
                <c:pt idx="2382">
                  <c:v>6.4899568742700495</c:v>
                </c:pt>
                <c:pt idx="2383">
                  <c:v>6.4758614569179445</c:v>
                </c:pt>
                <c:pt idx="2384">
                  <c:v>6.555597765952812</c:v>
                </c:pt>
                <c:pt idx="2385">
                  <c:v>6.5689097050152618</c:v>
                </c:pt>
                <c:pt idx="2386">
                  <c:v>6.6092933525975113</c:v>
                </c:pt>
                <c:pt idx="2387">
                  <c:v>6.7125718386960447</c:v>
                </c:pt>
                <c:pt idx="2388">
                  <c:v>6.9029395704035892</c:v>
                </c:pt>
                <c:pt idx="2389">
                  <c:v>7.0254872617041864</c:v>
                </c:pt>
                <c:pt idx="2390">
                  <c:v>7.1483460027276697</c:v>
                </c:pt>
                <c:pt idx="2391">
                  <c:v>6.9896475171351167</c:v>
                </c:pt>
                <c:pt idx="2392">
                  <c:v>6.8800060144320154</c:v>
                </c:pt>
                <c:pt idx="2393">
                  <c:v>6.7196743216100705</c:v>
                </c:pt>
                <c:pt idx="2394">
                  <c:v>6.6003308868640795</c:v>
                </c:pt>
                <c:pt idx="2395">
                  <c:v>6.6037258727402399</c:v>
                </c:pt>
                <c:pt idx="2396">
                  <c:v>6.7606875798045971</c:v>
                </c:pt>
                <c:pt idx="2397">
                  <c:v>6.5555977659528137</c:v>
                </c:pt>
                <c:pt idx="2398">
                  <c:v>6.6627287220018578</c:v>
                </c:pt>
                <c:pt idx="2399">
                  <c:v>6.5985020940405468</c:v>
                </c:pt>
                <c:pt idx="2400">
                  <c:v>6.5636582174426401</c:v>
                </c:pt>
                <c:pt idx="2401">
                  <c:v>6.7908830025279467</c:v>
                </c:pt>
                <c:pt idx="2402">
                  <c:v>7.0205773086781438</c:v>
                </c:pt>
                <c:pt idx="2403">
                  <c:v>6.923639332691689</c:v>
                </c:pt>
                <c:pt idx="2404">
                  <c:v>6.7042618114734767</c:v>
                </c:pt>
                <c:pt idx="2405">
                  <c:v>6.6888997084980151</c:v>
                </c:pt>
                <c:pt idx="2406">
                  <c:v>6.6142479438004873</c:v>
                </c:pt>
                <c:pt idx="2407">
                  <c:v>6.4054574432643969</c:v>
                </c:pt>
                <c:pt idx="2408">
                  <c:v>6.2913916739782056</c:v>
                </c:pt>
                <c:pt idx="2409">
                  <c:v>6.338080495529864</c:v>
                </c:pt>
                <c:pt idx="2410">
                  <c:v>6.2881022482985651</c:v>
                </c:pt>
                <c:pt idx="2411">
                  <c:v>6.2061334141333919</c:v>
                </c:pt>
                <c:pt idx="2412">
                  <c:v>6.4076104176492983</c:v>
                </c:pt>
                <c:pt idx="2413">
                  <c:v>6.4256132584467327</c:v>
                </c:pt>
                <c:pt idx="2414">
                  <c:v>6.3543812381332803</c:v>
                </c:pt>
                <c:pt idx="2415">
                  <c:v>6.4097626688719433</c:v>
                </c:pt>
                <c:pt idx="2416">
                  <c:v>6.4899568742700495</c:v>
                </c:pt>
                <c:pt idx="2417">
                  <c:v>6.4094936769921453</c:v>
                </c:pt>
                <c:pt idx="2418">
                  <c:v>6.223887981735805</c:v>
                </c:pt>
                <c:pt idx="2419">
                  <c:v>6.1158358607685077</c:v>
                </c:pt>
                <c:pt idx="2420">
                  <c:v>6.0894670699004774</c:v>
                </c:pt>
                <c:pt idx="2421">
                  <c:v>6.0894670699004774</c:v>
                </c:pt>
                <c:pt idx="2422">
                  <c:v>6.0599495464687756</c:v>
                </c:pt>
                <c:pt idx="2423">
                  <c:v>6.0409521971520244</c:v>
                </c:pt>
                <c:pt idx="2424">
                  <c:v>5.9670689060919395</c:v>
                </c:pt>
                <c:pt idx="2425">
                  <c:v>5.9960304329098397</c:v>
                </c:pt>
                <c:pt idx="2426">
                  <c:v>5.7892719331250548</c:v>
                </c:pt>
                <c:pt idx="2427">
                  <c:v>5.8918457340502526</c:v>
                </c:pt>
                <c:pt idx="2428">
                  <c:v>5.8380932960456651</c:v>
                </c:pt>
                <c:pt idx="2429">
                  <c:v>5.7854139430773337</c:v>
                </c:pt>
                <c:pt idx="2430">
                  <c:v>5.9120697873046506</c:v>
                </c:pt>
                <c:pt idx="2431">
                  <c:v>5.5267942376620605</c:v>
                </c:pt>
                <c:pt idx="2432">
                  <c:v>5.3224591523628844</c:v>
                </c:pt>
                <c:pt idx="2433">
                  <c:v>5.4192638847570045</c:v>
                </c:pt>
                <c:pt idx="2434">
                  <c:v>5.5625102667623239</c:v>
                </c:pt>
                <c:pt idx="2435">
                  <c:v>5.7189056954054749</c:v>
                </c:pt>
                <c:pt idx="2436">
                  <c:v>5.3039940555374363</c:v>
                </c:pt>
                <c:pt idx="2437">
                  <c:v>5.4757039121316025</c:v>
                </c:pt>
                <c:pt idx="2438">
                  <c:v>5.5908087838114149</c:v>
                </c:pt>
                <c:pt idx="2439">
                  <c:v>5.2503270437120459</c:v>
                </c:pt>
                <c:pt idx="2440">
                  <c:v>5.3792097408353063</c:v>
                </c:pt>
                <c:pt idx="2441">
                  <c:v>5.4411451557609274</c:v>
                </c:pt>
                <c:pt idx="2442">
                  <c:v>5.0290067698213612</c:v>
                </c:pt>
                <c:pt idx="2443">
                  <c:v>5.2025634707004453</c:v>
                </c:pt>
                <c:pt idx="2444">
                  <c:v>5.0110987927909694</c:v>
                </c:pt>
                <c:pt idx="2445">
                  <c:v>4.8088460154178359</c:v>
                </c:pt>
                <c:pt idx="2446">
                  <c:v>4.3861253103502689</c:v>
                </c:pt>
                <c:pt idx="2447">
                  <c:v>4.6761807778000488</c:v>
                </c:pt>
                <c:pt idx="2448">
                  <c:v>5.1478150704935004</c:v>
                </c:pt>
                <c:pt idx="2449">
                  <c:v>5.3541261347363367</c:v>
                </c:pt>
                <c:pt idx="2450">
                  <c:v>0.57735026918962573</c:v>
                </c:pt>
                <c:pt idx="2451">
                  <c:v>0.70710678118654757</c:v>
                </c:pt>
              </c:numCache>
            </c:numRef>
          </c:val>
          <c:smooth val="0"/>
          <c:extLst>
            <c:ext xmlns:c16="http://schemas.microsoft.com/office/drawing/2014/chart" uri="{C3380CC4-5D6E-409C-BE32-E72D297353CC}">
              <c16:uniqueId val="{00000002-FC66-2144-AB8E-B2E86AA4D44E}"/>
            </c:ext>
          </c:extLst>
        </c:ser>
        <c:ser>
          <c:idx val="3"/>
          <c:order val="3"/>
          <c:tx>
            <c:strRef>
              <c:f>'DRT Rolling Stdev'!$F$1</c:f>
              <c:strCache>
                <c:ptCount val="1"/>
                <c:pt idx="0">
                  <c:v>Pump Torque </c:v>
                </c:pt>
              </c:strCache>
            </c:strRef>
          </c:tx>
          <c:spPr>
            <a:ln w="28575" cap="rnd">
              <a:solidFill>
                <a:schemeClr val="accent4"/>
              </a:solidFill>
              <a:round/>
            </a:ln>
            <a:effectLst/>
          </c:spPr>
          <c:marker>
            <c:symbol val="none"/>
          </c:marker>
          <c:cat>
            <c:numRef>
              <c:f>'DRT Rolling Stdev'!$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F$2:$F$2453</c:f>
              <c:numCache>
                <c:formatCode>#,##0.00</c:formatCode>
                <c:ptCount val="2452"/>
                <c:pt idx="0">
                  <c:v>11.703030357143824</c:v>
                </c:pt>
                <c:pt idx="1">
                  <c:v>11.725598286331227</c:v>
                </c:pt>
                <c:pt idx="2">
                  <c:v>11.940657869013233</c:v>
                </c:pt>
                <c:pt idx="3">
                  <c:v>12.102816239187483</c:v>
                </c:pt>
                <c:pt idx="4">
                  <c:v>12.310214429909205</c:v>
                </c:pt>
                <c:pt idx="5">
                  <c:v>12.411016611596866</c:v>
                </c:pt>
                <c:pt idx="6">
                  <c:v>12.00962257869741</c:v>
                </c:pt>
                <c:pt idx="7">
                  <c:v>12.039398923400684</c:v>
                </c:pt>
                <c:pt idx="8">
                  <c:v>12.176668853500784</c:v>
                </c:pt>
                <c:pt idx="9">
                  <c:v>12.31506879965475</c:v>
                </c:pt>
                <c:pt idx="10">
                  <c:v>12.31506879965475</c:v>
                </c:pt>
                <c:pt idx="11">
                  <c:v>12.73645324960251</c:v>
                </c:pt>
                <c:pt idx="12">
                  <c:v>12.732617179114632</c:v>
                </c:pt>
                <c:pt idx="13">
                  <c:v>12.419672937000755</c:v>
                </c:pt>
                <c:pt idx="14">
                  <c:v>12.275992831539126</c:v>
                </c:pt>
                <c:pt idx="15">
                  <c:v>12.268078379535922</c:v>
                </c:pt>
                <c:pt idx="16">
                  <c:v>12.139088568107896</c:v>
                </c:pt>
                <c:pt idx="17">
                  <c:v>12.416572166577057</c:v>
                </c:pt>
                <c:pt idx="18">
                  <c:v>12.301247483697432</c:v>
                </c:pt>
                <c:pt idx="19">
                  <c:v>11.724078769289541</c:v>
                </c:pt>
                <c:pt idx="20">
                  <c:v>11.787437302523374</c:v>
                </c:pt>
                <c:pt idx="21">
                  <c:v>11.804976546540352</c:v>
                </c:pt>
                <c:pt idx="22">
                  <c:v>11.579262081187538</c:v>
                </c:pt>
                <c:pt idx="23">
                  <c:v>11.094215123000017</c:v>
                </c:pt>
                <c:pt idx="24">
                  <c:v>11.31822860922038</c:v>
                </c:pt>
                <c:pt idx="25">
                  <c:v>11.075706043761549</c:v>
                </c:pt>
                <c:pt idx="26">
                  <c:v>11.055762527183337</c:v>
                </c:pt>
                <c:pt idx="27">
                  <c:v>11.532114080792551</c:v>
                </c:pt>
                <c:pt idx="28">
                  <c:v>11.301764687758778</c:v>
                </c:pt>
                <c:pt idx="29">
                  <c:v>11.044580509041058</c:v>
                </c:pt>
                <c:pt idx="30">
                  <c:v>10.972326736977372</c:v>
                </c:pt>
                <c:pt idx="31">
                  <c:v>10.987767493115181</c:v>
                </c:pt>
                <c:pt idx="32">
                  <c:v>10.516325567814826</c:v>
                </c:pt>
                <c:pt idx="33">
                  <c:v>10.484800164178553</c:v>
                </c:pt>
                <c:pt idx="34">
                  <c:v>10.533798913033698</c:v>
                </c:pt>
                <c:pt idx="35">
                  <c:v>10.79000175769376</c:v>
                </c:pt>
                <c:pt idx="36">
                  <c:v>11.058881072455414</c:v>
                </c:pt>
                <c:pt idx="37">
                  <c:v>11.050771024226549</c:v>
                </c:pt>
                <c:pt idx="38">
                  <c:v>11.025831738115786</c:v>
                </c:pt>
                <c:pt idx="39">
                  <c:v>10.730823580352242</c:v>
                </c:pt>
                <c:pt idx="40">
                  <c:v>10.972326736977372</c:v>
                </c:pt>
                <c:pt idx="41">
                  <c:v>10.590605249003943</c:v>
                </c:pt>
                <c:pt idx="42">
                  <c:v>10.601236102292587</c:v>
                </c:pt>
                <c:pt idx="43">
                  <c:v>10.915769463876824</c:v>
                </c:pt>
                <c:pt idx="44">
                  <c:v>11.127732778136309</c:v>
                </c:pt>
                <c:pt idx="45">
                  <c:v>11.710099776757207</c:v>
                </c:pt>
                <c:pt idx="46">
                  <c:v>11.335479850816897</c:v>
                </c:pt>
                <c:pt idx="47">
                  <c:v>11.397771510356698</c:v>
                </c:pt>
                <c:pt idx="48">
                  <c:v>11.684747893443543</c:v>
                </c:pt>
                <c:pt idx="49">
                  <c:v>11.92837821736684</c:v>
                </c:pt>
                <c:pt idx="50">
                  <c:v>12.179500395544043</c:v>
                </c:pt>
                <c:pt idx="51">
                  <c:v>12.415044636783765</c:v>
                </c:pt>
                <c:pt idx="52">
                  <c:v>12.351183106809284</c:v>
                </c:pt>
                <c:pt idx="53">
                  <c:v>12.40226156610249</c:v>
                </c:pt>
                <c:pt idx="54">
                  <c:v>12.339824324836075</c:v>
                </c:pt>
                <c:pt idx="55">
                  <c:v>12.456083774144496</c:v>
                </c:pt>
                <c:pt idx="56">
                  <c:v>12.387424101162798</c:v>
                </c:pt>
                <c:pt idx="57">
                  <c:v>12.043980706741761</c:v>
                </c:pt>
                <c:pt idx="58">
                  <c:v>11.980299921408335</c:v>
                </c:pt>
                <c:pt idx="59">
                  <c:v>12.110791236241178</c:v>
                </c:pt>
                <c:pt idx="60">
                  <c:v>12.255704747201392</c:v>
                </c:pt>
                <c:pt idx="61">
                  <c:v>12.240360974318087</c:v>
                </c:pt>
                <c:pt idx="62">
                  <c:v>12.614532761129491</c:v>
                </c:pt>
                <c:pt idx="63">
                  <c:v>12.995313036612092</c:v>
                </c:pt>
                <c:pt idx="64">
                  <c:v>13.196525143463676</c:v>
                </c:pt>
                <c:pt idx="65">
                  <c:v>13.079597167686989</c:v>
                </c:pt>
                <c:pt idx="66">
                  <c:v>12.86266985746229</c:v>
                </c:pt>
                <c:pt idx="67">
                  <c:v>12.604004107434665</c:v>
                </c:pt>
                <c:pt idx="68">
                  <c:v>12.594470598448051</c:v>
                </c:pt>
                <c:pt idx="69">
                  <c:v>12.530239285493481</c:v>
                </c:pt>
                <c:pt idx="70">
                  <c:v>12.052614539649865</c:v>
                </c:pt>
                <c:pt idx="71">
                  <c:v>12.082284932718739</c:v>
                </c:pt>
                <c:pt idx="72">
                  <c:v>12.151155283043817</c:v>
                </c:pt>
                <c:pt idx="73">
                  <c:v>11.773533537304038</c:v>
                </c:pt>
                <c:pt idx="74">
                  <c:v>11.577276593972062</c:v>
                </c:pt>
                <c:pt idx="75">
                  <c:v>11.487174257135353</c:v>
                </c:pt>
                <c:pt idx="76">
                  <c:v>11.844781575643879</c:v>
                </c:pt>
                <c:pt idx="77">
                  <c:v>12.20989800102369</c:v>
                </c:pt>
                <c:pt idx="78">
                  <c:v>11.848856581917538</c:v>
                </c:pt>
                <c:pt idx="79">
                  <c:v>11.866159746372739</c:v>
                </c:pt>
                <c:pt idx="80">
                  <c:v>11.792701814764674</c:v>
                </c:pt>
                <c:pt idx="81">
                  <c:v>11.273812601543128</c:v>
                </c:pt>
                <c:pt idx="82">
                  <c:v>11.643211232992895</c:v>
                </c:pt>
                <c:pt idx="83">
                  <c:v>12.054283351839578</c:v>
                </c:pt>
                <c:pt idx="84">
                  <c:v>12.033525964007257</c:v>
                </c:pt>
                <c:pt idx="85">
                  <c:v>12.100584197923441</c:v>
                </c:pt>
                <c:pt idx="86">
                  <c:v>12.081143281515443</c:v>
                </c:pt>
                <c:pt idx="87">
                  <c:v>12.318754975156015</c:v>
                </c:pt>
                <c:pt idx="88">
                  <c:v>12.756832742071811</c:v>
                </c:pt>
                <c:pt idx="89">
                  <c:v>12.874995815198517</c:v>
                </c:pt>
                <c:pt idx="90">
                  <c:v>12.500160918504438</c:v>
                </c:pt>
                <c:pt idx="91">
                  <c:v>12.472544560597568</c:v>
                </c:pt>
                <c:pt idx="92">
                  <c:v>12.835654365419229</c:v>
                </c:pt>
                <c:pt idx="93">
                  <c:v>12.656423565575876</c:v>
                </c:pt>
                <c:pt idx="94">
                  <c:v>12.702791801026649</c:v>
                </c:pt>
                <c:pt idx="95">
                  <c:v>12.786307331376554</c:v>
                </c:pt>
                <c:pt idx="96">
                  <c:v>12.786307331376554</c:v>
                </c:pt>
                <c:pt idx="97">
                  <c:v>12.7757403006591</c:v>
                </c:pt>
                <c:pt idx="98">
                  <c:v>12.673848538688206</c:v>
                </c:pt>
                <c:pt idx="99">
                  <c:v>12.669494542167932</c:v>
                </c:pt>
                <c:pt idx="100">
                  <c:v>12.669494542167932</c:v>
                </c:pt>
                <c:pt idx="101">
                  <c:v>12.471576880453307</c:v>
                </c:pt>
                <c:pt idx="102">
                  <c:v>12.458159861168776</c:v>
                </c:pt>
                <c:pt idx="103">
                  <c:v>12.605417554533366</c:v>
                </c:pt>
                <c:pt idx="104">
                  <c:v>12.767775528807789</c:v>
                </c:pt>
                <c:pt idx="105">
                  <c:v>12.947995007438164</c:v>
                </c:pt>
                <c:pt idx="106">
                  <c:v>12.674029922749851</c:v>
                </c:pt>
                <c:pt idx="107">
                  <c:v>12.258705562536589</c:v>
                </c:pt>
                <c:pt idx="108">
                  <c:v>12.631105556767661</c:v>
                </c:pt>
                <c:pt idx="109">
                  <c:v>12.502367591872305</c:v>
                </c:pt>
                <c:pt idx="110">
                  <c:v>12.416896163890055</c:v>
                </c:pt>
                <c:pt idx="111">
                  <c:v>12.475493218084917</c:v>
                </c:pt>
                <c:pt idx="112">
                  <c:v>12.688532246667172</c:v>
                </c:pt>
                <c:pt idx="113">
                  <c:v>12.813606274079378</c:v>
                </c:pt>
                <c:pt idx="114">
                  <c:v>12.944665612370677</c:v>
                </c:pt>
                <c:pt idx="115">
                  <c:v>13.135194453579031</c:v>
                </c:pt>
                <c:pt idx="116">
                  <c:v>13.505384196639891</c:v>
                </c:pt>
                <c:pt idx="117">
                  <c:v>13.320151529979272</c:v>
                </c:pt>
                <c:pt idx="118">
                  <c:v>13.038625200780823</c:v>
                </c:pt>
                <c:pt idx="119">
                  <c:v>12.730450416858467</c:v>
                </c:pt>
                <c:pt idx="120">
                  <c:v>13.00645286355792</c:v>
                </c:pt>
                <c:pt idx="121">
                  <c:v>13.08047593074169</c:v>
                </c:pt>
                <c:pt idx="122">
                  <c:v>12.627692611465292</c:v>
                </c:pt>
                <c:pt idx="123">
                  <c:v>12.565277828068576</c:v>
                </c:pt>
                <c:pt idx="124">
                  <c:v>12.218367556557071</c:v>
                </c:pt>
                <c:pt idx="125">
                  <c:v>12.042119567508076</c:v>
                </c:pt>
                <c:pt idx="126">
                  <c:v>12.326263895000602</c:v>
                </c:pt>
                <c:pt idx="127">
                  <c:v>12.437660644142476</c:v>
                </c:pt>
                <c:pt idx="128">
                  <c:v>12.762012596657371</c:v>
                </c:pt>
                <c:pt idx="129">
                  <c:v>12.714187929735964</c:v>
                </c:pt>
                <c:pt idx="130">
                  <c:v>12.741686494049508</c:v>
                </c:pt>
                <c:pt idx="131">
                  <c:v>12.914439926713419</c:v>
                </c:pt>
                <c:pt idx="132">
                  <c:v>13.338389845785768</c:v>
                </c:pt>
                <c:pt idx="133">
                  <c:v>13.443325053934654</c:v>
                </c:pt>
                <c:pt idx="134">
                  <c:v>13.276069560999812</c:v>
                </c:pt>
                <c:pt idx="135">
                  <c:v>12.787790513098678</c:v>
                </c:pt>
                <c:pt idx="136">
                  <c:v>12.655878648589201</c:v>
                </c:pt>
                <c:pt idx="137">
                  <c:v>12.731940105521026</c:v>
                </c:pt>
                <c:pt idx="138">
                  <c:v>12.43784547258889</c:v>
                </c:pt>
                <c:pt idx="139">
                  <c:v>12.61999872488472</c:v>
                </c:pt>
                <c:pt idx="140">
                  <c:v>12.657513329171765</c:v>
                </c:pt>
                <c:pt idx="141">
                  <c:v>12.841026205992595</c:v>
                </c:pt>
                <c:pt idx="142">
                  <c:v>12.44486691948444</c:v>
                </c:pt>
                <c:pt idx="143">
                  <c:v>11.894169343330205</c:v>
                </c:pt>
                <c:pt idx="144">
                  <c:v>11.953021067649724</c:v>
                </c:pt>
                <c:pt idx="145">
                  <c:v>11.315181542217223</c:v>
                </c:pt>
                <c:pt idx="146">
                  <c:v>10.973583745973103</c:v>
                </c:pt>
                <c:pt idx="147">
                  <c:v>10.930764346348443</c:v>
                </c:pt>
                <c:pt idx="148">
                  <c:v>10.910292514805489</c:v>
                </c:pt>
                <c:pt idx="149">
                  <c:v>10.78531355620907</c:v>
                </c:pt>
                <c:pt idx="150">
                  <c:v>10.78531355620907</c:v>
                </c:pt>
                <c:pt idx="151">
                  <c:v>10.800383134966509</c:v>
                </c:pt>
                <c:pt idx="152">
                  <c:v>10.782275792446036</c:v>
                </c:pt>
                <c:pt idx="153">
                  <c:v>10.927977381710324</c:v>
                </c:pt>
                <c:pt idx="154">
                  <c:v>10.401370378326428</c:v>
                </c:pt>
                <c:pt idx="155">
                  <c:v>10.411973655474686</c:v>
                </c:pt>
                <c:pt idx="156">
                  <c:v>10.314368952900207</c:v>
                </c:pt>
                <c:pt idx="157">
                  <c:v>10.300094855048108</c:v>
                </c:pt>
                <c:pt idx="158">
                  <c:v>10.580832811669682</c:v>
                </c:pt>
                <c:pt idx="159">
                  <c:v>10.715763444892602</c:v>
                </c:pt>
                <c:pt idx="160">
                  <c:v>10.782115886434617</c:v>
                </c:pt>
                <c:pt idx="161">
                  <c:v>10.656011200850143</c:v>
                </c:pt>
                <c:pt idx="162">
                  <c:v>10.554129768598347</c:v>
                </c:pt>
                <c:pt idx="163">
                  <c:v>10.255864596448689</c:v>
                </c:pt>
                <c:pt idx="164">
                  <c:v>10.317711588031191</c:v>
                </c:pt>
                <c:pt idx="165">
                  <c:v>10.214931599683226</c:v>
                </c:pt>
                <c:pt idx="166">
                  <c:v>10.906920717609982</c:v>
                </c:pt>
                <c:pt idx="167">
                  <c:v>10.907605698271528</c:v>
                </c:pt>
                <c:pt idx="168">
                  <c:v>11.140740188785616</c:v>
                </c:pt>
                <c:pt idx="169">
                  <c:v>11.23566775430181</c:v>
                </c:pt>
                <c:pt idx="170">
                  <c:v>11.642174620106736</c:v>
                </c:pt>
                <c:pt idx="171">
                  <c:v>11.428739736034897</c:v>
                </c:pt>
                <c:pt idx="172">
                  <c:v>11.574297724531364</c:v>
                </c:pt>
                <c:pt idx="173">
                  <c:v>11.704405300923062</c:v>
                </c:pt>
                <c:pt idx="174">
                  <c:v>11.484922649972965</c:v>
                </c:pt>
                <c:pt idx="175">
                  <c:v>11.539288210881688</c:v>
                </c:pt>
                <c:pt idx="176">
                  <c:v>11.54805053956588</c:v>
                </c:pt>
                <c:pt idx="177">
                  <c:v>11.540483465639108</c:v>
                </c:pt>
                <c:pt idx="178">
                  <c:v>11.725843351283974</c:v>
                </c:pt>
                <c:pt idx="179">
                  <c:v>11.938010385069322</c:v>
                </c:pt>
                <c:pt idx="180">
                  <c:v>11.370661987016785</c:v>
                </c:pt>
                <c:pt idx="181">
                  <c:v>11.737747341107582</c:v>
                </c:pt>
                <c:pt idx="182">
                  <c:v>11.980299921408337</c:v>
                </c:pt>
                <c:pt idx="183">
                  <c:v>11.935843825054512</c:v>
                </c:pt>
                <c:pt idx="184">
                  <c:v>12.086137209368349</c:v>
                </c:pt>
                <c:pt idx="185">
                  <c:v>12.632015519779653</c:v>
                </c:pt>
                <c:pt idx="186">
                  <c:v>12.921335826462753</c:v>
                </c:pt>
                <c:pt idx="187">
                  <c:v>13.114175887008772</c:v>
                </c:pt>
                <c:pt idx="188">
                  <c:v>12.868968289167015</c:v>
                </c:pt>
                <c:pt idx="189">
                  <c:v>12.82638265272103</c:v>
                </c:pt>
                <c:pt idx="190">
                  <c:v>13.235662379370728</c:v>
                </c:pt>
                <c:pt idx="191">
                  <c:v>13.635484471833379</c:v>
                </c:pt>
                <c:pt idx="192">
                  <c:v>13.459218948833684</c:v>
                </c:pt>
                <c:pt idx="193">
                  <c:v>13.789926358234013</c:v>
                </c:pt>
                <c:pt idx="194">
                  <c:v>14.186767349050735</c:v>
                </c:pt>
                <c:pt idx="195">
                  <c:v>14.348254729865351</c:v>
                </c:pt>
                <c:pt idx="196">
                  <c:v>14.348254729865353</c:v>
                </c:pt>
                <c:pt idx="197">
                  <c:v>14.410085867636031</c:v>
                </c:pt>
                <c:pt idx="198">
                  <c:v>14.464582189992024</c:v>
                </c:pt>
                <c:pt idx="199">
                  <c:v>14.468713770094409</c:v>
                </c:pt>
                <c:pt idx="200">
                  <c:v>14.468713770094409</c:v>
                </c:pt>
                <c:pt idx="201">
                  <c:v>14.446452851824906</c:v>
                </c:pt>
                <c:pt idx="202">
                  <c:v>14.218370826698719</c:v>
                </c:pt>
                <c:pt idx="203">
                  <c:v>14.534975653277833</c:v>
                </c:pt>
                <c:pt idx="204">
                  <c:v>14.455480605646768</c:v>
                </c:pt>
                <c:pt idx="205">
                  <c:v>14.60687918551495</c:v>
                </c:pt>
                <c:pt idx="206">
                  <c:v>14.592392916670068</c:v>
                </c:pt>
                <c:pt idx="207">
                  <c:v>14.547148869448097</c:v>
                </c:pt>
                <c:pt idx="208">
                  <c:v>14.475861795162444</c:v>
                </c:pt>
                <c:pt idx="209">
                  <c:v>14.317780923547918</c:v>
                </c:pt>
                <c:pt idx="210">
                  <c:v>14.301193584139559</c:v>
                </c:pt>
                <c:pt idx="211">
                  <c:v>14.175460421479068</c:v>
                </c:pt>
                <c:pt idx="212">
                  <c:v>13.868180730781136</c:v>
                </c:pt>
                <c:pt idx="213">
                  <c:v>14.331903163078588</c:v>
                </c:pt>
                <c:pt idx="214">
                  <c:v>14.935455001169331</c:v>
                </c:pt>
                <c:pt idx="215">
                  <c:v>15.535683804209192</c:v>
                </c:pt>
                <c:pt idx="216">
                  <c:v>15.730342595154104</c:v>
                </c:pt>
                <c:pt idx="217">
                  <c:v>16.831688778207511</c:v>
                </c:pt>
                <c:pt idx="218">
                  <c:v>18.140068052946141</c:v>
                </c:pt>
                <c:pt idx="219">
                  <c:v>19.3040106606427</c:v>
                </c:pt>
                <c:pt idx="220">
                  <c:v>19.738549714393564</c:v>
                </c:pt>
                <c:pt idx="221">
                  <c:v>20.151723351192285</c:v>
                </c:pt>
                <c:pt idx="222">
                  <c:v>20.677296117061427</c:v>
                </c:pt>
                <c:pt idx="223">
                  <c:v>20.442911819947785</c:v>
                </c:pt>
                <c:pt idx="224">
                  <c:v>20.354586593745864</c:v>
                </c:pt>
                <c:pt idx="225">
                  <c:v>20.445610494816414</c:v>
                </c:pt>
                <c:pt idx="226">
                  <c:v>19.897467059962654</c:v>
                </c:pt>
                <c:pt idx="227">
                  <c:v>19.8015731408031</c:v>
                </c:pt>
                <c:pt idx="228">
                  <c:v>18.709392809771913</c:v>
                </c:pt>
                <c:pt idx="229">
                  <c:v>18.930635634263346</c:v>
                </c:pt>
                <c:pt idx="230">
                  <c:v>17.730712363566791</c:v>
                </c:pt>
                <c:pt idx="231">
                  <c:v>17.751023930317729</c:v>
                </c:pt>
                <c:pt idx="232">
                  <c:v>17.901550693763355</c:v>
                </c:pt>
                <c:pt idx="233">
                  <c:v>17.910377137162754</c:v>
                </c:pt>
                <c:pt idx="234">
                  <c:v>17.296069582090198</c:v>
                </c:pt>
                <c:pt idx="235">
                  <c:v>16.103865460150267</c:v>
                </c:pt>
                <c:pt idx="236">
                  <c:v>15.456464629745529</c:v>
                </c:pt>
                <c:pt idx="237">
                  <c:v>15.427099607471606</c:v>
                </c:pt>
                <c:pt idx="238">
                  <c:v>14.473956000307949</c:v>
                </c:pt>
                <c:pt idx="239">
                  <c:v>13.128892416801731</c:v>
                </c:pt>
                <c:pt idx="240">
                  <c:v>12.274869196578164</c:v>
                </c:pt>
                <c:pt idx="241">
                  <c:v>9.0655974690730883</c:v>
                </c:pt>
                <c:pt idx="242">
                  <c:v>6.9979471538313351</c:v>
                </c:pt>
                <c:pt idx="243">
                  <c:v>6.86662760841475</c:v>
                </c:pt>
                <c:pt idx="244">
                  <c:v>6.749116587572308</c:v>
                </c:pt>
                <c:pt idx="245">
                  <c:v>6.8060993605549953</c:v>
                </c:pt>
                <c:pt idx="246">
                  <c:v>6.8528037721964496</c:v>
                </c:pt>
                <c:pt idx="247">
                  <c:v>6.9576716940582104</c:v>
                </c:pt>
                <c:pt idx="248">
                  <c:v>6.7132567425917822</c:v>
                </c:pt>
                <c:pt idx="249">
                  <c:v>6.7132567425917822</c:v>
                </c:pt>
                <c:pt idx="250">
                  <c:v>6.4406218019227213</c:v>
                </c:pt>
                <c:pt idx="251">
                  <c:v>6.5354910816373177</c:v>
                </c:pt>
                <c:pt idx="252">
                  <c:v>6.6691949228928848</c:v>
                </c:pt>
                <c:pt idx="253">
                  <c:v>6.7807197936163268</c:v>
                </c:pt>
                <c:pt idx="254">
                  <c:v>6.6051181826593046</c:v>
                </c:pt>
                <c:pt idx="255">
                  <c:v>6.6051181826593046</c:v>
                </c:pt>
                <c:pt idx="256">
                  <c:v>6.6609170608823849</c:v>
                </c:pt>
                <c:pt idx="257">
                  <c:v>6.5689097050152601</c:v>
                </c:pt>
                <c:pt idx="258">
                  <c:v>8.4595725551644723</c:v>
                </c:pt>
                <c:pt idx="259">
                  <c:v>9.8907247854547631</c:v>
                </c:pt>
                <c:pt idx="260">
                  <c:v>10.519221596130853</c:v>
                </c:pt>
                <c:pt idx="261">
                  <c:v>10.397888821968765</c:v>
                </c:pt>
                <c:pt idx="262">
                  <c:v>11.984137024829325</c:v>
                </c:pt>
                <c:pt idx="263">
                  <c:v>13.844331592438088</c:v>
                </c:pt>
                <c:pt idx="264">
                  <c:v>13.907907285334888</c:v>
                </c:pt>
                <c:pt idx="265">
                  <c:v>14.28885105135525</c:v>
                </c:pt>
                <c:pt idx="266">
                  <c:v>14.390929454858455</c:v>
                </c:pt>
                <c:pt idx="267">
                  <c:v>14.392247274459795</c:v>
                </c:pt>
                <c:pt idx="268">
                  <c:v>14.136607731733932</c:v>
                </c:pt>
                <c:pt idx="269">
                  <c:v>14.344729497896294</c:v>
                </c:pt>
                <c:pt idx="270">
                  <c:v>14.564205847008033</c:v>
                </c:pt>
                <c:pt idx="271">
                  <c:v>14.936493918410459</c:v>
                </c:pt>
                <c:pt idx="272">
                  <c:v>14.442951588048498</c:v>
                </c:pt>
                <c:pt idx="273">
                  <c:v>15.355743243969426</c:v>
                </c:pt>
                <c:pt idx="274">
                  <c:v>15.121918323847126</c:v>
                </c:pt>
                <c:pt idx="275">
                  <c:v>14.975842616325984</c:v>
                </c:pt>
                <c:pt idx="276">
                  <c:v>15.023391722596285</c:v>
                </c:pt>
                <c:pt idx="277">
                  <c:v>14.941110454353634</c:v>
                </c:pt>
                <c:pt idx="278">
                  <c:v>14.575842082493661</c:v>
                </c:pt>
                <c:pt idx="279">
                  <c:v>14.662486342606647</c:v>
                </c:pt>
                <c:pt idx="280">
                  <c:v>14.219300466166626</c:v>
                </c:pt>
                <c:pt idx="281">
                  <c:v>14.08875805201707</c:v>
                </c:pt>
                <c:pt idx="282">
                  <c:v>14.918938053483505</c:v>
                </c:pt>
                <c:pt idx="283">
                  <c:v>15.433952719628376</c:v>
                </c:pt>
                <c:pt idx="284">
                  <c:v>14.702763834320953</c:v>
                </c:pt>
                <c:pt idx="285">
                  <c:v>14.462635171086701</c:v>
                </c:pt>
                <c:pt idx="286">
                  <c:v>13.538408538197038</c:v>
                </c:pt>
                <c:pt idx="287">
                  <c:v>12.703334705646315</c:v>
                </c:pt>
                <c:pt idx="288">
                  <c:v>12.879637319088777</c:v>
                </c:pt>
                <c:pt idx="289">
                  <c:v>13.048142511043697</c:v>
                </c:pt>
                <c:pt idx="290">
                  <c:v>13.310828708970009</c:v>
                </c:pt>
                <c:pt idx="291">
                  <c:v>13.040388189694777</c:v>
                </c:pt>
                <c:pt idx="292">
                  <c:v>13.202620777796309</c:v>
                </c:pt>
                <c:pt idx="293">
                  <c:v>12.925782841629575</c:v>
                </c:pt>
                <c:pt idx="294">
                  <c:v>12.82638265272103</c:v>
                </c:pt>
                <c:pt idx="295">
                  <c:v>12.883251178159192</c:v>
                </c:pt>
                <c:pt idx="296">
                  <c:v>13.428439540979701</c:v>
                </c:pt>
                <c:pt idx="297">
                  <c:v>13.416793388421326</c:v>
                </c:pt>
                <c:pt idx="298">
                  <c:v>13.494826594943197</c:v>
                </c:pt>
                <c:pt idx="299">
                  <c:v>13.582273775754199</c:v>
                </c:pt>
                <c:pt idx="300">
                  <c:v>13.652670152715569</c:v>
                </c:pt>
                <c:pt idx="301">
                  <c:v>13.759218435435315</c:v>
                </c:pt>
                <c:pt idx="302">
                  <c:v>14.130792983581195</c:v>
                </c:pt>
                <c:pt idx="303">
                  <c:v>13.607004619409949</c:v>
                </c:pt>
                <c:pt idx="304">
                  <c:v>13.542780237149394</c:v>
                </c:pt>
                <c:pt idx="305">
                  <c:v>13.591579543333388</c:v>
                </c:pt>
                <c:pt idx="306">
                  <c:v>14.011325468324198</c:v>
                </c:pt>
                <c:pt idx="307">
                  <c:v>13.894553634055869</c:v>
                </c:pt>
                <c:pt idx="308">
                  <c:v>13.602949308332272</c:v>
                </c:pt>
                <c:pt idx="309">
                  <c:v>13.40479413296327</c:v>
                </c:pt>
                <c:pt idx="310">
                  <c:v>13.566524046808881</c:v>
                </c:pt>
                <c:pt idx="311">
                  <c:v>12.971941426317654</c:v>
                </c:pt>
                <c:pt idx="312">
                  <c:v>12.930450561528703</c:v>
                </c:pt>
                <c:pt idx="313">
                  <c:v>12.68092059459552</c:v>
                </c:pt>
                <c:pt idx="314">
                  <c:v>12.397812191126174</c:v>
                </c:pt>
                <c:pt idx="315">
                  <c:v>12.142070871868244</c:v>
                </c:pt>
                <c:pt idx="316">
                  <c:v>12.269202636411762</c:v>
                </c:pt>
                <c:pt idx="317">
                  <c:v>12.302742428595657</c:v>
                </c:pt>
                <c:pt idx="318">
                  <c:v>11.618504859594189</c:v>
                </c:pt>
                <c:pt idx="319">
                  <c:v>11.703668743986457</c:v>
                </c:pt>
                <c:pt idx="320">
                  <c:v>11.703668743986457</c:v>
                </c:pt>
                <c:pt idx="321">
                  <c:v>11.32635011363112</c:v>
                </c:pt>
                <c:pt idx="322">
                  <c:v>11.281966079575389</c:v>
                </c:pt>
                <c:pt idx="323">
                  <c:v>11.834879290305075</c:v>
                </c:pt>
                <c:pt idx="324">
                  <c:v>12.015315896469557</c:v>
                </c:pt>
                <c:pt idx="325">
                  <c:v>12.364390843043592</c:v>
                </c:pt>
                <c:pt idx="326">
                  <c:v>12.140982179208654</c:v>
                </c:pt>
                <c:pt idx="327">
                  <c:v>12.784689118710277</c:v>
                </c:pt>
                <c:pt idx="328">
                  <c:v>13.288185055490667</c:v>
                </c:pt>
                <c:pt idx="329">
                  <c:v>13.808876039390908</c:v>
                </c:pt>
                <c:pt idx="330">
                  <c:v>13.869838275665057</c:v>
                </c:pt>
                <c:pt idx="331">
                  <c:v>13.650649430890001</c:v>
                </c:pt>
                <c:pt idx="332">
                  <c:v>13.407366306041162</c:v>
                </c:pt>
                <c:pt idx="333">
                  <c:v>13.413837425686904</c:v>
                </c:pt>
                <c:pt idx="334">
                  <c:v>13.165131585182598</c:v>
                </c:pt>
                <c:pt idx="335">
                  <c:v>13.136769490391396</c:v>
                </c:pt>
                <c:pt idx="336">
                  <c:v>12.926182997952324</c:v>
                </c:pt>
                <c:pt idx="337">
                  <c:v>13.018289521629391</c:v>
                </c:pt>
                <c:pt idx="338">
                  <c:v>13.018289521629391</c:v>
                </c:pt>
                <c:pt idx="339">
                  <c:v>12.966623821694425</c:v>
                </c:pt>
                <c:pt idx="340">
                  <c:v>12.699036075284585</c:v>
                </c:pt>
                <c:pt idx="341">
                  <c:v>12.731940105521026</c:v>
                </c:pt>
                <c:pt idx="342">
                  <c:v>12.200857328082723</c:v>
                </c:pt>
                <c:pt idx="343">
                  <c:v>12.419117632047</c:v>
                </c:pt>
                <c:pt idx="344">
                  <c:v>12.517390202085432</c:v>
                </c:pt>
                <c:pt idx="345">
                  <c:v>12.009574724255279</c:v>
                </c:pt>
                <c:pt idx="346">
                  <c:v>12.134542695824249</c:v>
                </c:pt>
                <c:pt idx="347">
                  <c:v>11.931268684167376</c:v>
                </c:pt>
                <c:pt idx="348">
                  <c:v>12.572548091665482</c:v>
                </c:pt>
                <c:pt idx="349">
                  <c:v>12.863742148728166</c:v>
                </c:pt>
                <c:pt idx="350">
                  <c:v>12.562670482631168</c:v>
                </c:pt>
                <c:pt idx="351">
                  <c:v>12.820601237537733</c:v>
                </c:pt>
                <c:pt idx="352">
                  <c:v>12.6734404150579</c:v>
                </c:pt>
                <c:pt idx="353">
                  <c:v>12.810780302308794</c:v>
                </c:pt>
                <c:pt idx="354">
                  <c:v>12.756967895431011</c:v>
                </c:pt>
                <c:pt idx="355">
                  <c:v>12.530468613669678</c:v>
                </c:pt>
                <c:pt idx="356">
                  <c:v>12.800143677354544</c:v>
                </c:pt>
                <c:pt idx="357">
                  <c:v>12.697904614903806</c:v>
                </c:pt>
                <c:pt idx="358">
                  <c:v>12.294330998986634</c:v>
                </c:pt>
                <c:pt idx="359">
                  <c:v>11.842889131816854</c:v>
                </c:pt>
                <c:pt idx="360">
                  <c:v>12.187425213445756</c:v>
                </c:pt>
                <c:pt idx="361">
                  <c:v>12.187425213445756</c:v>
                </c:pt>
                <c:pt idx="362">
                  <c:v>12.685451890065741</c:v>
                </c:pt>
                <c:pt idx="363">
                  <c:v>12.928805938233655</c:v>
                </c:pt>
                <c:pt idx="364">
                  <c:v>12.922447723725325</c:v>
                </c:pt>
                <c:pt idx="365">
                  <c:v>13.085747269804481</c:v>
                </c:pt>
                <c:pt idx="366">
                  <c:v>12.864635656508606</c:v>
                </c:pt>
                <c:pt idx="367">
                  <c:v>12.953719565233479</c:v>
                </c:pt>
                <c:pt idx="368">
                  <c:v>13.138738020891093</c:v>
                </c:pt>
                <c:pt idx="369">
                  <c:v>13.244343837206921</c:v>
                </c:pt>
                <c:pt idx="370">
                  <c:v>13.71805589255505</c:v>
                </c:pt>
                <c:pt idx="371">
                  <c:v>13.60713132840665</c:v>
                </c:pt>
                <c:pt idx="372">
                  <c:v>13.621315277353267</c:v>
                </c:pt>
                <c:pt idx="373">
                  <c:v>13.773245763093559</c:v>
                </c:pt>
                <c:pt idx="374">
                  <c:v>13.899474892917739</c:v>
                </c:pt>
                <c:pt idx="375">
                  <c:v>14.351138366477869</c:v>
                </c:pt>
                <c:pt idx="376">
                  <c:v>14.282695904445022</c:v>
                </c:pt>
                <c:pt idx="377">
                  <c:v>14.267115150325372</c:v>
                </c:pt>
                <c:pt idx="378">
                  <c:v>13.970247531520476</c:v>
                </c:pt>
                <c:pt idx="379">
                  <c:v>13.434772177014237</c:v>
                </c:pt>
                <c:pt idx="380">
                  <c:v>13.327915565959044</c:v>
                </c:pt>
                <c:pt idx="381">
                  <c:v>13.195958977404155</c:v>
                </c:pt>
                <c:pt idx="382">
                  <c:v>13.195958977404155</c:v>
                </c:pt>
                <c:pt idx="383">
                  <c:v>13.208496046715235</c:v>
                </c:pt>
                <c:pt idx="384">
                  <c:v>13.458364915802237</c:v>
                </c:pt>
                <c:pt idx="385">
                  <c:v>13.441914204132695</c:v>
                </c:pt>
                <c:pt idx="386">
                  <c:v>13.53535175480995</c:v>
                </c:pt>
                <c:pt idx="387">
                  <c:v>13.415593945835578</c:v>
                </c:pt>
                <c:pt idx="388">
                  <c:v>13.28312385361007</c:v>
                </c:pt>
                <c:pt idx="389">
                  <c:v>13.000486286218717</c:v>
                </c:pt>
                <c:pt idx="390">
                  <c:v>12.756292114315475</c:v>
                </c:pt>
                <c:pt idx="391">
                  <c:v>12.810241951289395</c:v>
                </c:pt>
                <c:pt idx="392">
                  <c:v>12.773715829466147</c:v>
                </c:pt>
                <c:pt idx="393">
                  <c:v>12.623140582316255</c:v>
                </c:pt>
                <c:pt idx="394">
                  <c:v>13.045631672982591</c:v>
                </c:pt>
                <c:pt idx="395">
                  <c:v>12.548801289091458</c:v>
                </c:pt>
                <c:pt idx="396">
                  <c:v>12.503792528117495</c:v>
                </c:pt>
                <c:pt idx="397">
                  <c:v>11.970461729732421</c:v>
                </c:pt>
                <c:pt idx="398">
                  <c:v>12.000239461212297</c:v>
                </c:pt>
                <c:pt idx="399">
                  <c:v>11.989890377495858</c:v>
                </c:pt>
                <c:pt idx="400">
                  <c:v>12.355881841938842</c:v>
                </c:pt>
                <c:pt idx="401">
                  <c:v>12.32421222214839</c:v>
                </c:pt>
                <c:pt idx="402">
                  <c:v>12.410785076170507</c:v>
                </c:pt>
                <c:pt idx="403">
                  <c:v>12.03467213235713</c:v>
                </c:pt>
                <c:pt idx="404">
                  <c:v>11.539238405913354</c:v>
                </c:pt>
                <c:pt idx="405">
                  <c:v>11.231370270849393</c:v>
                </c:pt>
                <c:pt idx="406">
                  <c:v>11.487574496650369</c:v>
                </c:pt>
                <c:pt idx="407">
                  <c:v>11.497326025956053</c:v>
                </c:pt>
                <c:pt idx="408">
                  <c:v>11.397166415335462</c:v>
                </c:pt>
                <c:pt idx="409">
                  <c:v>11.541479416714168</c:v>
                </c:pt>
                <c:pt idx="410">
                  <c:v>11.388843098683763</c:v>
                </c:pt>
                <c:pt idx="411">
                  <c:v>11.434018611546657</c:v>
                </c:pt>
                <c:pt idx="412">
                  <c:v>11.434169400750431</c:v>
                </c:pt>
                <c:pt idx="413">
                  <c:v>11.297492347124352</c:v>
                </c:pt>
                <c:pt idx="414">
                  <c:v>11.251768698767972</c:v>
                </c:pt>
                <c:pt idx="415">
                  <c:v>11.251768698767973</c:v>
                </c:pt>
                <c:pt idx="416">
                  <c:v>10.96368089879374</c:v>
                </c:pt>
                <c:pt idx="417">
                  <c:v>10.845625210512141</c:v>
                </c:pt>
                <c:pt idx="418">
                  <c:v>11.385865405601928</c:v>
                </c:pt>
                <c:pt idx="419">
                  <c:v>11.24461556970023</c:v>
                </c:pt>
                <c:pt idx="420">
                  <c:v>11.449087701446009</c:v>
                </c:pt>
                <c:pt idx="421">
                  <c:v>11.368892828148702</c:v>
                </c:pt>
                <c:pt idx="422">
                  <c:v>11.205550759159136</c:v>
                </c:pt>
                <c:pt idx="423">
                  <c:v>11.205550759159136</c:v>
                </c:pt>
                <c:pt idx="424">
                  <c:v>11.306848702720263</c:v>
                </c:pt>
                <c:pt idx="425">
                  <c:v>11.533110754612602</c:v>
                </c:pt>
                <c:pt idx="426">
                  <c:v>11.65445995237914</c:v>
                </c:pt>
                <c:pt idx="427">
                  <c:v>11.312895703373309</c:v>
                </c:pt>
                <c:pt idx="428">
                  <c:v>10.935337635180831</c:v>
                </c:pt>
                <c:pt idx="429">
                  <c:v>10.947156246489655</c:v>
                </c:pt>
                <c:pt idx="430">
                  <c:v>10.423227818719091</c:v>
                </c:pt>
                <c:pt idx="431">
                  <c:v>10.754095718034302</c:v>
                </c:pt>
                <c:pt idx="432">
                  <c:v>11.125253451846213</c:v>
                </c:pt>
                <c:pt idx="433">
                  <c:v>11.397922779092728</c:v>
                </c:pt>
                <c:pt idx="434">
                  <c:v>11.179825837065907</c:v>
                </c:pt>
                <c:pt idx="435">
                  <c:v>11.256671074441186</c:v>
                </c:pt>
                <c:pt idx="436">
                  <c:v>10.787604636484575</c:v>
                </c:pt>
                <c:pt idx="437">
                  <c:v>11.192361927548689</c:v>
                </c:pt>
                <c:pt idx="438">
                  <c:v>11.28542952395831</c:v>
                </c:pt>
                <c:pt idx="439">
                  <c:v>11.296474885006658</c:v>
                </c:pt>
                <c:pt idx="440">
                  <c:v>11.663677778057178</c:v>
                </c:pt>
                <c:pt idx="441">
                  <c:v>11.719371918363183</c:v>
                </c:pt>
                <c:pt idx="442">
                  <c:v>11.701262334888705</c:v>
                </c:pt>
                <c:pt idx="443">
                  <c:v>11.38339181419151</c:v>
                </c:pt>
                <c:pt idx="444">
                  <c:v>11.288484621837922</c:v>
                </c:pt>
                <c:pt idx="445">
                  <c:v>10.560444522166058</c:v>
                </c:pt>
                <c:pt idx="446">
                  <c:v>10.649267418546881</c:v>
                </c:pt>
                <c:pt idx="447">
                  <c:v>11.208781450683899</c:v>
                </c:pt>
                <c:pt idx="448">
                  <c:v>11.02577961379394</c:v>
                </c:pt>
                <c:pt idx="449">
                  <c:v>11.292607692900125</c:v>
                </c:pt>
                <c:pt idx="450">
                  <c:v>11.063089714134495</c:v>
                </c:pt>
                <c:pt idx="451">
                  <c:v>11.497176065071997</c:v>
                </c:pt>
                <c:pt idx="452">
                  <c:v>11.394897022830857</c:v>
                </c:pt>
                <c:pt idx="453">
                  <c:v>11.18311535152514</c:v>
                </c:pt>
                <c:pt idx="454">
                  <c:v>11.23628154633488</c:v>
                </c:pt>
                <c:pt idx="455">
                  <c:v>11.498375697382691</c:v>
                </c:pt>
                <c:pt idx="456">
                  <c:v>11.875019661205744</c:v>
                </c:pt>
                <c:pt idx="457">
                  <c:v>12.295032171245184</c:v>
                </c:pt>
                <c:pt idx="458">
                  <c:v>12.32980688944618</c:v>
                </c:pt>
                <c:pt idx="459">
                  <c:v>12.800143677354546</c:v>
                </c:pt>
                <c:pt idx="460">
                  <c:v>12.794799590135209</c:v>
                </c:pt>
                <c:pt idx="461">
                  <c:v>12.915107432770352</c:v>
                </c:pt>
                <c:pt idx="462">
                  <c:v>12.434887887778048</c:v>
                </c:pt>
                <c:pt idx="463">
                  <c:v>12.753228124134175</c:v>
                </c:pt>
                <c:pt idx="464">
                  <c:v>13.037699536168269</c:v>
                </c:pt>
                <c:pt idx="465">
                  <c:v>12.970745155350846</c:v>
                </c:pt>
                <c:pt idx="466">
                  <c:v>12.952432869595556</c:v>
                </c:pt>
                <c:pt idx="467">
                  <c:v>12.454284218785874</c:v>
                </c:pt>
                <c:pt idx="468">
                  <c:v>12.477520015897646</c:v>
                </c:pt>
                <c:pt idx="469">
                  <c:v>12.386542567706664</c:v>
                </c:pt>
                <c:pt idx="470">
                  <c:v>12.603593722135116</c:v>
                </c:pt>
                <c:pt idx="471">
                  <c:v>12.759670661984142</c:v>
                </c:pt>
                <c:pt idx="472">
                  <c:v>12.789363396664983</c:v>
                </c:pt>
                <c:pt idx="473">
                  <c:v>13.079992618367632</c:v>
                </c:pt>
                <c:pt idx="474">
                  <c:v>13.17102357711676</c:v>
                </c:pt>
                <c:pt idx="475">
                  <c:v>13.244343837206921</c:v>
                </c:pt>
                <c:pt idx="476">
                  <c:v>13.349243381202349</c:v>
                </c:pt>
                <c:pt idx="477">
                  <c:v>13.468737749014348</c:v>
                </c:pt>
                <c:pt idx="478">
                  <c:v>13.304091497532351</c:v>
                </c:pt>
                <c:pt idx="479">
                  <c:v>13.093825868021499</c:v>
                </c:pt>
                <c:pt idx="480">
                  <c:v>13.389350717778594</c:v>
                </c:pt>
                <c:pt idx="481">
                  <c:v>13.13781941003052</c:v>
                </c:pt>
                <c:pt idx="482">
                  <c:v>12.987350167290328</c:v>
                </c:pt>
                <c:pt idx="483">
                  <c:v>13.466902808900342</c:v>
                </c:pt>
                <c:pt idx="484">
                  <c:v>13.120134566172817</c:v>
                </c:pt>
                <c:pt idx="485">
                  <c:v>13.049860174527259</c:v>
                </c:pt>
                <c:pt idx="486">
                  <c:v>12.891055439521917</c:v>
                </c:pt>
                <c:pt idx="487">
                  <c:v>12.623459277786379</c:v>
                </c:pt>
                <c:pt idx="488">
                  <c:v>12.928139139458368</c:v>
                </c:pt>
                <c:pt idx="489">
                  <c:v>12.838340566667762</c:v>
                </c:pt>
                <c:pt idx="490">
                  <c:v>13.124558011167681</c:v>
                </c:pt>
                <c:pt idx="491">
                  <c:v>12.706048880785859</c:v>
                </c:pt>
                <c:pt idx="492">
                  <c:v>12.768900797884164</c:v>
                </c:pt>
                <c:pt idx="493">
                  <c:v>12.787206249926561</c:v>
                </c:pt>
                <c:pt idx="494">
                  <c:v>12.467013948079515</c:v>
                </c:pt>
                <c:pt idx="495">
                  <c:v>12.907985588542584</c:v>
                </c:pt>
                <c:pt idx="496">
                  <c:v>13.152902743300151</c:v>
                </c:pt>
                <c:pt idx="497">
                  <c:v>13.177131008273212</c:v>
                </c:pt>
                <c:pt idx="498">
                  <c:v>13.11141469873861</c:v>
                </c:pt>
                <c:pt idx="499">
                  <c:v>12.804498132054732</c:v>
                </c:pt>
                <c:pt idx="500">
                  <c:v>12.386542567706663</c:v>
                </c:pt>
                <c:pt idx="501">
                  <c:v>12.390624932056353</c:v>
                </c:pt>
                <c:pt idx="502">
                  <c:v>12.737897117990306</c:v>
                </c:pt>
                <c:pt idx="503">
                  <c:v>12.5663754958798</c:v>
                </c:pt>
                <c:pt idx="504">
                  <c:v>12.478763569756621</c:v>
                </c:pt>
                <c:pt idx="505">
                  <c:v>12.522898566456055</c:v>
                </c:pt>
                <c:pt idx="506">
                  <c:v>12.260393198397445</c:v>
                </c:pt>
                <c:pt idx="507">
                  <c:v>11.820496517957039</c:v>
                </c:pt>
                <c:pt idx="508">
                  <c:v>11.820496517957039</c:v>
                </c:pt>
                <c:pt idx="509">
                  <c:v>12.093695517267161</c:v>
                </c:pt>
                <c:pt idx="510">
                  <c:v>12.279316316285783</c:v>
                </c:pt>
                <c:pt idx="511">
                  <c:v>12.469226487453113</c:v>
                </c:pt>
                <c:pt idx="512">
                  <c:v>12.459405347334817</c:v>
                </c:pt>
                <c:pt idx="513">
                  <c:v>12.077146652432761</c:v>
                </c:pt>
                <c:pt idx="514">
                  <c:v>12.25218723143027</c:v>
                </c:pt>
                <c:pt idx="515">
                  <c:v>11.595133739495273</c:v>
                </c:pt>
                <c:pt idx="516">
                  <c:v>11.521294627126652</c:v>
                </c:pt>
                <c:pt idx="517">
                  <c:v>12.076194879125655</c:v>
                </c:pt>
                <c:pt idx="518">
                  <c:v>12.186293412126464</c:v>
                </c:pt>
                <c:pt idx="519">
                  <c:v>11.97031769616523</c:v>
                </c:pt>
                <c:pt idx="520">
                  <c:v>12.035579438223699</c:v>
                </c:pt>
                <c:pt idx="521">
                  <c:v>12.224151711160625</c:v>
                </c:pt>
                <c:pt idx="522">
                  <c:v>12.520557807705371</c:v>
                </c:pt>
                <c:pt idx="523">
                  <c:v>12.021484598585277</c:v>
                </c:pt>
                <c:pt idx="524">
                  <c:v>12.480053050285125</c:v>
                </c:pt>
                <c:pt idx="525">
                  <c:v>12.213615918027857</c:v>
                </c:pt>
                <c:pt idx="526">
                  <c:v>12.140982179208653</c:v>
                </c:pt>
                <c:pt idx="527">
                  <c:v>12.047845231104343</c:v>
                </c:pt>
                <c:pt idx="528">
                  <c:v>12.080619988657238</c:v>
                </c:pt>
                <c:pt idx="529">
                  <c:v>12.065720417588098</c:v>
                </c:pt>
                <c:pt idx="530">
                  <c:v>12.148742898875939</c:v>
                </c:pt>
                <c:pt idx="531">
                  <c:v>12.041880939110971</c:v>
                </c:pt>
                <c:pt idx="532">
                  <c:v>11.935843825054512</c:v>
                </c:pt>
                <c:pt idx="533">
                  <c:v>11.704257993243903</c:v>
                </c:pt>
                <c:pt idx="534">
                  <c:v>11.975069889172868</c:v>
                </c:pt>
                <c:pt idx="535">
                  <c:v>11.94955873758477</c:v>
                </c:pt>
                <c:pt idx="536">
                  <c:v>11.944507707219081</c:v>
                </c:pt>
                <c:pt idx="537">
                  <c:v>11.905036121636561</c:v>
                </c:pt>
                <c:pt idx="538">
                  <c:v>11.912709334075135</c:v>
                </c:pt>
                <c:pt idx="539">
                  <c:v>11.710296088603339</c:v>
                </c:pt>
                <c:pt idx="540">
                  <c:v>11.449840635341291</c:v>
                </c:pt>
                <c:pt idx="541">
                  <c:v>11.043487704962375</c:v>
                </c:pt>
                <c:pt idx="542">
                  <c:v>11.054982753408568</c:v>
                </c:pt>
                <c:pt idx="543">
                  <c:v>11.461279140664441</c:v>
                </c:pt>
                <c:pt idx="544">
                  <c:v>11.203242551965076</c:v>
                </c:pt>
                <c:pt idx="545">
                  <c:v>11.509166761335502</c:v>
                </c:pt>
                <c:pt idx="546">
                  <c:v>11.451095415151189</c:v>
                </c:pt>
                <c:pt idx="547">
                  <c:v>10.929712745065864</c:v>
                </c:pt>
                <c:pt idx="548">
                  <c:v>10.685902196217521</c:v>
                </c:pt>
                <c:pt idx="549">
                  <c:v>10.737409092653055</c:v>
                </c:pt>
                <c:pt idx="550">
                  <c:v>10.683320332805403</c:v>
                </c:pt>
                <c:pt idx="551">
                  <c:v>10.43777401732676</c:v>
                </c:pt>
                <c:pt idx="552">
                  <c:v>9.9435764513417482</c:v>
                </c:pt>
                <c:pt idx="553">
                  <c:v>10.019578535197398</c:v>
                </c:pt>
                <c:pt idx="554">
                  <c:v>9.584770007253903</c:v>
                </c:pt>
                <c:pt idx="555">
                  <c:v>9.4509623666149682</c:v>
                </c:pt>
                <c:pt idx="556">
                  <c:v>9.2164894705587095</c:v>
                </c:pt>
                <c:pt idx="557">
                  <c:v>9.4771958605544491</c:v>
                </c:pt>
                <c:pt idx="558">
                  <c:v>9.8599969690606404</c:v>
                </c:pt>
                <c:pt idx="559">
                  <c:v>10.219487806856211</c:v>
                </c:pt>
                <c:pt idx="560">
                  <c:v>10.040378249961446</c:v>
                </c:pt>
                <c:pt idx="561">
                  <c:v>10.334853429163806</c:v>
                </c:pt>
                <c:pt idx="562">
                  <c:v>9.7899784555901626</c:v>
                </c:pt>
                <c:pt idx="563">
                  <c:v>10.1594189353254</c:v>
                </c:pt>
                <c:pt idx="564">
                  <c:v>10.016365918180933</c:v>
                </c:pt>
                <c:pt idx="565">
                  <c:v>9.8837495793411545</c:v>
                </c:pt>
                <c:pt idx="566">
                  <c:v>9.8391663977340507</c:v>
                </c:pt>
                <c:pt idx="567">
                  <c:v>9.8462315563909506</c:v>
                </c:pt>
                <c:pt idx="568">
                  <c:v>9.9409752291084157</c:v>
                </c:pt>
                <c:pt idx="569">
                  <c:v>10.05073337519757</c:v>
                </c:pt>
                <c:pt idx="570">
                  <c:v>9.9920083008901397</c:v>
                </c:pt>
                <c:pt idx="571">
                  <c:v>9.9602081869023564</c:v>
                </c:pt>
                <c:pt idx="572">
                  <c:v>9.9000174155193381</c:v>
                </c:pt>
                <c:pt idx="573">
                  <c:v>9.3186871947974925</c:v>
                </c:pt>
                <c:pt idx="574">
                  <c:v>9.1816909268316209</c:v>
                </c:pt>
                <c:pt idx="575">
                  <c:v>9.3273174372223782</c:v>
                </c:pt>
                <c:pt idx="576">
                  <c:v>9.8494996663871675</c:v>
                </c:pt>
                <c:pt idx="577">
                  <c:v>9.9749110559800318</c:v>
                </c:pt>
                <c:pt idx="578">
                  <c:v>9.8562075661081163</c:v>
                </c:pt>
                <c:pt idx="579">
                  <c:v>10.370659319090743</c:v>
                </c:pt>
                <c:pt idx="580">
                  <c:v>10.105250712081467</c:v>
                </c:pt>
                <c:pt idx="581">
                  <c:v>10.687246669713875</c:v>
                </c:pt>
                <c:pt idx="582">
                  <c:v>10.716836040205322</c:v>
                </c:pt>
                <c:pt idx="583">
                  <c:v>10.819522584916454</c:v>
                </c:pt>
                <c:pt idx="584">
                  <c:v>10.893475849881616</c:v>
                </c:pt>
                <c:pt idx="585">
                  <c:v>10.893475849881616</c:v>
                </c:pt>
                <c:pt idx="586">
                  <c:v>10.915822113509963</c:v>
                </c:pt>
                <c:pt idx="587">
                  <c:v>11.247681753480856</c:v>
                </c:pt>
                <c:pt idx="588">
                  <c:v>11.658749366103089</c:v>
                </c:pt>
                <c:pt idx="589">
                  <c:v>11.428739736034897</c:v>
                </c:pt>
                <c:pt idx="590">
                  <c:v>11.639409867728068</c:v>
                </c:pt>
                <c:pt idx="591">
                  <c:v>11.967196543194579</c:v>
                </c:pt>
                <c:pt idx="592">
                  <c:v>12.423374335705155</c:v>
                </c:pt>
                <c:pt idx="593">
                  <c:v>12.220201853215572</c:v>
                </c:pt>
                <c:pt idx="594">
                  <c:v>12.272996243037362</c:v>
                </c:pt>
                <c:pt idx="595">
                  <c:v>12.452253638986605</c:v>
                </c:pt>
                <c:pt idx="596">
                  <c:v>12.58812613299652</c:v>
                </c:pt>
                <c:pt idx="597">
                  <c:v>12.653698745980282</c:v>
                </c:pt>
                <c:pt idx="598">
                  <c:v>12.546419556118826</c:v>
                </c:pt>
                <c:pt idx="599">
                  <c:v>12.78396984733112</c:v>
                </c:pt>
                <c:pt idx="600">
                  <c:v>13.153558148045834</c:v>
                </c:pt>
                <c:pt idx="601">
                  <c:v>13.421932642584261</c:v>
                </c:pt>
                <c:pt idx="602">
                  <c:v>13.73392477244478</c:v>
                </c:pt>
                <c:pt idx="603">
                  <c:v>14.915701824571993</c:v>
                </c:pt>
                <c:pt idx="604">
                  <c:v>15.319584040450112</c:v>
                </c:pt>
                <c:pt idx="605">
                  <c:v>15.930307989605167</c:v>
                </c:pt>
                <c:pt idx="606">
                  <c:v>15.678559926833533</c:v>
                </c:pt>
                <c:pt idx="607">
                  <c:v>16.676123753686763</c:v>
                </c:pt>
                <c:pt idx="608">
                  <c:v>16.623069415171472</c:v>
                </c:pt>
                <c:pt idx="609">
                  <c:v>17.367726708884003</c:v>
                </c:pt>
                <c:pt idx="610">
                  <c:v>18.029637159187484</c:v>
                </c:pt>
                <c:pt idx="611">
                  <c:v>18.219889346977162</c:v>
                </c:pt>
                <c:pt idx="612">
                  <c:v>18.358655448726559</c:v>
                </c:pt>
                <c:pt idx="613">
                  <c:v>18.158972323952394</c:v>
                </c:pt>
                <c:pt idx="614">
                  <c:v>17.985306902241508</c:v>
                </c:pt>
                <c:pt idx="615">
                  <c:v>18.249106418054321</c:v>
                </c:pt>
                <c:pt idx="616">
                  <c:v>18.18247229753354</c:v>
                </c:pt>
                <c:pt idx="617">
                  <c:v>17.165891066063363</c:v>
                </c:pt>
                <c:pt idx="618">
                  <c:v>17.234855087440025</c:v>
                </c:pt>
                <c:pt idx="619">
                  <c:v>17.139354458799428</c:v>
                </c:pt>
                <c:pt idx="620">
                  <c:v>17.488781297287922</c:v>
                </c:pt>
                <c:pt idx="621">
                  <c:v>17.503661357542889</c:v>
                </c:pt>
                <c:pt idx="622">
                  <c:v>15.972282025541878</c:v>
                </c:pt>
                <c:pt idx="623">
                  <c:v>15.666201998489335</c:v>
                </c:pt>
                <c:pt idx="624">
                  <c:v>15.651557889482318</c:v>
                </c:pt>
                <c:pt idx="625">
                  <c:v>14.304408130154247</c:v>
                </c:pt>
                <c:pt idx="626">
                  <c:v>14.194421763333734</c:v>
                </c:pt>
                <c:pt idx="627">
                  <c:v>13.911873701448609</c:v>
                </c:pt>
                <c:pt idx="628">
                  <c:v>13.168623454186887</c:v>
                </c:pt>
                <c:pt idx="629">
                  <c:v>9.8785731204740159</c:v>
                </c:pt>
                <c:pt idx="630">
                  <c:v>9.8003635869686772</c:v>
                </c:pt>
                <c:pt idx="631">
                  <c:v>5.6901810972534284</c:v>
                </c:pt>
                <c:pt idx="632">
                  <c:v>5.1373099987238957</c:v>
                </c:pt>
                <c:pt idx="633">
                  <c:v>5.2066491529868673</c:v>
                </c:pt>
                <c:pt idx="634">
                  <c:v>5.0759745114981936</c:v>
                </c:pt>
                <c:pt idx="635">
                  <c:v>5.0973285768811936</c:v>
                </c:pt>
                <c:pt idx="636">
                  <c:v>5.2106213365244347</c:v>
                </c:pt>
                <c:pt idx="637">
                  <c:v>5.1198284813224868</c:v>
                </c:pt>
                <c:pt idx="638">
                  <c:v>5.0541891126279479</c:v>
                </c:pt>
                <c:pt idx="639">
                  <c:v>5.2610037939104588</c:v>
                </c:pt>
                <c:pt idx="640">
                  <c:v>5.4797432610384718</c:v>
                </c:pt>
                <c:pt idx="641">
                  <c:v>5.5091355685482712</c:v>
                </c:pt>
                <c:pt idx="642">
                  <c:v>5.5091355685482704</c:v>
                </c:pt>
                <c:pt idx="643">
                  <c:v>5.761545131199667</c:v>
                </c:pt>
                <c:pt idx="644">
                  <c:v>5.7396583662200253</c:v>
                </c:pt>
                <c:pt idx="645">
                  <c:v>5.7436621742938359</c:v>
                </c:pt>
                <c:pt idx="646">
                  <c:v>5.8427674123212165</c:v>
                </c:pt>
                <c:pt idx="647">
                  <c:v>7.5106055283378348</c:v>
                </c:pt>
                <c:pt idx="648">
                  <c:v>9.8646005913866688</c:v>
                </c:pt>
                <c:pt idx="649">
                  <c:v>11.207755935219515</c:v>
                </c:pt>
                <c:pt idx="650">
                  <c:v>12.508433936357896</c:v>
                </c:pt>
                <c:pt idx="651">
                  <c:v>14.151723017633438</c:v>
                </c:pt>
                <c:pt idx="652">
                  <c:v>15.692483009023961</c:v>
                </c:pt>
                <c:pt idx="653">
                  <c:v>16.080258475648897</c:v>
                </c:pt>
                <c:pt idx="654">
                  <c:v>17.576401368240067</c:v>
                </c:pt>
                <c:pt idx="655">
                  <c:v>18.106485787866372</c:v>
                </c:pt>
                <c:pt idx="656">
                  <c:v>17.773834572266583</c:v>
                </c:pt>
                <c:pt idx="657">
                  <c:v>18.241074025648693</c:v>
                </c:pt>
                <c:pt idx="658">
                  <c:v>18.654018703569037</c:v>
                </c:pt>
                <c:pt idx="659">
                  <c:v>18.611608045061249</c:v>
                </c:pt>
                <c:pt idx="660">
                  <c:v>18.400431029434216</c:v>
                </c:pt>
                <c:pt idx="661">
                  <c:v>17.970633771821166</c:v>
                </c:pt>
                <c:pt idx="662">
                  <c:v>17.666417261306119</c:v>
                </c:pt>
                <c:pt idx="663">
                  <c:v>17.59182804011861</c:v>
                </c:pt>
                <c:pt idx="664">
                  <c:v>17.343089650367652</c:v>
                </c:pt>
                <c:pt idx="665">
                  <c:v>16.771760611903225</c:v>
                </c:pt>
                <c:pt idx="666">
                  <c:v>16.594037150902047</c:v>
                </c:pt>
                <c:pt idx="667">
                  <c:v>16.136059425804785</c:v>
                </c:pt>
                <c:pt idx="668">
                  <c:v>16.030861041975456</c:v>
                </c:pt>
                <c:pt idx="669">
                  <c:v>16.140510895074637</c:v>
                </c:pt>
                <c:pt idx="670">
                  <c:v>15.921105778035718</c:v>
                </c:pt>
                <c:pt idx="671">
                  <c:v>15.51302752490647</c:v>
                </c:pt>
                <c:pt idx="672">
                  <c:v>14.468713770094409</c:v>
                </c:pt>
                <c:pt idx="673">
                  <c:v>12.930406115000819</c:v>
                </c:pt>
                <c:pt idx="674">
                  <c:v>12.138283693936421</c:v>
                </c:pt>
                <c:pt idx="675">
                  <c:v>11.307407804813968</c:v>
                </c:pt>
                <c:pt idx="676">
                  <c:v>10.608010419370412</c:v>
                </c:pt>
                <c:pt idx="677">
                  <c:v>10.704816833943301</c:v>
                </c:pt>
                <c:pt idx="678">
                  <c:v>10.673848157190481</c:v>
                </c:pt>
                <c:pt idx="679">
                  <c:v>10.713027840775986</c:v>
                </c:pt>
                <c:pt idx="680">
                  <c:v>10.687838184472634</c:v>
                </c:pt>
                <c:pt idx="681">
                  <c:v>10.667654408290165</c:v>
                </c:pt>
                <c:pt idx="682">
                  <c:v>10.332406335876225</c:v>
                </c:pt>
                <c:pt idx="683">
                  <c:v>10.601236102292587</c:v>
                </c:pt>
                <c:pt idx="684">
                  <c:v>10.053935010502222</c:v>
                </c:pt>
                <c:pt idx="685">
                  <c:v>9.9041962545315023</c:v>
                </c:pt>
                <c:pt idx="686">
                  <c:v>10.314814700170363</c:v>
                </c:pt>
                <c:pt idx="687">
                  <c:v>10.076945349966273</c:v>
                </c:pt>
                <c:pt idx="688">
                  <c:v>9.4041443541920788</c:v>
                </c:pt>
                <c:pt idx="689">
                  <c:v>9.3206605261471758</c:v>
                </c:pt>
                <c:pt idx="690">
                  <c:v>9.2971383559241172</c:v>
                </c:pt>
                <c:pt idx="691">
                  <c:v>9.3129498271363307</c:v>
                </c:pt>
                <c:pt idx="692">
                  <c:v>9.3894046424802617</c:v>
                </c:pt>
                <c:pt idx="693">
                  <c:v>9.4245948722344099</c:v>
                </c:pt>
                <c:pt idx="694">
                  <c:v>10.173269007494619</c:v>
                </c:pt>
                <c:pt idx="695">
                  <c:v>10.183658308865441</c:v>
                </c:pt>
                <c:pt idx="696">
                  <c:v>10.119970014948082</c:v>
                </c:pt>
                <c:pt idx="697">
                  <c:v>10.119970014948082</c:v>
                </c:pt>
                <c:pt idx="698">
                  <c:v>9.881830534503397</c:v>
                </c:pt>
                <c:pt idx="699">
                  <c:v>9.6694803673575258</c:v>
                </c:pt>
                <c:pt idx="700">
                  <c:v>9.9756024218169852</c:v>
                </c:pt>
                <c:pt idx="701">
                  <c:v>10.535326451908164</c:v>
                </c:pt>
                <c:pt idx="702">
                  <c:v>10.820159983519906</c:v>
                </c:pt>
                <c:pt idx="703">
                  <c:v>10.79000175769376</c:v>
                </c:pt>
                <c:pt idx="704">
                  <c:v>10.454938886786321</c:v>
                </c:pt>
                <c:pt idx="705">
                  <c:v>10.388986210538476</c:v>
                </c:pt>
                <c:pt idx="706">
                  <c:v>10.307011339792963</c:v>
                </c:pt>
                <c:pt idx="707">
                  <c:v>10.441737645500929</c:v>
                </c:pt>
                <c:pt idx="708">
                  <c:v>10.655525791112209</c:v>
                </c:pt>
                <c:pt idx="709">
                  <c:v>11.07388976298566</c:v>
                </c:pt>
                <c:pt idx="710">
                  <c:v>11.006998818411208</c:v>
                </c:pt>
                <c:pt idx="711">
                  <c:v>10.743830092544803</c:v>
                </c:pt>
                <c:pt idx="712">
                  <c:v>10.583493980136531</c:v>
                </c:pt>
                <c:pt idx="713">
                  <c:v>10.424551039148692</c:v>
                </c:pt>
                <c:pt idx="714">
                  <c:v>10.066674278751785</c:v>
                </c:pt>
                <c:pt idx="715">
                  <c:v>10.702669126754392</c:v>
                </c:pt>
                <c:pt idx="716">
                  <c:v>10.464005079263416</c:v>
                </c:pt>
                <c:pt idx="717">
                  <c:v>10.547102887065472</c:v>
                </c:pt>
                <c:pt idx="718">
                  <c:v>10.532980497509692</c:v>
                </c:pt>
                <c:pt idx="719">
                  <c:v>10.968292860598776</c:v>
                </c:pt>
                <c:pt idx="720">
                  <c:v>11.1415139605591</c:v>
                </c:pt>
                <c:pt idx="721">
                  <c:v>11.373542599575904</c:v>
                </c:pt>
                <c:pt idx="722">
                  <c:v>11.04765018963959</c:v>
                </c:pt>
                <c:pt idx="723">
                  <c:v>11.021452435732028</c:v>
                </c:pt>
                <c:pt idx="724">
                  <c:v>10.522062207735148</c:v>
                </c:pt>
                <c:pt idx="725">
                  <c:v>11.053111071902611</c:v>
                </c:pt>
                <c:pt idx="726">
                  <c:v>11.336493812198857</c:v>
                </c:pt>
                <c:pt idx="727">
                  <c:v>11.645333533370708</c:v>
                </c:pt>
                <c:pt idx="728">
                  <c:v>11.858359484143344</c:v>
                </c:pt>
                <c:pt idx="729">
                  <c:v>12.328082137761832</c:v>
                </c:pt>
                <c:pt idx="730">
                  <c:v>12.084425238021598</c:v>
                </c:pt>
                <c:pt idx="731">
                  <c:v>12.114207484953596</c:v>
                </c:pt>
                <c:pt idx="732">
                  <c:v>12.311148111207661</c:v>
                </c:pt>
                <c:pt idx="733">
                  <c:v>12.237120839347041</c:v>
                </c:pt>
                <c:pt idx="734">
                  <c:v>12.307553049610046</c:v>
                </c:pt>
                <c:pt idx="735">
                  <c:v>12.356021381003517</c:v>
                </c:pt>
                <c:pt idx="736">
                  <c:v>12.355881841938842</c:v>
                </c:pt>
                <c:pt idx="737">
                  <c:v>12.20989800102369</c:v>
                </c:pt>
                <c:pt idx="738">
                  <c:v>12.428924366957114</c:v>
                </c:pt>
                <c:pt idx="739">
                  <c:v>12.340010618673126</c:v>
                </c:pt>
                <c:pt idx="740">
                  <c:v>12.340010618673126</c:v>
                </c:pt>
                <c:pt idx="741">
                  <c:v>12.433547500543675</c:v>
                </c:pt>
                <c:pt idx="742">
                  <c:v>12.592690819239769</c:v>
                </c:pt>
                <c:pt idx="743">
                  <c:v>12.744392501405668</c:v>
                </c:pt>
                <c:pt idx="744">
                  <c:v>12.932406057527794</c:v>
                </c:pt>
                <c:pt idx="745">
                  <c:v>12.465123759707627</c:v>
                </c:pt>
                <c:pt idx="746">
                  <c:v>12.358439807789599</c:v>
                </c:pt>
                <c:pt idx="747">
                  <c:v>12.609474635158781</c:v>
                </c:pt>
                <c:pt idx="748">
                  <c:v>12.764939410781373</c:v>
                </c:pt>
                <c:pt idx="749">
                  <c:v>12.512476532066595</c:v>
                </c:pt>
                <c:pt idx="750">
                  <c:v>12.34820476504744</c:v>
                </c:pt>
                <c:pt idx="751">
                  <c:v>12.113638177073701</c:v>
                </c:pt>
                <c:pt idx="752">
                  <c:v>12.178226283096354</c:v>
                </c:pt>
                <c:pt idx="753">
                  <c:v>12.514635110702308</c:v>
                </c:pt>
                <c:pt idx="754">
                  <c:v>12.895869426908066</c:v>
                </c:pt>
                <c:pt idx="755">
                  <c:v>12.52496357853699</c:v>
                </c:pt>
                <c:pt idx="756">
                  <c:v>12.180821556574232</c:v>
                </c:pt>
                <c:pt idx="757">
                  <c:v>11.682386781798499</c:v>
                </c:pt>
                <c:pt idx="758">
                  <c:v>11.12463353393575</c:v>
                </c:pt>
                <c:pt idx="759">
                  <c:v>11.12463353393575</c:v>
                </c:pt>
                <c:pt idx="760">
                  <c:v>10.943743292008421</c:v>
                </c:pt>
                <c:pt idx="761">
                  <c:v>10.908659430686829</c:v>
                </c:pt>
                <c:pt idx="762">
                  <c:v>10.792504849178444</c:v>
                </c:pt>
                <c:pt idx="763">
                  <c:v>11.200831249941013</c:v>
                </c:pt>
                <c:pt idx="764">
                  <c:v>11.784657861793876</c:v>
                </c:pt>
                <c:pt idx="765">
                  <c:v>11.745823420096693</c:v>
                </c:pt>
                <c:pt idx="766">
                  <c:v>11.737747341107584</c:v>
                </c:pt>
                <c:pt idx="767">
                  <c:v>12.40856211626083</c:v>
                </c:pt>
                <c:pt idx="768">
                  <c:v>11.927173649459784</c:v>
                </c:pt>
                <c:pt idx="769">
                  <c:v>11.972622025309223</c:v>
                </c:pt>
                <c:pt idx="770">
                  <c:v>11.955088369854675</c:v>
                </c:pt>
                <c:pt idx="771">
                  <c:v>11.852348329320238</c:v>
                </c:pt>
                <c:pt idx="772">
                  <c:v>11.711866464913012</c:v>
                </c:pt>
                <c:pt idx="773">
                  <c:v>11.630765780621591</c:v>
                </c:pt>
                <c:pt idx="774">
                  <c:v>11.324066529238545</c:v>
                </c:pt>
                <c:pt idx="775">
                  <c:v>10.797030243032827</c:v>
                </c:pt>
                <c:pt idx="776">
                  <c:v>11.211857434271842</c:v>
                </c:pt>
                <c:pt idx="777">
                  <c:v>11.580850225869556</c:v>
                </c:pt>
                <c:pt idx="778">
                  <c:v>11.959510234849555</c:v>
                </c:pt>
                <c:pt idx="779">
                  <c:v>11.745383049884145</c:v>
                </c:pt>
                <c:pt idx="780">
                  <c:v>11.973918015573604</c:v>
                </c:pt>
                <c:pt idx="781">
                  <c:v>11.860491742243072</c:v>
                </c:pt>
                <c:pt idx="782">
                  <c:v>12.138141651777701</c:v>
                </c:pt>
                <c:pt idx="783">
                  <c:v>12.455945356039567</c:v>
                </c:pt>
                <c:pt idx="784">
                  <c:v>12.119187788118399</c:v>
                </c:pt>
                <c:pt idx="785">
                  <c:v>12.449437969126416</c:v>
                </c:pt>
                <c:pt idx="786">
                  <c:v>12.584610196311344</c:v>
                </c:pt>
                <c:pt idx="787">
                  <c:v>12.557408400905276</c:v>
                </c:pt>
                <c:pt idx="788">
                  <c:v>12.800143677354544</c:v>
                </c:pt>
                <c:pt idx="789">
                  <c:v>12.769800941751365</c:v>
                </c:pt>
                <c:pt idx="790">
                  <c:v>12.967022717683484</c:v>
                </c:pt>
                <c:pt idx="791">
                  <c:v>12.797090186498622</c:v>
                </c:pt>
                <c:pt idx="792">
                  <c:v>12.62004426463629</c:v>
                </c:pt>
                <c:pt idx="793">
                  <c:v>12.186717849939049</c:v>
                </c:pt>
                <c:pt idx="794">
                  <c:v>11.789777375960611</c:v>
                </c:pt>
                <c:pt idx="795">
                  <c:v>11.750079481267008</c:v>
                </c:pt>
                <c:pt idx="796">
                  <c:v>11.783682464059913</c:v>
                </c:pt>
                <c:pt idx="797">
                  <c:v>11.049730843968007</c:v>
                </c:pt>
                <c:pt idx="798">
                  <c:v>11.103535731789512</c:v>
                </c:pt>
                <c:pt idx="799">
                  <c:v>10.801447327456449</c:v>
                </c:pt>
                <c:pt idx="800">
                  <c:v>10.873832345822585</c:v>
                </c:pt>
                <c:pt idx="801">
                  <c:v>10.792717851435274</c:v>
                </c:pt>
                <c:pt idx="802">
                  <c:v>10.599772281223455</c:v>
                </c:pt>
                <c:pt idx="803">
                  <c:v>10.471910978433204</c:v>
                </c:pt>
                <c:pt idx="804">
                  <c:v>10.257657638558864</c:v>
                </c:pt>
                <c:pt idx="805">
                  <c:v>11.108089627492827</c:v>
                </c:pt>
                <c:pt idx="806">
                  <c:v>10.716836040205319</c:v>
                </c:pt>
                <c:pt idx="807">
                  <c:v>10.245772887828693</c:v>
                </c:pt>
                <c:pt idx="808">
                  <c:v>10.245772887828693</c:v>
                </c:pt>
                <c:pt idx="809">
                  <c:v>10.617757842840239</c:v>
                </c:pt>
                <c:pt idx="810">
                  <c:v>10.348191024100027</c:v>
                </c:pt>
                <c:pt idx="811">
                  <c:v>10.340690743730386</c:v>
                </c:pt>
                <c:pt idx="812">
                  <c:v>10.178916682416956</c:v>
                </c:pt>
                <c:pt idx="813">
                  <c:v>9.580631803128977</c:v>
                </c:pt>
                <c:pt idx="814">
                  <c:v>9.8459980784539844</c:v>
                </c:pt>
                <c:pt idx="815">
                  <c:v>10.219937692411905</c:v>
                </c:pt>
                <c:pt idx="816">
                  <c:v>10.20457413777436</c:v>
                </c:pt>
                <c:pt idx="817">
                  <c:v>10.212737145349429</c:v>
                </c:pt>
                <c:pt idx="818">
                  <c:v>9.9324731556901646</c:v>
                </c:pt>
                <c:pt idx="819">
                  <c:v>9.8459980784539844</c:v>
                </c:pt>
                <c:pt idx="820">
                  <c:v>9.4704015620841773</c:v>
                </c:pt>
                <c:pt idx="821">
                  <c:v>10.149514455290998</c:v>
                </c:pt>
                <c:pt idx="822">
                  <c:v>10.638036289276044</c:v>
                </c:pt>
                <c:pt idx="823">
                  <c:v>11.222155836076926</c:v>
                </c:pt>
                <c:pt idx="824">
                  <c:v>11.444016656811511</c:v>
                </c:pt>
                <c:pt idx="825">
                  <c:v>11.420137487345983</c:v>
                </c:pt>
                <c:pt idx="826">
                  <c:v>11.969741544564702</c:v>
                </c:pt>
                <c:pt idx="827">
                  <c:v>11.941620444921817</c:v>
                </c:pt>
                <c:pt idx="828">
                  <c:v>12.01129736405756</c:v>
                </c:pt>
                <c:pt idx="829">
                  <c:v>12.061194542544426</c:v>
                </c:pt>
                <c:pt idx="830">
                  <c:v>12.153472612867654</c:v>
                </c:pt>
                <c:pt idx="831">
                  <c:v>12.359788340262627</c:v>
                </c:pt>
                <c:pt idx="832">
                  <c:v>12.432807914694017</c:v>
                </c:pt>
                <c:pt idx="833">
                  <c:v>12.804632782304033</c:v>
                </c:pt>
                <c:pt idx="834">
                  <c:v>13.028880386968446</c:v>
                </c:pt>
                <c:pt idx="835">
                  <c:v>12.356579521504498</c:v>
                </c:pt>
                <c:pt idx="836">
                  <c:v>12.840354848822448</c:v>
                </c:pt>
                <c:pt idx="837">
                  <c:v>12.804857196239713</c:v>
                </c:pt>
                <c:pt idx="838">
                  <c:v>12.42767582602562</c:v>
                </c:pt>
                <c:pt idx="839">
                  <c:v>12.07333910901948</c:v>
                </c:pt>
                <c:pt idx="840">
                  <c:v>12.15531670249406</c:v>
                </c:pt>
                <c:pt idx="841">
                  <c:v>12.167461791054928</c:v>
                </c:pt>
                <c:pt idx="842">
                  <c:v>12.202129077459741</c:v>
                </c:pt>
                <c:pt idx="843">
                  <c:v>12.430450191124335</c:v>
                </c:pt>
                <c:pt idx="844">
                  <c:v>12.391552554568925</c:v>
                </c:pt>
                <c:pt idx="845">
                  <c:v>11.993341064318043</c:v>
                </c:pt>
                <c:pt idx="846">
                  <c:v>12.044982739522805</c:v>
                </c:pt>
                <c:pt idx="847">
                  <c:v>12.452253638986605</c:v>
                </c:pt>
                <c:pt idx="848">
                  <c:v>12.59761882261882</c:v>
                </c:pt>
                <c:pt idx="849">
                  <c:v>12.483736546439912</c:v>
                </c:pt>
                <c:pt idx="850">
                  <c:v>12.947107252467502</c:v>
                </c:pt>
                <c:pt idx="851">
                  <c:v>12.482125150624876</c:v>
                </c:pt>
                <c:pt idx="852">
                  <c:v>12.265267286496263</c:v>
                </c:pt>
                <c:pt idx="853">
                  <c:v>11.778657886584337</c:v>
                </c:pt>
                <c:pt idx="854">
                  <c:v>11.735396892729494</c:v>
                </c:pt>
                <c:pt idx="855">
                  <c:v>11.748514212737566</c:v>
                </c:pt>
                <c:pt idx="856">
                  <c:v>11.869791658786118</c:v>
                </c:pt>
                <c:pt idx="857">
                  <c:v>12.001724014088342</c:v>
                </c:pt>
                <c:pt idx="858">
                  <c:v>12.164391221639635</c:v>
                </c:pt>
                <c:pt idx="859">
                  <c:v>12.451099752932318</c:v>
                </c:pt>
                <c:pt idx="860">
                  <c:v>12.238247940112922</c:v>
                </c:pt>
                <c:pt idx="861">
                  <c:v>12.15058770632908</c:v>
                </c:pt>
                <c:pt idx="862">
                  <c:v>12.175724859821239</c:v>
                </c:pt>
                <c:pt idx="863">
                  <c:v>12.099396774172281</c:v>
                </c:pt>
                <c:pt idx="864">
                  <c:v>12.308113388022301</c:v>
                </c:pt>
                <c:pt idx="865">
                  <c:v>12.467705408811982</c:v>
                </c:pt>
                <c:pt idx="866">
                  <c:v>12.153992769040347</c:v>
                </c:pt>
                <c:pt idx="867">
                  <c:v>12.614942790563713</c:v>
                </c:pt>
                <c:pt idx="868">
                  <c:v>12.770340997616403</c:v>
                </c:pt>
                <c:pt idx="869">
                  <c:v>12.770340997616403</c:v>
                </c:pt>
                <c:pt idx="870">
                  <c:v>12.720198436968744</c:v>
                </c:pt>
                <c:pt idx="871">
                  <c:v>13.018510252536664</c:v>
                </c:pt>
                <c:pt idx="872">
                  <c:v>13.23878836001918</c:v>
                </c:pt>
                <c:pt idx="873">
                  <c:v>13.405951671921134</c:v>
                </c:pt>
                <c:pt idx="874">
                  <c:v>13.286454946955235</c:v>
                </c:pt>
                <c:pt idx="875">
                  <c:v>13.3020178229064</c:v>
                </c:pt>
                <c:pt idx="876">
                  <c:v>13.153558148045835</c:v>
                </c:pt>
                <c:pt idx="877">
                  <c:v>12.7489012373075</c:v>
                </c:pt>
                <c:pt idx="878">
                  <c:v>12.484703284097465</c:v>
                </c:pt>
                <c:pt idx="879">
                  <c:v>12.383758365874547</c:v>
                </c:pt>
                <c:pt idx="880">
                  <c:v>12.495332461896854</c:v>
                </c:pt>
                <c:pt idx="881">
                  <c:v>12.406153460205179</c:v>
                </c:pt>
                <c:pt idx="882">
                  <c:v>12.307786527048734</c:v>
                </c:pt>
                <c:pt idx="883">
                  <c:v>12.477289714544968</c:v>
                </c:pt>
                <c:pt idx="884">
                  <c:v>12.141124188135306</c:v>
                </c:pt>
                <c:pt idx="885">
                  <c:v>12.101866484711895</c:v>
                </c:pt>
                <c:pt idx="886">
                  <c:v>11.854530149165392</c:v>
                </c:pt>
                <c:pt idx="887">
                  <c:v>11.769285957696114</c:v>
                </c:pt>
                <c:pt idx="888">
                  <c:v>11.379756173781256</c:v>
                </c:pt>
                <c:pt idx="889">
                  <c:v>11.379756173781256</c:v>
                </c:pt>
                <c:pt idx="890">
                  <c:v>11.374755270829541</c:v>
                </c:pt>
                <c:pt idx="891">
                  <c:v>11.38642062777604</c:v>
                </c:pt>
                <c:pt idx="892">
                  <c:v>11.281609488174912</c:v>
                </c:pt>
                <c:pt idx="893">
                  <c:v>10.975468989534336</c:v>
                </c:pt>
                <c:pt idx="894">
                  <c:v>10.763710850091051</c:v>
                </c:pt>
                <c:pt idx="895">
                  <c:v>10.610177287348479</c:v>
                </c:pt>
                <c:pt idx="896">
                  <c:v>10.784674098103238</c:v>
                </c:pt>
                <c:pt idx="897">
                  <c:v>10.466641042504689</c:v>
                </c:pt>
                <c:pt idx="898">
                  <c:v>10.272438294083209</c:v>
                </c:pt>
                <c:pt idx="899">
                  <c:v>10.282727398828614</c:v>
                </c:pt>
                <c:pt idx="900">
                  <c:v>10.261858853367492</c:v>
                </c:pt>
                <c:pt idx="901">
                  <c:v>10.288035680387173</c:v>
                </c:pt>
                <c:pt idx="902">
                  <c:v>9.6502635304377353</c:v>
                </c:pt>
                <c:pt idx="903">
                  <c:v>9.8783404069409499</c:v>
                </c:pt>
                <c:pt idx="904">
                  <c:v>10.290269927091989</c:v>
                </c:pt>
                <c:pt idx="905">
                  <c:v>10.587837307522944</c:v>
                </c:pt>
                <c:pt idx="906">
                  <c:v>10.82122223109352</c:v>
                </c:pt>
                <c:pt idx="907">
                  <c:v>10.875734880705869</c:v>
                </c:pt>
                <c:pt idx="908">
                  <c:v>11.301307014230037</c:v>
                </c:pt>
                <c:pt idx="909">
                  <c:v>11.226815189996888</c:v>
                </c:pt>
                <c:pt idx="910">
                  <c:v>11.382836444280546</c:v>
                </c:pt>
                <c:pt idx="911">
                  <c:v>11.294439685796368</c:v>
                </c:pt>
                <c:pt idx="912">
                  <c:v>11.448836712477188</c:v>
                </c:pt>
                <c:pt idx="913">
                  <c:v>11.358525078284725</c:v>
                </c:pt>
                <c:pt idx="914">
                  <c:v>11.400544451608591</c:v>
                </c:pt>
                <c:pt idx="915">
                  <c:v>11.381018680544221</c:v>
                </c:pt>
                <c:pt idx="916">
                  <c:v>10.922085607748572</c:v>
                </c:pt>
                <c:pt idx="917">
                  <c:v>11.010966320461835</c:v>
                </c:pt>
                <c:pt idx="918">
                  <c:v>11.836044695040167</c:v>
                </c:pt>
                <c:pt idx="919">
                  <c:v>11.379756173781256</c:v>
                </c:pt>
                <c:pt idx="920">
                  <c:v>11.638669197535222</c:v>
                </c:pt>
                <c:pt idx="921">
                  <c:v>11.354729633834143</c:v>
                </c:pt>
                <c:pt idx="922">
                  <c:v>11.421345211347989</c:v>
                </c:pt>
                <c:pt idx="923">
                  <c:v>11.253045564768614</c:v>
                </c:pt>
                <c:pt idx="924">
                  <c:v>11.001358327837126</c:v>
                </c:pt>
                <c:pt idx="925">
                  <c:v>11.333451655907023</c:v>
                </c:pt>
                <c:pt idx="926">
                  <c:v>11.218621629432372</c:v>
                </c:pt>
                <c:pt idx="927">
                  <c:v>11.118794278468172</c:v>
                </c:pt>
                <c:pt idx="928">
                  <c:v>10.842074280904169</c:v>
                </c:pt>
                <c:pt idx="929">
                  <c:v>11.093956105419089</c:v>
                </c:pt>
                <c:pt idx="930">
                  <c:v>11.404576617134543</c:v>
                </c:pt>
                <c:pt idx="931">
                  <c:v>11.297644958538722</c:v>
                </c:pt>
                <c:pt idx="932">
                  <c:v>11.297644958538722</c:v>
                </c:pt>
                <c:pt idx="933">
                  <c:v>11.145846089798265</c:v>
                </c:pt>
                <c:pt idx="934">
                  <c:v>10.868122742867001</c:v>
                </c:pt>
                <c:pt idx="935">
                  <c:v>10.773797503372624</c:v>
                </c:pt>
                <c:pt idx="936">
                  <c:v>10.381293964040132</c:v>
                </c:pt>
                <c:pt idx="937">
                  <c:v>10.448835385799711</c:v>
                </c:pt>
                <c:pt idx="938">
                  <c:v>10.102065340212913</c:v>
                </c:pt>
                <c:pt idx="939">
                  <c:v>10.08355894114475</c:v>
                </c:pt>
                <c:pt idx="940">
                  <c:v>9.5373434215314852</c:v>
                </c:pt>
                <c:pt idx="941">
                  <c:v>9.620918301571697</c:v>
                </c:pt>
                <c:pt idx="942">
                  <c:v>9.4653026376861575</c:v>
                </c:pt>
                <c:pt idx="943">
                  <c:v>10.075576478758441</c:v>
                </c:pt>
                <c:pt idx="944">
                  <c:v>10.583276766977077</c:v>
                </c:pt>
                <c:pt idx="945">
                  <c:v>10.839529616124979</c:v>
                </c:pt>
                <c:pt idx="946">
                  <c:v>10.868334263132157</c:v>
                </c:pt>
                <c:pt idx="947">
                  <c:v>10.936651444916137</c:v>
                </c:pt>
                <c:pt idx="948">
                  <c:v>10.936651444916137</c:v>
                </c:pt>
                <c:pt idx="949">
                  <c:v>10.957388731631818</c:v>
                </c:pt>
                <c:pt idx="950">
                  <c:v>10.74944532116163</c:v>
                </c:pt>
                <c:pt idx="951">
                  <c:v>10.863891472719823</c:v>
                </c:pt>
                <c:pt idx="952">
                  <c:v>10.863891472719823</c:v>
                </c:pt>
                <c:pt idx="953">
                  <c:v>11.018479774983668</c:v>
                </c:pt>
                <c:pt idx="954">
                  <c:v>11.362825049407752</c:v>
                </c:pt>
                <c:pt idx="955">
                  <c:v>11.559143268575239</c:v>
                </c:pt>
                <c:pt idx="956">
                  <c:v>11.466543035954746</c:v>
                </c:pt>
                <c:pt idx="957">
                  <c:v>12.062147499465034</c:v>
                </c:pt>
                <c:pt idx="958">
                  <c:v>12.129568697262457</c:v>
                </c:pt>
                <c:pt idx="959">
                  <c:v>12.003878683503757</c:v>
                </c:pt>
                <c:pt idx="960">
                  <c:v>12.002681692692343</c:v>
                </c:pt>
                <c:pt idx="961">
                  <c:v>12.195910375410993</c:v>
                </c:pt>
                <c:pt idx="962">
                  <c:v>12.022201684106507</c:v>
                </c:pt>
                <c:pt idx="963">
                  <c:v>11.821663340576531</c:v>
                </c:pt>
                <c:pt idx="964">
                  <c:v>11.681796429320791</c:v>
                </c:pt>
                <c:pt idx="965">
                  <c:v>11.617911261021298</c:v>
                </c:pt>
                <c:pt idx="966">
                  <c:v>11.514159199392958</c:v>
                </c:pt>
                <c:pt idx="967">
                  <c:v>11.274475291713058</c:v>
                </c:pt>
                <c:pt idx="968">
                  <c:v>11.788168625373064</c:v>
                </c:pt>
                <c:pt idx="969">
                  <c:v>11.778072359505487</c:v>
                </c:pt>
                <c:pt idx="970">
                  <c:v>12.119899092937551</c:v>
                </c:pt>
                <c:pt idx="971">
                  <c:v>12.643475442471024</c:v>
                </c:pt>
                <c:pt idx="972">
                  <c:v>12.76349860154825</c:v>
                </c:pt>
                <c:pt idx="973">
                  <c:v>12.517987058628876</c:v>
                </c:pt>
                <c:pt idx="974">
                  <c:v>12.293770032386135</c:v>
                </c:pt>
                <c:pt idx="975">
                  <c:v>12.070863561752191</c:v>
                </c:pt>
                <c:pt idx="976">
                  <c:v>12.424900841436935</c:v>
                </c:pt>
                <c:pt idx="977">
                  <c:v>12.166894975026839</c:v>
                </c:pt>
                <c:pt idx="978">
                  <c:v>11.717949685315526</c:v>
                </c:pt>
                <c:pt idx="979">
                  <c:v>11.823218924942836</c:v>
                </c:pt>
                <c:pt idx="980">
                  <c:v>11.702293713666544</c:v>
                </c:pt>
                <c:pt idx="981">
                  <c:v>11.241804166571319</c:v>
                </c:pt>
                <c:pt idx="982">
                  <c:v>11.24563772385061</c:v>
                </c:pt>
                <c:pt idx="983">
                  <c:v>11.28807732322792</c:v>
                </c:pt>
                <c:pt idx="984">
                  <c:v>10.536417415517617</c:v>
                </c:pt>
                <c:pt idx="985">
                  <c:v>10.298755644061664</c:v>
                </c:pt>
                <c:pt idx="986">
                  <c:v>10.465542805172436</c:v>
                </c:pt>
                <c:pt idx="987">
                  <c:v>10.507577998868189</c:v>
                </c:pt>
                <c:pt idx="988">
                  <c:v>11.292149648236201</c:v>
                </c:pt>
                <c:pt idx="989">
                  <c:v>11.292149648236201</c:v>
                </c:pt>
                <c:pt idx="990">
                  <c:v>11.266928514946722</c:v>
                </c:pt>
                <c:pt idx="991">
                  <c:v>11.28160948817491</c:v>
                </c:pt>
                <c:pt idx="992">
                  <c:v>11.161510217924256</c:v>
                </c:pt>
                <c:pt idx="993">
                  <c:v>11.242417623580282</c:v>
                </c:pt>
                <c:pt idx="994">
                  <c:v>11.348249143400476</c:v>
                </c:pt>
                <c:pt idx="995">
                  <c:v>11.433164101827208</c:v>
                </c:pt>
                <c:pt idx="996">
                  <c:v>11.427733959463522</c:v>
                </c:pt>
                <c:pt idx="997">
                  <c:v>11.307407804813968</c:v>
                </c:pt>
                <c:pt idx="998">
                  <c:v>10.606872636476634</c:v>
                </c:pt>
                <c:pt idx="999">
                  <c:v>10.596518621535646</c:v>
                </c:pt>
                <c:pt idx="1000">
                  <c:v>10.331571967050552</c:v>
                </c:pt>
                <c:pt idx="1001">
                  <c:v>9.7183911444632436</c:v>
                </c:pt>
                <c:pt idx="1002">
                  <c:v>10.095862359482187</c:v>
                </c:pt>
                <c:pt idx="1003">
                  <c:v>10.257657638558866</c:v>
                </c:pt>
                <c:pt idx="1004">
                  <c:v>10.499534746123633</c:v>
                </c:pt>
                <c:pt idx="1005">
                  <c:v>10.94085457588093</c:v>
                </c:pt>
                <c:pt idx="1006">
                  <c:v>10.636577532702679</c:v>
                </c:pt>
                <c:pt idx="1007">
                  <c:v>10.575454121930532</c:v>
                </c:pt>
                <c:pt idx="1008">
                  <c:v>10.680092125824194</c:v>
                </c:pt>
                <c:pt idx="1009">
                  <c:v>10.431164623487584</c:v>
                </c:pt>
                <c:pt idx="1010">
                  <c:v>10.238309846148782</c:v>
                </c:pt>
                <c:pt idx="1011">
                  <c:v>10.206826654001116</c:v>
                </c:pt>
                <c:pt idx="1012">
                  <c:v>10.597169433391164</c:v>
                </c:pt>
                <c:pt idx="1013">
                  <c:v>10.697512870251449</c:v>
                </c:pt>
                <c:pt idx="1014">
                  <c:v>10.659624111895155</c:v>
                </c:pt>
                <c:pt idx="1015">
                  <c:v>10.676216988962068</c:v>
                </c:pt>
                <c:pt idx="1016">
                  <c:v>10.232301793829187</c:v>
                </c:pt>
                <c:pt idx="1017">
                  <c:v>10.177505057498241</c:v>
                </c:pt>
                <c:pt idx="1018">
                  <c:v>10.244202172981531</c:v>
                </c:pt>
                <c:pt idx="1019">
                  <c:v>10.271263338787135</c:v>
                </c:pt>
                <c:pt idx="1020">
                  <c:v>10.586045900906154</c:v>
                </c:pt>
                <c:pt idx="1021">
                  <c:v>10.974840610996665</c:v>
                </c:pt>
                <c:pt idx="1022">
                  <c:v>11.382028585126806</c:v>
                </c:pt>
                <c:pt idx="1023">
                  <c:v>11.426929274467318</c:v>
                </c:pt>
                <c:pt idx="1024">
                  <c:v>11.358525078284725</c:v>
                </c:pt>
                <c:pt idx="1025">
                  <c:v>11.053735000951685</c:v>
                </c:pt>
                <c:pt idx="1026">
                  <c:v>11.316552823898803</c:v>
                </c:pt>
                <c:pt idx="1027">
                  <c:v>11.692418213447588</c:v>
                </c:pt>
                <c:pt idx="1028">
                  <c:v>11.772215486953353</c:v>
                </c:pt>
                <c:pt idx="1029">
                  <c:v>11.902863559645647</c:v>
                </c:pt>
                <c:pt idx="1030">
                  <c:v>11.828467511819142</c:v>
                </c:pt>
                <c:pt idx="1031">
                  <c:v>12.10685186450076</c:v>
                </c:pt>
                <c:pt idx="1032">
                  <c:v>12.01703771327605</c:v>
                </c:pt>
                <c:pt idx="1033">
                  <c:v>12.13170066064689</c:v>
                </c:pt>
                <c:pt idx="1034">
                  <c:v>11.707940129201443</c:v>
                </c:pt>
                <c:pt idx="1035">
                  <c:v>11.285276747353956</c:v>
                </c:pt>
                <c:pt idx="1036">
                  <c:v>11.601080013139482</c:v>
                </c:pt>
                <c:pt idx="1037">
                  <c:v>11.796940963315617</c:v>
                </c:pt>
                <c:pt idx="1038">
                  <c:v>11.711130377237017</c:v>
                </c:pt>
                <c:pt idx="1039">
                  <c:v>11.829050544384751</c:v>
                </c:pt>
                <c:pt idx="1040">
                  <c:v>12.433917276971675</c:v>
                </c:pt>
                <c:pt idx="1041">
                  <c:v>13.131912520146546</c:v>
                </c:pt>
                <c:pt idx="1042">
                  <c:v>14.41188047586347</c:v>
                </c:pt>
                <c:pt idx="1043">
                  <c:v>15.181847902911109</c:v>
                </c:pt>
                <c:pt idx="1044">
                  <c:v>16.469721434739903</c:v>
                </c:pt>
                <c:pt idx="1045">
                  <c:v>16.967209755777517</c:v>
                </c:pt>
                <c:pt idx="1046">
                  <c:v>17.904118835183368</c:v>
                </c:pt>
                <c:pt idx="1047">
                  <c:v>18.10000952562142</c:v>
                </c:pt>
                <c:pt idx="1048">
                  <c:v>18.874692659444968</c:v>
                </c:pt>
                <c:pt idx="1049">
                  <c:v>19.277913036282811</c:v>
                </c:pt>
                <c:pt idx="1050">
                  <c:v>19.450615331696042</c:v>
                </c:pt>
                <c:pt idx="1051">
                  <c:v>19.672636927421827</c:v>
                </c:pt>
                <c:pt idx="1052">
                  <c:v>20.196847369779295</c:v>
                </c:pt>
                <c:pt idx="1053">
                  <c:v>19.745623696718564</c:v>
                </c:pt>
                <c:pt idx="1054">
                  <c:v>19.742276243239225</c:v>
                </c:pt>
                <c:pt idx="1055">
                  <c:v>19.702412478457159</c:v>
                </c:pt>
                <c:pt idx="1056">
                  <c:v>19.185003722076576</c:v>
                </c:pt>
                <c:pt idx="1057">
                  <c:v>19.315409844765504</c:v>
                </c:pt>
                <c:pt idx="1058">
                  <c:v>18.859096405750179</c:v>
                </c:pt>
                <c:pt idx="1059">
                  <c:v>19.159823865962668</c:v>
                </c:pt>
                <c:pt idx="1060">
                  <c:v>19.188867701825476</c:v>
                </c:pt>
                <c:pt idx="1061">
                  <c:v>18.27063468941413</c:v>
                </c:pt>
                <c:pt idx="1062">
                  <c:v>17.232554063174437</c:v>
                </c:pt>
                <c:pt idx="1063">
                  <c:v>15.680722479250255</c:v>
                </c:pt>
                <c:pt idx="1064">
                  <c:v>15.017996866595007</c:v>
                </c:pt>
                <c:pt idx="1065">
                  <c:v>14.129166052295275</c:v>
                </c:pt>
                <c:pt idx="1066">
                  <c:v>11.503922369568453</c:v>
                </c:pt>
                <c:pt idx="1067">
                  <c:v>11.185222188329513</c:v>
                </c:pt>
                <c:pt idx="1068">
                  <c:v>9.4873781851250225</c:v>
                </c:pt>
                <c:pt idx="1069">
                  <c:v>5.4021068686846316</c:v>
                </c:pt>
                <c:pt idx="1070">
                  <c:v>5.0946219107793578</c:v>
                </c:pt>
                <c:pt idx="1071">
                  <c:v>5.0153786485673981</c:v>
                </c:pt>
                <c:pt idx="1072">
                  <c:v>4.9989654102037751</c:v>
                </c:pt>
                <c:pt idx="1073">
                  <c:v>5.3943350447216973</c:v>
                </c:pt>
                <c:pt idx="1074">
                  <c:v>5.1702064255461435</c:v>
                </c:pt>
                <c:pt idx="1075">
                  <c:v>5.3588470195845623</c:v>
                </c:pt>
                <c:pt idx="1076">
                  <c:v>5.2506157274401044</c:v>
                </c:pt>
                <c:pt idx="1077">
                  <c:v>5.2832417773712494</c:v>
                </c:pt>
                <c:pt idx="1078">
                  <c:v>5.184415195520149</c:v>
                </c:pt>
                <c:pt idx="1079">
                  <c:v>5.1911728792315293</c:v>
                </c:pt>
                <c:pt idx="1080">
                  <c:v>5.0610071234338596</c:v>
                </c:pt>
                <c:pt idx="1081">
                  <c:v>5.0946219107793569</c:v>
                </c:pt>
                <c:pt idx="1082">
                  <c:v>5.0646396429206755</c:v>
                </c:pt>
                <c:pt idx="1083">
                  <c:v>5.1840826231531238</c:v>
                </c:pt>
                <c:pt idx="1084">
                  <c:v>5.016753541081524</c:v>
                </c:pt>
                <c:pt idx="1085">
                  <c:v>9.9290008294522938</c:v>
                </c:pt>
                <c:pt idx="1086">
                  <c:v>12.810914886528794</c:v>
                </c:pt>
                <c:pt idx="1087">
                  <c:v>15.613728118137782</c:v>
                </c:pt>
                <c:pt idx="1088">
                  <c:v>17.840577538200709</c:v>
                </c:pt>
                <c:pt idx="1089">
                  <c:v>18.587506618663262</c:v>
                </c:pt>
                <c:pt idx="1090">
                  <c:v>18.834548836780176</c:v>
                </c:pt>
                <c:pt idx="1091">
                  <c:v>20.37592110603936</c:v>
                </c:pt>
                <c:pt idx="1092">
                  <c:v>21.309541330684194</c:v>
                </c:pt>
                <c:pt idx="1093">
                  <c:v>21.35953850291413</c:v>
                </c:pt>
                <c:pt idx="1094">
                  <c:v>22.042513781170772</c:v>
                </c:pt>
                <c:pt idx="1095">
                  <c:v>22.996976312990068</c:v>
                </c:pt>
                <c:pt idx="1096">
                  <c:v>23.801405348250395</c:v>
                </c:pt>
                <c:pt idx="1097">
                  <c:v>23.927668781837681</c:v>
                </c:pt>
                <c:pt idx="1098">
                  <c:v>23.73612117166283</c:v>
                </c:pt>
                <c:pt idx="1099">
                  <c:v>23.778576274772441</c:v>
                </c:pt>
                <c:pt idx="1100">
                  <c:v>24.005650675785006</c:v>
                </c:pt>
                <c:pt idx="1101">
                  <c:v>23.414333953430258</c:v>
                </c:pt>
                <c:pt idx="1102">
                  <c:v>23.654991454017768</c:v>
                </c:pt>
                <c:pt idx="1103">
                  <c:v>23.601797126198008</c:v>
                </c:pt>
                <c:pt idx="1104">
                  <c:v>23.218007280319384</c:v>
                </c:pt>
                <c:pt idx="1105">
                  <c:v>22.464377931785037</c:v>
                </c:pt>
                <c:pt idx="1106">
                  <c:v>22.006817125609018</c:v>
                </c:pt>
                <c:pt idx="1107">
                  <c:v>21.123745966995617</c:v>
                </c:pt>
                <c:pt idx="1108">
                  <c:v>20.129151959799241</c:v>
                </c:pt>
                <c:pt idx="1109">
                  <c:v>19.241627526928628</c:v>
                </c:pt>
                <c:pt idx="1110">
                  <c:v>18.298577295365966</c:v>
                </c:pt>
                <c:pt idx="1111">
                  <c:v>16.857380115777659</c:v>
                </c:pt>
                <c:pt idx="1112">
                  <c:v>15.326185240397837</c:v>
                </c:pt>
                <c:pt idx="1113">
                  <c:v>12.987881177130639</c:v>
                </c:pt>
                <c:pt idx="1114">
                  <c:v>11.450292371913429</c:v>
                </c:pt>
                <c:pt idx="1115">
                  <c:v>11.401552626675482</c:v>
                </c:pt>
                <c:pt idx="1116">
                  <c:v>11.295202928473763</c:v>
                </c:pt>
                <c:pt idx="1117">
                  <c:v>10.967506867859793</c:v>
                </c:pt>
                <c:pt idx="1118">
                  <c:v>11.034741376279705</c:v>
                </c:pt>
                <c:pt idx="1119">
                  <c:v>11.338065273137699</c:v>
                </c:pt>
                <c:pt idx="1120">
                  <c:v>11.306035413955204</c:v>
                </c:pt>
                <c:pt idx="1121">
                  <c:v>11.354324711543724</c:v>
                </c:pt>
                <c:pt idx="1122">
                  <c:v>11.354324711543724</c:v>
                </c:pt>
                <c:pt idx="1123">
                  <c:v>11.880680734395805</c:v>
                </c:pt>
                <c:pt idx="1124">
                  <c:v>11.810963151864993</c:v>
                </c:pt>
                <c:pt idx="1125">
                  <c:v>11.362369835375985</c:v>
                </c:pt>
                <c:pt idx="1126">
                  <c:v>10.944005864756109</c:v>
                </c:pt>
                <c:pt idx="1127">
                  <c:v>11.10291460129628</c:v>
                </c:pt>
                <c:pt idx="1128">
                  <c:v>11.157441720534617</c:v>
                </c:pt>
                <c:pt idx="1129">
                  <c:v>11.557751044013809</c:v>
                </c:pt>
                <c:pt idx="1130">
                  <c:v>11.382634484867374</c:v>
                </c:pt>
                <c:pt idx="1131">
                  <c:v>11.382634484867374</c:v>
                </c:pt>
                <c:pt idx="1132">
                  <c:v>11.171031913972339</c:v>
                </c:pt>
                <c:pt idx="1133">
                  <c:v>11.150021906065795</c:v>
                </c:pt>
                <c:pt idx="1134">
                  <c:v>11.137799365792313</c:v>
                </c:pt>
                <c:pt idx="1135">
                  <c:v>11.060751777571788</c:v>
                </c:pt>
                <c:pt idx="1136">
                  <c:v>11.34637518703914</c:v>
                </c:pt>
                <c:pt idx="1137">
                  <c:v>11.363836570859132</c:v>
                </c:pt>
                <c:pt idx="1138">
                  <c:v>11.511313775046974</c:v>
                </c:pt>
                <c:pt idx="1139">
                  <c:v>11.49192620129854</c:v>
                </c:pt>
                <c:pt idx="1140">
                  <c:v>11.64987297054715</c:v>
                </c:pt>
                <c:pt idx="1141">
                  <c:v>11.952203663500431</c:v>
                </c:pt>
                <c:pt idx="1142">
                  <c:v>11.955328730631846</c:v>
                </c:pt>
                <c:pt idx="1143">
                  <c:v>11.981978805354064</c:v>
                </c:pt>
                <c:pt idx="1144">
                  <c:v>11.319599521773434</c:v>
                </c:pt>
                <c:pt idx="1145">
                  <c:v>11.517552821172812</c:v>
                </c:pt>
                <c:pt idx="1146">
                  <c:v>12.076432829484768</c:v>
                </c:pt>
                <c:pt idx="1147">
                  <c:v>12.072767873935582</c:v>
                </c:pt>
                <c:pt idx="1148">
                  <c:v>11.689468685997644</c:v>
                </c:pt>
                <c:pt idx="1149">
                  <c:v>11.372683545869146</c:v>
                </c:pt>
                <c:pt idx="1150">
                  <c:v>11.589184414888688</c:v>
                </c:pt>
                <c:pt idx="1151">
                  <c:v>11.889529828392284</c:v>
                </c:pt>
                <c:pt idx="1152">
                  <c:v>11.889529828392284</c:v>
                </c:pt>
                <c:pt idx="1153">
                  <c:v>11.044528473203476</c:v>
                </c:pt>
                <c:pt idx="1154">
                  <c:v>11.076328700037047</c:v>
                </c:pt>
                <c:pt idx="1155">
                  <c:v>11.126699792654696</c:v>
                </c:pt>
                <c:pt idx="1156">
                  <c:v>11.028906637069486</c:v>
                </c:pt>
                <c:pt idx="1157">
                  <c:v>11.123600260644961</c:v>
                </c:pt>
                <c:pt idx="1158">
                  <c:v>11.51755282117281</c:v>
                </c:pt>
                <c:pt idx="1159">
                  <c:v>10.744471981485155</c:v>
                </c:pt>
                <c:pt idx="1160">
                  <c:v>10.99053929627607</c:v>
                </c:pt>
                <c:pt idx="1161">
                  <c:v>11.187225884396263</c:v>
                </c:pt>
                <c:pt idx="1162">
                  <c:v>11.121533426067037</c:v>
                </c:pt>
                <c:pt idx="1163">
                  <c:v>11.298458851267863</c:v>
                </c:pt>
                <c:pt idx="1164">
                  <c:v>12.046843436419733</c:v>
                </c:pt>
                <c:pt idx="1165">
                  <c:v>12.14760749349813</c:v>
                </c:pt>
                <c:pt idx="1166">
                  <c:v>12.229087239554868</c:v>
                </c:pt>
                <c:pt idx="1167">
                  <c:v>12.378188083475102</c:v>
                </c:pt>
                <c:pt idx="1168">
                  <c:v>12.279363119506225</c:v>
                </c:pt>
                <c:pt idx="1169">
                  <c:v>12.389326143856678</c:v>
                </c:pt>
                <c:pt idx="1170">
                  <c:v>12.408237901333612</c:v>
                </c:pt>
                <c:pt idx="1171">
                  <c:v>12.629285434050205</c:v>
                </c:pt>
                <c:pt idx="1172">
                  <c:v>12.629285434050203</c:v>
                </c:pt>
                <c:pt idx="1173">
                  <c:v>12.604551267049461</c:v>
                </c:pt>
                <c:pt idx="1174">
                  <c:v>12.747097934319266</c:v>
                </c:pt>
                <c:pt idx="1175">
                  <c:v>12.513395121679183</c:v>
                </c:pt>
                <c:pt idx="1176">
                  <c:v>12.414489124804334</c:v>
                </c:pt>
                <c:pt idx="1177">
                  <c:v>12.396885037003839</c:v>
                </c:pt>
                <c:pt idx="1178">
                  <c:v>12.408932637233642</c:v>
                </c:pt>
                <c:pt idx="1179">
                  <c:v>12.74615109811946</c:v>
                </c:pt>
                <c:pt idx="1180">
                  <c:v>12.656559791156777</c:v>
                </c:pt>
                <c:pt idx="1181">
                  <c:v>12.313388657468954</c:v>
                </c:pt>
                <c:pt idx="1182">
                  <c:v>12.518675703895774</c:v>
                </c:pt>
                <c:pt idx="1183">
                  <c:v>12.542158790512772</c:v>
                </c:pt>
                <c:pt idx="1184">
                  <c:v>12.433223937147773</c:v>
                </c:pt>
                <c:pt idx="1185">
                  <c:v>12.507652829781646</c:v>
                </c:pt>
                <c:pt idx="1186">
                  <c:v>12.578991791187345</c:v>
                </c:pt>
                <c:pt idx="1187">
                  <c:v>12.51119039330276</c:v>
                </c:pt>
                <c:pt idx="1188">
                  <c:v>12.029656839584449</c:v>
                </c:pt>
                <c:pt idx="1189">
                  <c:v>12.20650853334862</c:v>
                </c:pt>
                <c:pt idx="1190">
                  <c:v>11.880100235654387</c:v>
                </c:pt>
                <c:pt idx="1191">
                  <c:v>12.056428628095794</c:v>
                </c:pt>
                <c:pt idx="1192">
                  <c:v>12.041546851410441</c:v>
                </c:pt>
                <c:pt idx="1193">
                  <c:v>12.317868527365896</c:v>
                </c:pt>
                <c:pt idx="1194">
                  <c:v>12.375541321029386</c:v>
                </c:pt>
                <c:pt idx="1195">
                  <c:v>12.424484540291965</c:v>
                </c:pt>
                <c:pt idx="1196">
                  <c:v>12.444312738766648</c:v>
                </c:pt>
                <c:pt idx="1197">
                  <c:v>12.532303088006417</c:v>
                </c:pt>
                <c:pt idx="1198">
                  <c:v>12.356067893674892</c:v>
                </c:pt>
                <c:pt idx="1199">
                  <c:v>12.352299799827868</c:v>
                </c:pt>
                <c:pt idx="1200">
                  <c:v>12.653153711647334</c:v>
                </c:pt>
                <c:pt idx="1201">
                  <c:v>12.267563060701006</c:v>
                </c:pt>
                <c:pt idx="1202">
                  <c:v>12.170437142103196</c:v>
                </c:pt>
                <c:pt idx="1203">
                  <c:v>12.101534053035655</c:v>
                </c:pt>
                <c:pt idx="1204">
                  <c:v>12.136010819898345</c:v>
                </c:pt>
                <c:pt idx="1205">
                  <c:v>12.085186144115905</c:v>
                </c:pt>
                <c:pt idx="1206">
                  <c:v>11.689911162558325</c:v>
                </c:pt>
                <c:pt idx="1207">
                  <c:v>12.245055300420036</c:v>
                </c:pt>
                <c:pt idx="1208">
                  <c:v>12.617448236470004</c:v>
                </c:pt>
                <c:pt idx="1209">
                  <c:v>12.792598434745134</c:v>
                </c:pt>
                <c:pt idx="1210">
                  <c:v>12.389326143856678</c:v>
                </c:pt>
                <c:pt idx="1211">
                  <c:v>12.423374335705155</c:v>
                </c:pt>
                <c:pt idx="1212">
                  <c:v>12.423374335705153</c:v>
                </c:pt>
                <c:pt idx="1213">
                  <c:v>13.008573653777232</c:v>
                </c:pt>
                <c:pt idx="1214">
                  <c:v>13.043913452676676</c:v>
                </c:pt>
                <c:pt idx="1215">
                  <c:v>13.376983148711801</c:v>
                </c:pt>
                <c:pt idx="1216">
                  <c:v>13.624901138521437</c:v>
                </c:pt>
                <c:pt idx="1217">
                  <c:v>13.570124386388983</c:v>
                </c:pt>
                <c:pt idx="1218">
                  <c:v>13.745803957454855</c:v>
                </c:pt>
                <c:pt idx="1219">
                  <c:v>14.021371208790981</c:v>
                </c:pt>
                <c:pt idx="1220">
                  <c:v>14.014114395810056</c:v>
                </c:pt>
                <c:pt idx="1221">
                  <c:v>13.78825920680428</c:v>
                </c:pt>
                <c:pt idx="1222">
                  <c:v>13.900963333855513</c:v>
                </c:pt>
                <c:pt idx="1223">
                  <c:v>13.602569060933719</c:v>
                </c:pt>
                <c:pt idx="1224">
                  <c:v>13.354408631049804</c:v>
                </c:pt>
                <c:pt idx="1225">
                  <c:v>13.200661773728157</c:v>
                </c:pt>
                <c:pt idx="1226">
                  <c:v>13.019702134771014</c:v>
                </c:pt>
                <c:pt idx="1227">
                  <c:v>13.148313995320471</c:v>
                </c:pt>
                <c:pt idx="1228">
                  <c:v>13.635863801358365</c:v>
                </c:pt>
                <c:pt idx="1229">
                  <c:v>13.629076422778288</c:v>
                </c:pt>
                <c:pt idx="1230">
                  <c:v>13.335157921134988</c:v>
                </c:pt>
                <c:pt idx="1231">
                  <c:v>13.802423575290106</c:v>
                </c:pt>
                <c:pt idx="1232">
                  <c:v>13.937009359437823</c:v>
                </c:pt>
                <c:pt idx="1233">
                  <c:v>14.4897903017437</c:v>
                </c:pt>
                <c:pt idx="1234">
                  <c:v>14.632038536175948</c:v>
                </c:pt>
                <c:pt idx="1235">
                  <c:v>15.285068967241635</c:v>
                </c:pt>
                <c:pt idx="1236">
                  <c:v>16.396698574345113</c:v>
                </c:pt>
                <c:pt idx="1237">
                  <c:v>16.83947196594816</c:v>
                </c:pt>
                <c:pt idx="1238">
                  <c:v>17.537644240810721</c:v>
                </c:pt>
                <c:pt idx="1239">
                  <c:v>17.798488893626665</c:v>
                </c:pt>
                <c:pt idx="1240">
                  <c:v>17.899335375833139</c:v>
                </c:pt>
                <c:pt idx="1241">
                  <c:v>18.194226695781037</c:v>
                </c:pt>
                <c:pt idx="1242">
                  <c:v>17.83590592680633</c:v>
                </c:pt>
                <c:pt idx="1243">
                  <c:v>17.088007490635061</c:v>
                </c:pt>
                <c:pt idx="1244">
                  <c:v>17.221878627149707</c:v>
                </c:pt>
                <c:pt idx="1245">
                  <c:v>16.949417648423491</c:v>
                </c:pt>
                <c:pt idx="1246">
                  <c:v>17.191985569331191</c:v>
                </c:pt>
                <c:pt idx="1247">
                  <c:v>17.44050642521071</c:v>
                </c:pt>
                <c:pt idx="1248">
                  <c:v>17.765425545918855</c:v>
                </c:pt>
                <c:pt idx="1249">
                  <c:v>16.9707320739689</c:v>
                </c:pt>
                <c:pt idx="1250">
                  <c:v>17.055049476435951</c:v>
                </c:pt>
                <c:pt idx="1251">
                  <c:v>17.17727046680162</c:v>
                </c:pt>
                <c:pt idx="1252">
                  <c:v>17.139052670342711</c:v>
                </c:pt>
                <c:pt idx="1253">
                  <c:v>16.909495394090229</c:v>
                </c:pt>
                <c:pt idx="1254">
                  <c:v>16.196388131486202</c:v>
                </c:pt>
                <c:pt idx="1255">
                  <c:v>15.681492129331916</c:v>
                </c:pt>
                <c:pt idx="1256">
                  <c:v>15.755458824122536</c:v>
                </c:pt>
                <c:pt idx="1257">
                  <c:v>15.696437841737856</c:v>
                </c:pt>
                <c:pt idx="1258">
                  <c:v>13.660750050931428</c:v>
                </c:pt>
                <c:pt idx="1259">
                  <c:v>12.833146736962599</c:v>
                </c:pt>
                <c:pt idx="1260">
                  <c:v>12.811453209270731</c:v>
                </c:pt>
                <c:pt idx="1261">
                  <c:v>9.5402354244548402</c:v>
                </c:pt>
                <c:pt idx="1262">
                  <c:v>6.1704710228375728</c:v>
                </c:pt>
                <c:pt idx="1263">
                  <c:v>6.3417065037188811</c:v>
                </c:pt>
                <c:pt idx="1264">
                  <c:v>6.1495724550012705</c:v>
                </c:pt>
                <c:pt idx="1265">
                  <c:v>6.2968702315232505</c:v>
                </c:pt>
                <c:pt idx="1266">
                  <c:v>6.2333917263230854</c:v>
                </c:pt>
                <c:pt idx="1267">
                  <c:v>6.0077536108162644</c:v>
                </c:pt>
                <c:pt idx="1268">
                  <c:v>5.9302458711215351</c:v>
                </c:pt>
                <c:pt idx="1269">
                  <c:v>5.9566441219366375</c:v>
                </c:pt>
                <c:pt idx="1270">
                  <c:v>5.691392977381593</c:v>
                </c:pt>
                <c:pt idx="1271">
                  <c:v>5.9427343836001114</c:v>
                </c:pt>
                <c:pt idx="1272">
                  <c:v>6.1053020108491056</c:v>
                </c:pt>
                <c:pt idx="1273">
                  <c:v>6.2922137617048985</c:v>
                </c:pt>
                <c:pt idx="1274">
                  <c:v>6.1950109700903857</c:v>
                </c:pt>
                <c:pt idx="1275">
                  <c:v>6.0819121312638025</c:v>
                </c:pt>
                <c:pt idx="1276">
                  <c:v>6.2950445754495297</c:v>
                </c:pt>
                <c:pt idx="1277">
                  <c:v>6.6405234525704318</c:v>
                </c:pt>
                <c:pt idx="1278">
                  <c:v>9.719100757798012</c:v>
                </c:pt>
                <c:pt idx="1279">
                  <c:v>10.118209373181612</c:v>
                </c:pt>
                <c:pt idx="1280">
                  <c:v>10.366834828809422</c:v>
                </c:pt>
                <c:pt idx="1281">
                  <c:v>10.441077145296024</c:v>
                </c:pt>
                <c:pt idx="1282">
                  <c:v>13.147308627165145</c:v>
                </c:pt>
                <c:pt idx="1283">
                  <c:v>14.858296184867275</c:v>
                </c:pt>
                <c:pt idx="1284">
                  <c:v>14.772956030702098</c:v>
                </c:pt>
                <c:pt idx="1285">
                  <c:v>14.810837908107356</c:v>
                </c:pt>
                <c:pt idx="1286">
                  <c:v>16.078435618990518</c:v>
                </c:pt>
                <c:pt idx="1287">
                  <c:v>16.459773325627374</c:v>
                </c:pt>
                <c:pt idx="1288">
                  <c:v>17.531056187077912</c:v>
                </c:pt>
                <c:pt idx="1289">
                  <c:v>17.405772592454202</c:v>
                </c:pt>
                <c:pt idx="1290">
                  <c:v>17.261477940479349</c:v>
                </c:pt>
                <c:pt idx="1291">
                  <c:v>16.980211606658397</c:v>
                </c:pt>
                <c:pt idx="1292">
                  <c:v>17.064987345540235</c:v>
                </c:pt>
                <c:pt idx="1293">
                  <c:v>17.064751598732304</c:v>
                </c:pt>
                <c:pt idx="1294">
                  <c:v>17.228051170298883</c:v>
                </c:pt>
                <c:pt idx="1295">
                  <c:v>16.71134242115939</c:v>
                </c:pt>
                <c:pt idx="1296">
                  <c:v>16.287256142262827</c:v>
                </c:pt>
                <c:pt idx="1297">
                  <c:v>16.162963197085638</c:v>
                </c:pt>
                <c:pt idx="1298">
                  <c:v>15.873638958761266</c:v>
                </c:pt>
                <c:pt idx="1299">
                  <c:v>15.557679110662518</c:v>
                </c:pt>
                <c:pt idx="1300">
                  <c:v>14.995823173259884</c:v>
                </c:pt>
                <c:pt idx="1301">
                  <c:v>14.975689111617404</c:v>
                </c:pt>
                <c:pt idx="1302">
                  <c:v>14.031204960504216</c:v>
                </c:pt>
                <c:pt idx="1303">
                  <c:v>12.830683410544008</c:v>
                </c:pt>
                <c:pt idx="1304">
                  <c:v>12.57620449659713</c:v>
                </c:pt>
                <c:pt idx="1305">
                  <c:v>11.579262081187538</c:v>
                </c:pt>
                <c:pt idx="1306">
                  <c:v>11.088774483243398</c:v>
                </c:pt>
                <c:pt idx="1307">
                  <c:v>10.707393513926208</c:v>
                </c:pt>
                <c:pt idx="1308">
                  <c:v>11.242570982602269</c:v>
                </c:pt>
                <c:pt idx="1309">
                  <c:v>11.530868117372165</c:v>
                </c:pt>
                <c:pt idx="1310">
                  <c:v>11.306797873886291</c:v>
                </c:pt>
                <c:pt idx="1311">
                  <c:v>11.34764140767769</c:v>
                </c:pt>
                <c:pt idx="1312">
                  <c:v>11.257743184546154</c:v>
                </c:pt>
                <c:pt idx="1313">
                  <c:v>11.300289895579578</c:v>
                </c:pt>
                <c:pt idx="1314">
                  <c:v>11.488324908157947</c:v>
                </c:pt>
                <c:pt idx="1315">
                  <c:v>11.183988966169553</c:v>
                </c:pt>
                <c:pt idx="1316">
                  <c:v>10.944163405380888</c:v>
                </c:pt>
                <c:pt idx="1317">
                  <c:v>11.088204356976334</c:v>
                </c:pt>
                <c:pt idx="1318">
                  <c:v>10.997439618425716</c:v>
                </c:pt>
                <c:pt idx="1319">
                  <c:v>11.604052007316485</c:v>
                </c:pt>
                <c:pt idx="1320">
                  <c:v>11.704405300923062</c:v>
                </c:pt>
                <c:pt idx="1321">
                  <c:v>11.455260298471927</c:v>
                </c:pt>
                <c:pt idx="1322">
                  <c:v>11.531316679712516</c:v>
                </c:pt>
                <c:pt idx="1323">
                  <c:v>11.340346038629599</c:v>
                </c:pt>
                <c:pt idx="1324">
                  <c:v>11.686961002384852</c:v>
                </c:pt>
                <c:pt idx="1325">
                  <c:v>11.292149648236199</c:v>
                </c:pt>
                <c:pt idx="1326">
                  <c:v>11.127267946536698</c:v>
                </c:pt>
                <c:pt idx="1327">
                  <c:v>11.23628154633488</c:v>
                </c:pt>
                <c:pt idx="1328">
                  <c:v>11.228504368117225</c:v>
                </c:pt>
                <c:pt idx="1329">
                  <c:v>11.735396892729495</c:v>
                </c:pt>
                <c:pt idx="1330">
                  <c:v>11.683567397265135</c:v>
                </c:pt>
                <c:pt idx="1331">
                  <c:v>11.812179570549059</c:v>
                </c:pt>
                <c:pt idx="1332">
                  <c:v>12.098684263982603</c:v>
                </c:pt>
                <c:pt idx="1333">
                  <c:v>12.252890815368156</c:v>
                </c:pt>
                <c:pt idx="1334">
                  <c:v>12.572959490304086</c:v>
                </c:pt>
                <c:pt idx="1335">
                  <c:v>12.708219803525299</c:v>
                </c:pt>
                <c:pt idx="1336">
                  <c:v>12.864501634297792</c:v>
                </c:pt>
                <c:pt idx="1337">
                  <c:v>12.86628848232251</c:v>
                </c:pt>
                <c:pt idx="1338">
                  <c:v>12.742768965948502</c:v>
                </c:pt>
                <c:pt idx="1339">
                  <c:v>12.823335409887816</c:v>
                </c:pt>
                <c:pt idx="1340">
                  <c:v>13.044089690816641</c:v>
                </c:pt>
                <c:pt idx="1341">
                  <c:v>12.829787538219877</c:v>
                </c:pt>
                <c:pt idx="1342">
                  <c:v>12.42892436695711</c:v>
                </c:pt>
                <c:pt idx="1343">
                  <c:v>12.462772149693359</c:v>
                </c:pt>
                <c:pt idx="1344">
                  <c:v>11.871002049328963</c:v>
                </c:pt>
                <c:pt idx="1345">
                  <c:v>12.242943076418095</c:v>
                </c:pt>
                <c:pt idx="1346">
                  <c:v>12.150445808007758</c:v>
                </c:pt>
                <c:pt idx="1347">
                  <c:v>12.190112820425931</c:v>
                </c:pt>
                <c:pt idx="1348">
                  <c:v>12.456821978060995</c:v>
                </c:pt>
                <c:pt idx="1349">
                  <c:v>11.987589367782611</c:v>
                </c:pt>
                <c:pt idx="1350">
                  <c:v>11.909814362991538</c:v>
                </c:pt>
                <c:pt idx="1351">
                  <c:v>11.879858352807016</c:v>
                </c:pt>
                <c:pt idx="1352">
                  <c:v>12.294330998986633</c:v>
                </c:pt>
                <c:pt idx="1353">
                  <c:v>12.74308466959832</c:v>
                </c:pt>
                <c:pt idx="1354">
                  <c:v>12.627692611465294</c:v>
                </c:pt>
                <c:pt idx="1355">
                  <c:v>12.596113248360274</c:v>
                </c:pt>
                <c:pt idx="1356">
                  <c:v>13.046336518414821</c:v>
                </c:pt>
                <c:pt idx="1357">
                  <c:v>13.249333099677392</c:v>
                </c:pt>
                <c:pt idx="1358">
                  <c:v>12.856234231713795</c:v>
                </c:pt>
                <c:pt idx="1359">
                  <c:v>12.485393765166735</c:v>
                </c:pt>
                <c:pt idx="1360">
                  <c:v>12.924582298326198</c:v>
                </c:pt>
                <c:pt idx="1361">
                  <c:v>12.832430181684844</c:v>
                </c:pt>
                <c:pt idx="1362">
                  <c:v>12.495516437285927</c:v>
                </c:pt>
                <c:pt idx="1363">
                  <c:v>12.692879712748359</c:v>
                </c:pt>
                <c:pt idx="1364">
                  <c:v>12.335399019306882</c:v>
                </c:pt>
                <c:pt idx="1365">
                  <c:v>12.163635270284361</c:v>
                </c:pt>
                <c:pt idx="1366">
                  <c:v>11.985431769971562</c:v>
                </c:pt>
                <c:pt idx="1367">
                  <c:v>12.543441753939897</c:v>
                </c:pt>
                <c:pt idx="1368">
                  <c:v>12.437845472588894</c:v>
                </c:pt>
                <c:pt idx="1369">
                  <c:v>12.506779770583835</c:v>
                </c:pt>
                <c:pt idx="1370">
                  <c:v>12.611844460254622</c:v>
                </c:pt>
                <c:pt idx="1371">
                  <c:v>12.779113706608793</c:v>
                </c:pt>
                <c:pt idx="1372">
                  <c:v>13.169321716882713</c:v>
                </c:pt>
                <c:pt idx="1373">
                  <c:v>12.951900406424187</c:v>
                </c:pt>
                <c:pt idx="1374">
                  <c:v>13.135194453579032</c:v>
                </c:pt>
                <c:pt idx="1375">
                  <c:v>12.846395800280764</c:v>
                </c:pt>
                <c:pt idx="1376">
                  <c:v>13.295967757959165</c:v>
                </c:pt>
                <c:pt idx="1377">
                  <c:v>13.281912339806301</c:v>
                </c:pt>
                <c:pt idx="1378">
                  <c:v>13.233577982046144</c:v>
                </c:pt>
                <c:pt idx="1379">
                  <c:v>13.351309720936287</c:v>
                </c:pt>
                <c:pt idx="1380">
                  <c:v>13.482896786192738</c:v>
                </c:pt>
                <c:pt idx="1381">
                  <c:v>13.489928128775938</c:v>
                </c:pt>
                <c:pt idx="1382">
                  <c:v>13.427069929681297</c:v>
                </c:pt>
                <c:pt idx="1383">
                  <c:v>13.174383014626983</c:v>
                </c:pt>
                <c:pt idx="1384">
                  <c:v>13.019702134771013</c:v>
                </c:pt>
                <c:pt idx="1385">
                  <c:v>12.949104615564258</c:v>
                </c:pt>
                <c:pt idx="1386">
                  <c:v>12.664049941450017</c:v>
                </c:pt>
                <c:pt idx="1387">
                  <c:v>12.437660644142474</c:v>
                </c:pt>
                <c:pt idx="1388">
                  <c:v>12.672896229772206</c:v>
                </c:pt>
                <c:pt idx="1389">
                  <c:v>12.587212997104748</c:v>
                </c:pt>
                <c:pt idx="1390">
                  <c:v>12.321413935880507</c:v>
                </c:pt>
                <c:pt idx="1391">
                  <c:v>12.535971231326421</c:v>
                </c:pt>
                <c:pt idx="1392">
                  <c:v>12.938803796261881</c:v>
                </c:pt>
                <c:pt idx="1393">
                  <c:v>12.585523521047927</c:v>
                </c:pt>
                <c:pt idx="1394">
                  <c:v>12.494090557162401</c:v>
                </c:pt>
                <c:pt idx="1395">
                  <c:v>12.656423565575874</c:v>
                </c:pt>
                <c:pt idx="1396">
                  <c:v>12.7757403006591</c:v>
                </c:pt>
                <c:pt idx="1397">
                  <c:v>12.442973366800096</c:v>
                </c:pt>
                <c:pt idx="1398">
                  <c:v>12.64115701091924</c:v>
                </c:pt>
                <c:pt idx="1399">
                  <c:v>12.172137016162358</c:v>
                </c:pt>
                <c:pt idx="1400">
                  <c:v>12.228147292492698</c:v>
                </c:pt>
                <c:pt idx="1401">
                  <c:v>12.01072317824234</c:v>
                </c:pt>
                <c:pt idx="1402">
                  <c:v>11.612715979209735</c:v>
                </c:pt>
                <c:pt idx="1403">
                  <c:v>11.59944509176114</c:v>
                </c:pt>
                <c:pt idx="1404">
                  <c:v>11.712308095313245</c:v>
                </c:pt>
                <c:pt idx="1405">
                  <c:v>11.699346675933583</c:v>
                </c:pt>
                <c:pt idx="1406">
                  <c:v>11.048274427080997</c:v>
                </c:pt>
                <c:pt idx="1407">
                  <c:v>11.031616006920197</c:v>
                </c:pt>
                <c:pt idx="1408">
                  <c:v>10.697996374872334</c:v>
                </c:pt>
                <c:pt idx="1409">
                  <c:v>10.973793233473758</c:v>
                </c:pt>
                <c:pt idx="1410">
                  <c:v>10.97379323347376</c:v>
                </c:pt>
                <c:pt idx="1411">
                  <c:v>11.59488591191586</c:v>
                </c:pt>
                <c:pt idx="1412">
                  <c:v>11.365657082612524</c:v>
                </c:pt>
                <c:pt idx="1413">
                  <c:v>11.340143322494326</c:v>
                </c:pt>
                <c:pt idx="1414">
                  <c:v>11.142184519297325</c:v>
                </c:pt>
                <c:pt idx="1415">
                  <c:v>11.33000289131655</c:v>
                </c:pt>
                <c:pt idx="1416">
                  <c:v>11.552230217083874</c:v>
                </c:pt>
                <c:pt idx="1417">
                  <c:v>11.672199016683079</c:v>
                </c:pt>
                <c:pt idx="1418">
                  <c:v>11.416664569175074</c:v>
                </c:pt>
                <c:pt idx="1419">
                  <c:v>11.55118543948937</c:v>
                </c:pt>
                <c:pt idx="1420">
                  <c:v>11.445071217446127</c:v>
                </c:pt>
                <c:pt idx="1421">
                  <c:v>11.419684557915726</c:v>
                </c:pt>
                <c:pt idx="1422">
                  <c:v>11.347438821870419</c:v>
                </c:pt>
                <c:pt idx="1423">
                  <c:v>11.342575677001488</c:v>
                </c:pt>
                <c:pt idx="1424">
                  <c:v>11.703668743986457</c:v>
                </c:pt>
                <c:pt idx="1425">
                  <c:v>11.69345037228941</c:v>
                </c:pt>
                <c:pt idx="1426">
                  <c:v>12.018185454102269</c:v>
                </c:pt>
                <c:pt idx="1427">
                  <c:v>11.905953306557651</c:v>
                </c:pt>
                <c:pt idx="1428">
                  <c:v>11.658009924609722</c:v>
                </c:pt>
                <c:pt idx="1429">
                  <c:v>11.658009924609722</c:v>
                </c:pt>
                <c:pt idx="1430">
                  <c:v>11.839977089135955</c:v>
                </c:pt>
                <c:pt idx="1431">
                  <c:v>11.7624475520103</c:v>
                </c:pt>
                <c:pt idx="1432">
                  <c:v>11.710885004396845</c:v>
                </c:pt>
                <c:pt idx="1433">
                  <c:v>12.046127817780237</c:v>
                </c:pt>
                <c:pt idx="1434">
                  <c:v>11.927751857236805</c:v>
                </c:pt>
                <c:pt idx="1435">
                  <c:v>11.950280139072005</c:v>
                </c:pt>
                <c:pt idx="1436">
                  <c:v>12.372383039211384</c:v>
                </c:pt>
                <c:pt idx="1437">
                  <c:v>12.592827734263167</c:v>
                </c:pt>
                <c:pt idx="1438">
                  <c:v>12.704465682422937</c:v>
                </c:pt>
                <c:pt idx="1439">
                  <c:v>12.354393327183599</c:v>
                </c:pt>
                <c:pt idx="1440">
                  <c:v>12.22941620395901</c:v>
                </c:pt>
                <c:pt idx="1441">
                  <c:v>12.22941620395901</c:v>
                </c:pt>
                <c:pt idx="1442">
                  <c:v>12.586482440693471</c:v>
                </c:pt>
                <c:pt idx="1443">
                  <c:v>12.452207485597397</c:v>
                </c:pt>
                <c:pt idx="1444">
                  <c:v>12.44431273876665</c:v>
                </c:pt>
                <c:pt idx="1445">
                  <c:v>12.783295493657375</c:v>
                </c:pt>
                <c:pt idx="1446">
                  <c:v>12.392109094746219</c:v>
                </c:pt>
                <c:pt idx="1447">
                  <c:v>12.191998506652096</c:v>
                </c:pt>
                <c:pt idx="1448">
                  <c:v>11.92433038675186</c:v>
                </c:pt>
                <c:pt idx="1449">
                  <c:v>12.2810011198496</c:v>
                </c:pt>
                <c:pt idx="1450">
                  <c:v>12.279316316285787</c:v>
                </c:pt>
                <c:pt idx="1451">
                  <c:v>12.209333155088938</c:v>
                </c:pt>
                <c:pt idx="1452">
                  <c:v>12.091414261804726</c:v>
                </c:pt>
                <c:pt idx="1453">
                  <c:v>12.529000840807917</c:v>
                </c:pt>
                <c:pt idx="1454">
                  <c:v>12.890386687974772</c:v>
                </c:pt>
                <c:pt idx="1455">
                  <c:v>12.733158812067543</c:v>
                </c:pt>
                <c:pt idx="1456">
                  <c:v>12.299939257863286</c:v>
                </c:pt>
                <c:pt idx="1457">
                  <c:v>12.235993634759911</c:v>
                </c:pt>
                <c:pt idx="1458">
                  <c:v>12.257814772156811</c:v>
                </c:pt>
                <c:pt idx="1459">
                  <c:v>12.331857631503786</c:v>
                </c:pt>
                <c:pt idx="1460">
                  <c:v>11.905036121636561</c:v>
                </c:pt>
                <c:pt idx="1461">
                  <c:v>11.905036121636561</c:v>
                </c:pt>
                <c:pt idx="1462">
                  <c:v>11.875600408293945</c:v>
                </c:pt>
                <c:pt idx="1463">
                  <c:v>11.72701959176956</c:v>
                </c:pt>
                <c:pt idx="1464">
                  <c:v>11.706614693676686</c:v>
                </c:pt>
                <c:pt idx="1465">
                  <c:v>11.473908432292967</c:v>
                </c:pt>
                <c:pt idx="1466">
                  <c:v>11.156411485839849</c:v>
                </c:pt>
                <c:pt idx="1467">
                  <c:v>10.752652706652674</c:v>
                </c:pt>
                <c:pt idx="1468">
                  <c:v>10.538599003924443</c:v>
                </c:pt>
                <c:pt idx="1469">
                  <c:v>10.553911951085453</c:v>
                </c:pt>
                <c:pt idx="1470">
                  <c:v>10.397612458039884</c:v>
                </c:pt>
                <c:pt idx="1471">
                  <c:v>10.131548542156278</c:v>
                </c:pt>
                <c:pt idx="1472">
                  <c:v>10.49904210190012</c:v>
                </c:pt>
                <c:pt idx="1473">
                  <c:v>10.460709191140396</c:v>
                </c:pt>
                <c:pt idx="1474">
                  <c:v>10.636307370641308</c:v>
                </c:pt>
                <c:pt idx="1475">
                  <c:v>9.8799692865640178</c:v>
                </c:pt>
                <c:pt idx="1476">
                  <c:v>10.183150383066033</c:v>
                </c:pt>
                <c:pt idx="1477">
                  <c:v>10.422621286545846</c:v>
                </c:pt>
                <c:pt idx="1478">
                  <c:v>10.282727398828614</c:v>
                </c:pt>
                <c:pt idx="1479">
                  <c:v>9.9324731556901646</c:v>
                </c:pt>
                <c:pt idx="1480">
                  <c:v>10.354409355605382</c:v>
                </c:pt>
                <c:pt idx="1481">
                  <c:v>10.111788954585085</c:v>
                </c:pt>
                <c:pt idx="1482">
                  <c:v>10.542143122211696</c:v>
                </c:pt>
                <c:pt idx="1483">
                  <c:v>10.254295427412048</c:v>
                </c:pt>
                <c:pt idx="1484">
                  <c:v>9.8802601296668833</c:v>
                </c:pt>
                <c:pt idx="1485">
                  <c:v>9.8181745617063623</c:v>
                </c:pt>
                <c:pt idx="1486">
                  <c:v>10.106615564120343</c:v>
                </c:pt>
                <c:pt idx="1487">
                  <c:v>10.077914854576415</c:v>
                </c:pt>
                <c:pt idx="1488">
                  <c:v>10.113437061424881</c:v>
                </c:pt>
                <c:pt idx="1489">
                  <c:v>10.704011494246704</c:v>
                </c:pt>
                <c:pt idx="1490">
                  <c:v>10.721339768740732</c:v>
                </c:pt>
                <c:pt idx="1491">
                  <c:v>10.643869316324231</c:v>
                </c:pt>
                <c:pt idx="1492">
                  <c:v>11.114296478270523</c:v>
                </c:pt>
                <c:pt idx="1493">
                  <c:v>11.476162200429842</c:v>
                </c:pt>
                <c:pt idx="1494">
                  <c:v>11.555214775405394</c:v>
                </c:pt>
                <c:pt idx="1495">
                  <c:v>11.568337684456189</c:v>
                </c:pt>
                <c:pt idx="1496">
                  <c:v>11.348198500000001</c:v>
                </c:pt>
                <c:pt idx="1497">
                  <c:v>11.29138619917194</c:v>
                </c:pt>
                <c:pt idx="1498">
                  <c:v>11.458270114768133</c:v>
                </c:pt>
                <c:pt idx="1499">
                  <c:v>11.512911292839082</c:v>
                </c:pt>
                <c:pt idx="1500">
                  <c:v>11.851378502680316</c:v>
                </c:pt>
                <c:pt idx="1501">
                  <c:v>11.464287376783227</c:v>
                </c:pt>
                <c:pt idx="1502">
                  <c:v>10.988029013849362</c:v>
                </c:pt>
                <c:pt idx="1503">
                  <c:v>11.30639123498832</c:v>
                </c:pt>
                <c:pt idx="1504">
                  <c:v>11.190307793164006</c:v>
                </c:pt>
                <c:pt idx="1505">
                  <c:v>11.556756495213316</c:v>
                </c:pt>
                <c:pt idx="1506">
                  <c:v>11.239503404581949</c:v>
                </c:pt>
                <c:pt idx="1507">
                  <c:v>10.576975644913976</c:v>
                </c:pt>
                <c:pt idx="1508">
                  <c:v>10.470813293841255</c:v>
                </c:pt>
                <c:pt idx="1509">
                  <c:v>10.613589207335517</c:v>
                </c:pt>
                <c:pt idx="1510">
                  <c:v>10.469935063307943</c:v>
                </c:pt>
                <c:pt idx="1511">
                  <c:v>10.505608792066933</c:v>
                </c:pt>
                <c:pt idx="1512">
                  <c:v>10.461753001388868</c:v>
                </c:pt>
                <c:pt idx="1513">
                  <c:v>10.65342209333933</c:v>
                </c:pt>
                <c:pt idx="1514">
                  <c:v>11.380816688873743</c:v>
                </c:pt>
                <c:pt idx="1515">
                  <c:v>11.333451655907021</c:v>
                </c:pt>
                <c:pt idx="1516">
                  <c:v>11.018479774983669</c:v>
                </c:pt>
                <c:pt idx="1517">
                  <c:v>10.766326815745854</c:v>
                </c:pt>
                <c:pt idx="1518">
                  <c:v>10.551951391137068</c:v>
                </c:pt>
                <c:pt idx="1519">
                  <c:v>10.279149747923215</c:v>
                </c:pt>
                <c:pt idx="1520">
                  <c:v>10.548192632678452</c:v>
                </c:pt>
                <c:pt idx="1521">
                  <c:v>10.571540628705344</c:v>
                </c:pt>
                <c:pt idx="1522">
                  <c:v>10.413353496087742</c:v>
                </c:pt>
                <c:pt idx="1523">
                  <c:v>10.063248258750322</c:v>
                </c:pt>
                <c:pt idx="1524">
                  <c:v>9.5869283611748575</c:v>
                </c:pt>
                <c:pt idx="1525">
                  <c:v>9.5679061234006113</c:v>
                </c:pt>
                <c:pt idx="1526">
                  <c:v>9.990800366037897</c:v>
                </c:pt>
                <c:pt idx="1527">
                  <c:v>9.9864851202748639</c:v>
                </c:pt>
                <c:pt idx="1528">
                  <c:v>9.7873951308954439</c:v>
                </c:pt>
                <c:pt idx="1529">
                  <c:v>10.127917487997133</c:v>
                </c:pt>
                <c:pt idx="1530">
                  <c:v>9.9215312129325781</c:v>
                </c:pt>
                <c:pt idx="1531">
                  <c:v>10.112243631576913</c:v>
                </c:pt>
                <c:pt idx="1532">
                  <c:v>10.202546447970159</c:v>
                </c:pt>
                <c:pt idx="1533">
                  <c:v>10.294290349174316</c:v>
                </c:pt>
                <c:pt idx="1534">
                  <c:v>10.300597014279061</c:v>
                </c:pt>
                <c:pt idx="1535">
                  <c:v>10.135915430250755</c:v>
                </c:pt>
                <c:pt idx="1536">
                  <c:v>10.364672536149378</c:v>
                </c:pt>
                <c:pt idx="1537">
                  <c:v>10.399215266591973</c:v>
                </c:pt>
                <c:pt idx="1538">
                  <c:v>10.395401282109892</c:v>
                </c:pt>
                <c:pt idx="1539">
                  <c:v>10.3688303910403</c:v>
                </c:pt>
                <c:pt idx="1540">
                  <c:v>10.34469156998704</c:v>
                </c:pt>
                <c:pt idx="1541">
                  <c:v>10.045242483470677</c:v>
                </c:pt>
                <c:pt idx="1542">
                  <c:v>10.351078571154163</c:v>
                </c:pt>
                <c:pt idx="1543">
                  <c:v>10.264546728435207</c:v>
                </c:pt>
                <c:pt idx="1544">
                  <c:v>9.7250121886281224</c:v>
                </c:pt>
                <c:pt idx="1545">
                  <c:v>9.726371309515935</c:v>
                </c:pt>
                <c:pt idx="1546">
                  <c:v>10.264602718348005</c:v>
                </c:pt>
                <c:pt idx="1547">
                  <c:v>10.407833036023737</c:v>
                </c:pt>
                <c:pt idx="1548">
                  <c:v>10.35690674098108</c:v>
                </c:pt>
                <c:pt idx="1549">
                  <c:v>10.463730461571238</c:v>
                </c:pt>
                <c:pt idx="1550">
                  <c:v>10.463730461571236</c:v>
                </c:pt>
                <c:pt idx="1551">
                  <c:v>10.584145592868349</c:v>
                </c:pt>
                <c:pt idx="1552">
                  <c:v>10.322890533446396</c:v>
                </c:pt>
                <c:pt idx="1553">
                  <c:v>10.70078952936297</c:v>
                </c:pt>
                <c:pt idx="1554">
                  <c:v>10.720535670267193</c:v>
                </c:pt>
                <c:pt idx="1555">
                  <c:v>10.766326815745854</c:v>
                </c:pt>
                <c:pt idx="1556">
                  <c:v>10.510203034008999</c:v>
                </c:pt>
                <c:pt idx="1557">
                  <c:v>10.510203034008999</c:v>
                </c:pt>
                <c:pt idx="1558">
                  <c:v>10.458456403543861</c:v>
                </c:pt>
                <c:pt idx="1559">
                  <c:v>10.281330027114041</c:v>
                </c:pt>
                <c:pt idx="1560">
                  <c:v>10.536417415517617</c:v>
                </c:pt>
                <c:pt idx="1561">
                  <c:v>10.146966026366199</c:v>
                </c:pt>
                <c:pt idx="1562">
                  <c:v>9.7912111657319514</c:v>
                </c:pt>
                <c:pt idx="1563">
                  <c:v>9.071174504801002</c:v>
                </c:pt>
                <c:pt idx="1564">
                  <c:v>9.0579868865428139</c:v>
                </c:pt>
                <c:pt idx="1565">
                  <c:v>9.1135871787330736</c:v>
                </c:pt>
                <c:pt idx="1566">
                  <c:v>9.2758492500872833</c:v>
                </c:pt>
                <c:pt idx="1567">
                  <c:v>9.0328264692170688</c:v>
                </c:pt>
                <c:pt idx="1568">
                  <c:v>8.9802465214606944</c:v>
                </c:pt>
                <c:pt idx="1569">
                  <c:v>9.1174330930858272</c:v>
                </c:pt>
                <c:pt idx="1570">
                  <c:v>9.3317527397269959</c:v>
                </c:pt>
                <c:pt idx="1571">
                  <c:v>9.3317527397269942</c:v>
                </c:pt>
                <c:pt idx="1572">
                  <c:v>9.3317527397269959</c:v>
                </c:pt>
                <c:pt idx="1573">
                  <c:v>9.3683252100564545</c:v>
                </c:pt>
                <c:pt idx="1574">
                  <c:v>10.282727398828614</c:v>
                </c:pt>
                <c:pt idx="1575">
                  <c:v>10.342191234947743</c:v>
                </c:pt>
                <c:pt idx="1576">
                  <c:v>10.398938937914904</c:v>
                </c:pt>
                <c:pt idx="1577">
                  <c:v>10.503639216081689</c:v>
                </c:pt>
                <c:pt idx="1578">
                  <c:v>10.596030486411669</c:v>
                </c:pt>
                <c:pt idx="1579">
                  <c:v>10.90207193215093</c:v>
                </c:pt>
                <c:pt idx="1580">
                  <c:v>10.987139817955825</c:v>
                </c:pt>
                <c:pt idx="1581">
                  <c:v>11.092557305969029</c:v>
                </c:pt>
                <c:pt idx="1582">
                  <c:v>11.115330616434388</c:v>
                </c:pt>
                <c:pt idx="1583">
                  <c:v>11.016445387034659</c:v>
                </c:pt>
                <c:pt idx="1584">
                  <c:v>11.147083531774928</c:v>
                </c:pt>
                <c:pt idx="1585">
                  <c:v>11.312489283668004</c:v>
                </c:pt>
                <c:pt idx="1586">
                  <c:v>11.30969475283479</c:v>
                </c:pt>
                <c:pt idx="1587">
                  <c:v>11.233416896581993</c:v>
                </c:pt>
                <c:pt idx="1588">
                  <c:v>11.583232034618666</c:v>
                </c:pt>
                <c:pt idx="1589">
                  <c:v>11.485172850344869</c:v>
                </c:pt>
                <c:pt idx="1590">
                  <c:v>11.892429737335902</c:v>
                </c:pt>
                <c:pt idx="1591">
                  <c:v>11.823413358598094</c:v>
                </c:pt>
                <c:pt idx="1592">
                  <c:v>11.964747068525648</c:v>
                </c:pt>
                <c:pt idx="1593">
                  <c:v>12.180680010460884</c:v>
                </c:pt>
                <c:pt idx="1594">
                  <c:v>12.430773826718692</c:v>
                </c:pt>
                <c:pt idx="1595">
                  <c:v>12.34764624598923</c:v>
                </c:pt>
                <c:pt idx="1596">
                  <c:v>12.006750974577479</c:v>
                </c:pt>
                <c:pt idx="1597">
                  <c:v>12.106282210716765</c:v>
                </c:pt>
                <c:pt idx="1598">
                  <c:v>12.456083774144496</c:v>
                </c:pt>
                <c:pt idx="1599">
                  <c:v>12.698311952254977</c:v>
                </c:pt>
                <c:pt idx="1600">
                  <c:v>12.431143685652312</c:v>
                </c:pt>
                <c:pt idx="1601">
                  <c:v>12.238811451571857</c:v>
                </c:pt>
                <c:pt idx="1602">
                  <c:v>11.925294280568549</c:v>
                </c:pt>
                <c:pt idx="1603">
                  <c:v>12.024352684085091</c:v>
                </c:pt>
                <c:pt idx="1604">
                  <c:v>12.074481498113112</c:v>
                </c:pt>
                <c:pt idx="1605">
                  <c:v>12.453868899852473</c:v>
                </c:pt>
                <c:pt idx="1606">
                  <c:v>12.521429906226835</c:v>
                </c:pt>
                <c:pt idx="1607">
                  <c:v>12.26639180101842</c:v>
                </c:pt>
                <c:pt idx="1608">
                  <c:v>12.535054296128781</c:v>
                </c:pt>
                <c:pt idx="1609">
                  <c:v>12.435627349925172</c:v>
                </c:pt>
                <c:pt idx="1610">
                  <c:v>12.449437969126414</c:v>
                </c:pt>
                <c:pt idx="1611">
                  <c:v>12.304050356383209</c:v>
                </c:pt>
                <c:pt idx="1612">
                  <c:v>12.216674115191157</c:v>
                </c:pt>
                <c:pt idx="1613">
                  <c:v>11.692614822156349</c:v>
                </c:pt>
                <c:pt idx="1614">
                  <c:v>12.035818191557643</c:v>
                </c:pt>
                <c:pt idx="1615">
                  <c:v>11.779828853429574</c:v>
                </c:pt>
                <c:pt idx="1616">
                  <c:v>12.06476774288072</c:v>
                </c:pt>
                <c:pt idx="1617">
                  <c:v>12.056190282918193</c:v>
                </c:pt>
                <c:pt idx="1618">
                  <c:v>12.079287868177445</c:v>
                </c:pt>
                <c:pt idx="1619">
                  <c:v>12.086137209368349</c:v>
                </c:pt>
                <c:pt idx="1620">
                  <c:v>11.880100235654385</c:v>
                </c:pt>
                <c:pt idx="1621">
                  <c:v>11.855451241430291</c:v>
                </c:pt>
                <c:pt idx="1622">
                  <c:v>11.801227288601867</c:v>
                </c:pt>
                <c:pt idx="1623">
                  <c:v>12.029656839584449</c:v>
                </c:pt>
                <c:pt idx="1624">
                  <c:v>12.238107058193929</c:v>
                </c:pt>
                <c:pt idx="1625">
                  <c:v>12.223023310563335</c:v>
                </c:pt>
                <c:pt idx="1626">
                  <c:v>12.341919968373929</c:v>
                </c:pt>
                <c:pt idx="1627">
                  <c:v>12.14779673509733</c:v>
                </c:pt>
                <c:pt idx="1628">
                  <c:v>12.126915063837021</c:v>
                </c:pt>
                <c:pt idx="1629">
                  <c:v>12.087848938252952</c:v>
                </c:pt>
                <c:pt idx="1630">
                  <c:v>11.982554368556077</c:v>
                </c:pt>
                <c:pt idx="1631">
                  <c:v>11.889384814378239</c:v>
                </c:pt>
                <c:pt idx="1632">
                  <c:v>12.535008447608211</c:v>
                </c:pt>
                <c:pt idx="1633">
                  <c:v>12.380973537938219</c:v>
                </c:pt>
                <c:pt idx="1634">
                  <c:v>12.336097857297808</c:v>
                </c:pt>
                <c:pt idx="1635">
                  <c:v>11.602417504728185</c:v>
                </c:pt>
                <c:pt idx="1636">
                  <c:v>12.084425238021598</c:v>
                </c:pt>
                <c:pt idx="1637">
                  <c:v>12.061909267293208</c:v>
                </c:pt>
                <c:pt idx="1638">
                  <c:v>12.311148111207659</c:v>
                </c:pt>
                <c:pt idx="1639">
                  <c:v>12.297836460499687</c:v>
                </c:pt>
                <c:pt idx="1640">
                  <c:v>12.627100940474005</c:v>
                </c:pt>
                <c:pt idx="1641">
                  <c:v>12.521659395742583</c:v>
                </c:pt>
                <c:pt idx="1642">
                  <c:v>12.56015410989721</c:v>
                </c:pt>
                <c:pt idx="1643">
                  <c:v>12.873388750870319</c:v>
                </c:pt>
                <c:pt idx="1644">
                  <c:v>12.661099805145763</c:v>
                </c:pt>
                <c:pt idx="1645">
                  <c:v>13.079948679993526</c:v>
                </c:pt>
                <c:pt idx="1646">
                  <c:v>13.163167001798669</c:v>
                </c:pt>
                <c:pt idx="1647">
                  <c:v>13.516103634970559</c:v>
                </c:pt>
                <c:pt idx="1648">
                  <c:v>13.536498129471868</c:v>
                </c:pt>
                <c:pt idx="1649">
                  <c:v>13.555378115791127</c:v>
                </c:pt>
                <c:pt idx="1650">
                  <c:v>13.390895860771341</c:v>
                </c:pt>
                <c:pt idx="1651">
                  <c:v>13.758007072998971</c:v>
                </c:pt>
                <c:pt idx="1652">
                  <c:v>13.909436142169943</c:v>
                </c:pt>
                <c:pt idx="1653">
                  <c:v>13.909436142169943</c:v>
                </c:pt>
                <c:pt idx="1654">
                  <c:v>13.624226224996599</c:v>
                </c:pt>
                <c:pt idx="1655">
                  <c:v>14.120987885079952</c:v>
                </c:pt>
                <c:pt idx="1656">
                  <c:v>13.912906436731376</c:v>
                </c:pt>
                <c:pt idx="1657">
                  <c:v>13.912906436731376</c:v>
                </c:pt>
                <c:pt idx="1658">
                  <c:v>13.966338843435496</c:v>
                </c:pt>
                <c:pt idx="1659">
                  <c:v>13.815741480053763</c:v>
                </c:pt>
                <c:pt idx="1660">
                  <c:v>13.809417076763236</c:v>
                </c:pt>
                <c:pt idx="1661">
                  <c:v>14.17059445211939</c:v>
                </c:pt>
                <c:pt idx="1662">
                  <c:v>14.036242088038485</c:v>
                </c:pt>
                <c:pt idx="1663">
                  <c:v>14.198955765392968</c:v>
                </c:pt>
                <c:pt idx="1664">
                  <c:v>13.842961612563133</c:v>
                </c:pt>
                <c:pt idx="1665">
                  <c:v>14.253856102581626</c:v>
                </c:pt>
                <c:pt idx="1666">
                  <c:v>13.794884942423867</c:v>
                </c:pt>
                <c:pt idx="1667">
                  <c:v>13.778252062038112</c:v>
                </c:pt>
                <c:pt idx="1668">
                  <c:v>13.828838765753089</c:v>
                </c:pt>
                <c:pt idx="1669">
                  <c:v>14.131118347361133</c:v>
                </c:pt>
                <c:pt idx="1670">
                  <c:v>13.849768660668053</c:v>
                </c:pt>
                <c:pt idx="1671">
                  <c:v>14.011694622953232</c:v>
                </c:pt>
                <c:pt idx="1672">
                  <c:v>14.0393535561956</c:v>
                </c:pt>
                <c:pt idx="1673">
                  <c:v>13.686976778431871</c:v>
                </c:pt>
                <c:pt idx="1674">
                  <c:v>13.527706774420883</c:v>
                </c:pt>
                <c:pt idx="1675">
                  <c:v>13.47624559743176</c:v>
                </c:pt>
                <c:pt idx="1676">
                  <c:v>12.90103800510623</c:v>
                </c:pt>
                <c:pt idx="1677">
                  <c:v>12.815938352772651</c:v>
                </c:pt>
                <c:pt idx="1678">
                  <c:v>12.576615775629632</c:v>
                </c:pt>
                <c:pt idx="1679">
                  <c:v>12.62004426463629</c:v>
                </c:pt>
                <c:pt idx="1680">
                  <c:v>12.616172798909899</c:v>
                </c:pt>
                <c:pt idx="1681">
                  <c:v>12.462172648717269</c:v>
                </c:pt>
                <c:pt idx="1682">
                  <c:v>12.600903087504866</c:v>
                </c:pt>
                <c:pt idx="1683">
                  <c:v>12.079287868177445</c:v>
                </c:pt>
                <c:pt idx="1684">
                  <c:v>12.078288681401201</c:v>
                </c:pt>
                <c:pt idx="1685">
                  <c:v>11.697578096911061</c:v>
                </c:pt>
                <c:pt idx="1686">
                  <c:v>12.004836190220299</c:v>
                </c:pt>
                <c:pt idx="1687">
                  <c:v>11.955088369854675</c:v>
                </c:pt>
                <c:pt idx="1688">
                  <c:v>11.822489770256352</c:v>
                </c:pt>
                <c:pt idx="1689">
                  <c:v>12.04631865357414</c:v>
                </c:pt>
                <c:pt idx="1690">
                  <c:v>12.359369845930889</c:v>
                </c:pt>
                <c:pt idx="1691">
                  <c:v>12.37930234047063</c:v>
                </c:pt>
                <c:pt idx="1692">
                  <c:v>12.288720180643748</c:v>
                </c:pt>
                <c:pt idx="1693">
                  <c:v>12.064053187479935</c:v>
                </c:pt>
                <c:pt idx="1694">
                  <c:v>12.642929967413391</c:v>
                </c:pt>
                <c:pt idx="1695">
                  <c:v>12.408006314056065</c:v>
                </c:pt>
                <c:pt idx="1696">
                  <c:v>12.409905202153512</c:v>
                </c:pt>
                <c:pt idx="1697">
                  <c:v>12.54710664087427</c:v>
                </c:pt>
                <c:pt idx="1698">
                  <c:v>12.377398757412644</c:v>
                </c:pt>
                <c:pt idx="1699">
                  <c:v>12.542158790512772</c:v>
                </c:pt>
                <c:pt idx="1700">
                  <c:v>13.618952311722275</c:v>
                </c:pt>
                <c:pt idx="1701">
                  <c:v>14.447725828281605</c:v>
                </c:pt>
                <c:pt idx="1702">
                  <c:v>14.996551327693242</c:v>
                </c:pt>
                <c:pt idx="1703">
                  <c:v>15.906479558784307</c:v>
                </c:pt>
                <c:pt idx="1704">
                  <c:v>16.171352561803879</c:v>
                </c:pt>
                <c:pt idx="1705">
                  <c:v>16.381093671823546</c:v>
                </c:pt>
                <c:pt idx="1706">
                  <c:v>17.383305506859951</c:v>
                </c:pt>
                <c:pt idx="1707">
                  <c:v>17.636332665411409</c:v>
                </c:pt>
                <c:pt idx="1708">
                  <c:v>18.23918353687889</c:v>
                </c:pt>
                <c:pt idx="1709">
                  <c:v>18.131987357078138</c:v>
                </c:pt>
                <c:pt idx="1710">
                  <c:v>18.410547951162915</c:v>
                </c:pt>
                <c:pt idx="1711">
                  <c:v>18.126915277323508</c:v>
                </c:pt>
                <c:pt idx="1712">
                  <c:v>18.454666419192684</c:v>
                </c:pt>
                <c:pt idx="1713">
                  <c:v>18.455787492112684</c:v>
                </c:pt>
                <c:pt idx="1714">
                  <c:v>18.570802692497654</c:v>
                </c:pt>
                <c:pt idx="1715">
                  <c:v>17.605641728992875</c:v>
                </c:pt>
                <c:pt idx="1716">
                  <c:v>17.987990885364436</c:v>
                </c:pt>
                <c:pt idx="1717">
                  <c:v>17.93490784866847</c:v>
                </c:pt>
                <c:pt idx="1718">
                  <c:v>17.690311654597313</c:v>
                </c:pt>
                <c:pt idx="1719">
                  <c:v>16.622965695258682</c:v>
                </c:pt>
                <c:pt idx="1720">
                  <c:v>15.146829264952093</c:v>
                </c:pt>
                <c:pt idx="1721">
                  <c:v>15.087522438536197</c:v>
                </c:pt>
                <c:pt idx="1722">
                  <c:v>14.997662653142697</c:v>
                </c:pt>
                <c:pt idx="1723">
                  <c:v>14.366467982731548</c:v>
                </c:pt>
                <c:pt idx="1724">
                  <c:v>14.343888121314302</c:v>
                </c:pt>
                <c:pt idx="1725">
                  <c:v>12.357742233249905</c:v>
                </c:pt>
                <c:pt idx="1726">
                  <c:v>11.382028585126807</c:v>
                </c:pt>
                <c:pt idx="1727">
                  <c:v>10.918506908155907</c:v>
                </c:pt>
                <c:pt idx="1728">
                  <c:v>6.4644029691168257</c:v>
                </c:pt>
                <c:pt idx="1729">
                  <c:v>6.2090034738217881</c:v>
                </c:pt>
                <c:pt idx="1730">
                  <c:v>6.2757515463300786</c:v>
                </c:pt>
                <c:pt idx="1731">
                  <c:v>6.3666696756326768</c:v>
                </c:pt>
                <c:pt idx="1732">
                  <c:v>6.314460689014024</c:v>
                </c:pt>
                <c:pt idx="1733">
                  <c:v>6.424092583177905</c:v>
                </c:pt>
                <c:pt idx="1734">
                  <c:v>6.2552047294150617</c:v>
                </c:pt>
                <c:pt idx="1735">
                  <c:v>6.2116871678525767</c:v>
                </c:pt>
                <c:pt idx="1736">
                  <c:v>5.939929176403508</c:v>
                </c:pt>
                <c:pt idx="1737">
                  <c:v>5.9159826381348193</c:v>
                </c:pt>
                <c:pt idx="1738">
                  <c:v>5.706318337204582</c:v>
                </c:pt>
                <c:pt idx="1739">
                  <c:v>5.7696192029566769</c:v>
                </c:pt>
                <c:pt idx="1740">
                  <c:v>5.6989613895463629</c:v>
                </c:pt>
                <c:pt idx="1741">
                  <c:v>5.6528906246090687</c:v>
                </c:pt>
                <c:pt idx="1742">
                  <c:v>5.599774215481176</c:v>
                </c:pt>
                <c:pt idx="1743">
                  <c:v>5.5766343411337829</c:v>
                </c:pt>
                <c:pt idx="1744">
                  <c:v>9.9375058736337731</c:v>
                </c:pt>
                <c:pt idx="1745">
                  <c:v>12.451099752932318</c:v>
                </c:pt>
                <c:pt idx="1746">
                  <c:v>12.461480880983867</c:v>
                </c:pt>
                <c:pt idx="1747">
                  <c:v>14.635651637374222</c:v>
                </c:pt>
                <c:pt idx="1748">
                  <c:v>14.818790494643546</c:v>
                </c:pt>
                <c:pt idx="1749">
                  <c:v>16.194081507207162</c:v>
                </c:pt>
                <c:pt idx="1750">
                  <c:v>16.019241303945172</c:v>
                </c:pt>
                <c:pt idx="1751">
                  <c:v>16.720281579326169</c:v>
                </c:pt>
                <c:pt idx="1752">
                  <c:v>17.021453670514489</c:v>
                </c:pt>
                <c:pt idx="1753">
                  <c:v>16.976014180933767</c:v>
                </c:pt>
                <c:pt idx="1754">
                  <c:v>17.956524764252002</c:v>
                </c:pt>
                <c:pt idx="1755">
                  <c:v>18.306741425201682</c:v>
                </c:pt>
                <c:pt idx="1756">
                  <c:v>18.485191339301164</c:v>
                </c:pt>
                <c:pt idx="1757">
                  <c:v>18.958999925125784</c:v>
                </c:pt>
                <c:pt idx="1758">
                  <c:v>18.907548817835973</c:v>
                </c:pt>
                <c:pt idx="1759">
                  <c:v>19.123464554094902</c:v>
                </c:pt>
                <c:pt idx="1760">
                  <c:v>18.967031287528076</c:v>
                </c:pt>
                <c:pt idx="1761">
                  <c:v>18.839582932153018</c:v>
                </c:pt>
                <c:pt idx="1762">
                  <c:v>18.973817410485346</c:v>
                </c:pt>
                <c:pt idx="1763">
                  <c:v>18.191478363713909</c:v>
                </c:pt>
                <c:pt idx="1764">
                  <c:v>17.688102371855535</c:v>
                </c:pt>
                <c:pt idx="1765">
                  <c:v>17.085350315469061</c:v>
                </c:pt>
                <c:pt idx="1766">
                  <c:v>16.760688818040041</c:v>
                </c:pt>
                <c:pt idx="1767">
                  <c:v>16.330072393220306</c:v>
                </c:pt>
                <c:pt idx="1768">
                  <c:v>15.827700147337358</c:v>
                </c:pt>
                <c:pt idx="1769">
                  <c:v>15.868714250184953</c:v>
                </c:pt>
                <c:pt idx="1770">
                  <c:v>15.117318986292949</c:v>
                </c:pt>
                <c:pt idx="1771">
                  <c:v>14.439728083535257</c:v>
                </c:pt>
                <c:pt idx="1772">
                  <c:v>13.789259521849587</c:v>
                </c:pt>
                <c:pt idx="1773">
                  <c:v>12.438353736655062</c:v>
                </c:pt>
                <c:pt idx="1774">
                  <c:v>12.187425213445756</c:v>
                </c:pt>
                <c:pt idx="1775">
                  <c:v>11.973198038300703</c:v>
                </c:pt>
                <c:pt idx="1776">
                  <c:v>11.735837637658049</c:v>
                </c:pt>
                <c:pt idx="1777">
                  <c:v>11.978956644835582</c:v>
                </c:pt>
                <c:pt idx="1778">
                  <c:v>12.20933315508894</c:v>
                </c:pt>
                <c:pt idx="1779">
                  <c:v>11.940898520264895</c:v>
                </c:pt>
                <c:pt idx="1780">
                  <c:v>11.995209771874121</c:v>
                </c:pt>
                <c:pt idx="1781">
                  <c:v>12.03467213235713</c:v>
                </c:pt>
                <c:pt idx="1782">
                  <c:v>12.116484448976891</c:v>
                </c:pt>
                <c:pt idx="1783">
                  <c:v>12.227536288155555</c:v>
                </c:pt>
                <c:pt idx="1784">
                  <c:v>11.98663048336886</c:v>
                </c:pt>
                <c:pt idx="1785">
                  <c:v>12.52496357853699</c:v>
                </c:pt>
                <c:pt idx="1786">
                  <c:v>12.572365243504978</c:v>
                </c:pt>
                <c:pt idx="1787">
                  <c:v>12.587578259410412</c:v>
                </c:pt>
                <c:pt idx="1788">
                  <c:v>12.372057876196427</c:v>
                </c:pt>
                <c:pt idx="1789">
                  <c:v>12.576387288938717</c:v>
                </c:pt>
                <c:pt idx="1790">
                  <c:v>12.732481767276283</c:v>
                </c:pt>
                <c:pt idx="1791">
                  <c:v>13.283859361655026</c:v>
                </c:pt>
                <c:pt idx="1792">
                  <c:v>13.283859361655026</c:v>
                </c:pt>
                <c:pt idx="1793">
                  <c:v>13.174383014626983</c:v>
                </c:pt>
                <c:pt idx="1794">
                  <c:v>13.043516908155304</c:v>
                </c:pt>
                <c:pt idx="1795">
                  <c:v>13.036685637607173</c:v>
                </c:pt>
                <c:pt idx="1796">
                  <c:v>12.999955791259932</c:v>
                </c:pt>
                <c:pt idx="1797">
                  <c:v>13.494826594943197</c:v>
                </c:pt>
                <c:pt idx="1798">
                  <c:v>13.319245430975988</c:v>
                </c:pt>
                <c:pt idx="1799">
                  <c:v>13.087723474582065</c:v>
                </c:pt>
                <c:pt idx="1800">
                  <c:v>13.319633766667948</c:v>
                </c:pt>
                <c:pt idx="1801">
                  <c:v>13.265806013786056</c:v>
                </c:pt>
                <c:pt idx="1802">
                  <c:v>12.901082552812488</c:v>
                </c:pt>
                <c:pt idx="1803">
                  <c:v>12.800862039937671</c:v>
                </c:pt>
                <c:pt idx="1804">
                  <c:v>13.174383014626985</c:v>
                </c:pt>
                <c:pt idx="1805">
                  <c:v>13.176476776053798</c:v>
                </c:pt>
                <c:pt idx="1806">
                  <c:v>13.129942966321314</c:v>
                </c:pt>
                <c:pt idx="1807">
                  <c:v>12.582646323637452</c:v>
                </c:pt>
                <c:pt idx="1808">
                  <c:v>12.219684515369961</c:v>
                </c:pt>
                <c:pt idx="1809">
                  <c:v>12.200621804391492</c:v>
                </c:pt>
                <c:pt idx="1810">
                  <c:v>11.728538727806427</c:v>
                </c:pt>
                <c:pt idx="1811">
                  <c:v>11.999281587690559</c:v>
                </c:pt>
                <c:pt idx="1812">
                  <c:v>12.382830159483765</c:v>
                </c:pt>
                <c:pt idx="1813">
                  <c:v>12.177282410150129</c:v>
                </c:pt>
                <c:pt idx="1814">
                  <c:v>12.221894805785155</c:v>
                </c:pt>
                <c:pt idx="1815">
                  <c:v>12.289421673027222</c:v>
                </c:pt>
                <c:pt idx="1816">
                  <c:v>12.62368691248194</c:v>
                </c:pt>
                <c:pt idx="1817">
                  <c:v>11.952780660467313</c:v>
                </c:pt>
                <c:pt idx="1818">
                  <c:v>12.164060498702396</c:v>
                </c:pt>
                <c:pt idx="1819">
                  <c:v>12.164060498702396</c:v>
                </c:pt>
                <c:pt idx="1820">
                  <c:v>11.957059185594764</c:v>
                </c:pt>
                <c:pt idx="1821">
                  <c:v>11.772215486953353</c:v>
                </c:pt>
                <c:pt idx="1822">
                  <c:v>11.665106628045805</c:v>
                </c:pt>
                <c:pt idx="1823">
                  <c:v>12.158153217293012</c:v>
                </c:pt>
                <c:pt idx="1824">
                  <c:v>12.288158957903851</c:v>
                </c:pt>
                <c:pt idx="1825">
                  <c:v>12.667316982701186</c:v>
                </c:pt>
                <c:pt idx="1826">
                  <c:v>12.58830875222638</c:v>
                </c:pt>
                <c:pt idx="1827">
                  <c:v>12.129616078297637</c:v>
                </c:pt>
                <c:pt idx="1828">
                  <c:v>12.117053623127495</c:v>
                </c:pt>
                <c:pt idx="1829">
                  <c:v>12.368898704913621</c:v>
                </c:pt>
                <c:pt idx="1830">
                  <c:v>12.336470554705928</c:v>
                </c:pt>
                <c:pt idx="1831">
                  <c:v>12.445559610679966</c:v>
                </c:pt>
                <c:pt idx="1832">
                  <c:v>12.44555961067997</c:v>
                </c:pt>
                <c:pt idx="1833">
                  <c:v>12.445559610679968</c:v>
                </c:pt>
                <c:pt idx="1834">
                  <c:v>12.369038097130911</c:v>
                </c:pt>
                <c:pt idx="1835">
                  <c:v>12.585386526562802</c:v>
                </c:pt>
                <c:pt idx="1836">
                  <c:v>12.759535537253571</c:v>
                </c:pt>
                <c:pt idx="1837">
                  <c:v>12.835117057707633</c:v>
                </c:pt>
                <c:pt idx="1838">
                  <c:v>12.958643323342503</c:v>
                </c:pt>
                <c:pt idx="1839">
                  <c:v>13.083111865758623</c:v>
                </c:pt>
                <c:pt idx="1840">
                  <c:v>13.330502573068081</c:v>
                </c:pt>
                <c:pt idx="1841">
                  <c:v>13.121711410666963</c:v>
                </c:pt>
                <c:pt idx="1842">
                  <c:v>12.632015519779653</c:v>
                </c:pt>
                <c:pt idx="1843">
                  <c:v>12.708219803525301</c:v>
                </c:pt>
                <c:pt idx="1844">
                  <c:v>12.50016091850444</c:v>
                </c:pt>
                <c:pt idx="1845">
                  <c:v>12.239234068139748</c:v>
                </c:pt>
                <c:pt idx="1846">
                  <c:v>12.397116832035037</c:v>
                </c:pt>
                <c:pt idx="1847">
                  <c:v>12.555898005027107</c:v>
                </c:pt>
                <c:pt idx="1848">
                  <c:v>12.69428326398174</c:v>
                </c:pt>
                <c:pt idx="1849">
                  <c:v>12.377398757412644</c:v>
                </c:pt>
                <c:pt idx="1850">
                  <c:v>12.755210790059511</c:v>
                </c:pt>
                <c:pt idx="1851">
                  <c:v>12.779698339756397</c:v>
                </c:pt>
                <c:pt idx="1852">
                  <c:v>13.092772420506376</c:v>
                </c:pt>
                <c:pt idx="1853">
                  <c:v>12.656559791156774</c:v>
                </c:pt>
                <c:pt idx="1854">
                  <c:v>12.54490783719347</c:v>
                </c:pt>
                <c:pt idx="1855">
                  <c:v>12.586665083771575</c:v>
                </c:pt>
                <c:pt idx="1856">
                  <c:v>12.320247795686839</c:v>
                </c:pt>
                <c:pt idx="1857">
                  <c:v>12.544220632002922</c:v>
                </c:pt>
                <c:pt idx="1858">
                  <c:v>12.821677047050065</c:v>
                </c:pt>
                <c:pt idx="1859">
                  <c:v>12.616355012169857</c:v>
                </c:pt>
                <c:pt idx="1860">
                  <c:v>12.575290495033615</c:v>
                </c:pt>
                <c:pt idx="1861">
                  <c:v>12.549717219875934</c:v>
                </c:pt>
                <c:pt idx="1862">
                  <c:v>13.019039991445245</c:v>
                </c:pt>
                <c:pt idx="1863">
                  <c:v>12.853909463884797</c:v>
                </c:pt>
                <c:pt idx="1864">
                  <c:v>12.444081822850295</c:v>
                </c:pt>
                <c:pt idx="1865">
                  <c:v>12.665275180678027</c:v>
                </c:pt>
                <c:pt idx="1866">
                  <c:v>12.638201530717671</c:v>
                </c:pt>
                <c:pt idx="1867">
                  <c:v>12.473834684015094</c:v>
                </c:pt>
                <c:pt idx="1868">
                  <c:v>12.595565722192434</c:v>
                </c:pt>
                <c:pt idx="1869">
                  <c:v>12.500344822830096</c:v>
                </c:pt>
                <c:pt idx="1870">
                  <c:v>12.530606208560823</c:v>
                </c:pt>
                <c:pt idx="1871">
                  <c:v>12.269062109936163</c:v>
                </c:pt>
                <c:pt idx="1872">
                  <c:v>12.277631281524034</c:v>
                </c:pt>
                <c:pt idx="1873">
                  <c:v>12.729231451008083</c:v>
                </c:pt>
                <c:pt idx="1874">
                  <c:v>12.81885285451655</c:v>
                </c:pt>
                <c:pt idx="1875">
                  <c:v>13.115271435528363</c:v>
                </c:pt>
                <c:pt idx="1876">
                  <c:v>12.632561466124056</c:v>
                </c:pt>
                <c:pt idx="1877">
                  <c:v>12.670174952751571</c:v>
                </c:pt>
                <c:pt idx="1878">
                  <c:v>12.480974026240022</c:v>
                </c:pt>
                <c:pt idx="1879">
                  <c:v>12.555898005027107</c:v>
                </c:pt>
                <c:pt idx="1880">
                  <c:v>12.189547057674638</c:v>
                </c:pt>
                <c:pt idx="1881">
                  <c:v>12.165761263744935</c:v>
                </c:pt>
                <c:pt idx="1882">
                  <c:v>11.732899025399899</c:v>
                </c:pt>
                <c:pt idx="1883">
                  <c:v>11.872890012182346</c:v>
                </c:pt>
                <c:pt idx="1884">
                  <c:v>12.20989800102369</c:v>
                </c:pt>
                <c:pt idx="1885">
                  <c:v>12.178556621345171</c:v>
                </c:pt>
                <c:pt idx="1886">
                  <c:v>12.548801289091459</c:v>
                </c:pt>
                <c:pt idx="1887">
                  <c:v>12.422819196205392</c:v>
                </c:pt>
                <c:pt idx="1888">
                  <c:v>13.625365122177229</c:v>
                </c:pt>
                <c:pt idx="1889">
                  <c:v>14.170716121717309</c:v>
                </c:pt>
                <c:pt idx="1890">
                  <c:v>14.657938886957917</c:v>
                </c:pt>
                <c:pt idx="1891">
                  <c:v>15.894805050273717</c:v>
                </c:pt>
                <c:pt idx="1892">
                  <c:v>15.600029472415425</c:v>
                </c:pt>
                <c:pt idx="1893">
                  <c:v>16.818196221293501</c:v>
                </c:pt>
                <c:pt idx="1894">
                  <c:v>17.254051664770646</c:v>
                </c:pt>
                <c:pt idx="1895">
                  <c:v>16.984238805907431</c:v>
                </c:pt>
                <c:pt idx="1896">
                  <c:v>17.364417309709737</c:v>
                </c:pt>
                <c:pt idx="1897">
                  <c:v>17.787506916340206</c:v>
                </c:pt>
                <c:pt idx="1898">
                  <c:v>17.966795683327526</c:v>
                </c:pt>
                <c:pt idx="1899">
                  <c:v>18.162769802443449</c:v>
                </c:pt>
                <c:pt idx="1900">
                  <c:v>18.290158147415546</c:v>
                </c:pt>
                <c:pt idx="1901">
                  <c:v>18.709638551095626</c:v>
                </c:pt>
                <c:pt idx="1902">
                  <c:v>19.015420239809366</c:v>
                </c:pt>
                <c:pt idx="1903">
                  <c:v>18.550831068535267</c:v>
                </c:pt>
                <c:pt idx="1904">
                  <c:v>18.474741999660591</c:v>
                </c:pt>
                <c:pt idx="1905">
                  <c:v>17.956812813992954</c:v>
                </c:pt>
                <c:pt idx="1906">
                  <c:v>17.242056308547607</c:v>
                </c:pt>
                <c:pt idx="1907">
                  <c:v>16.475164171648142</c:v>
                </c:pt>
                <c:pt idx="1908">
                  <c:v>15.761476388049264</c:v>
                </c:pt>
                <c:pt idx="1909">
                  <c:v>14.70100473538748</c:v>
                </c:pt>
                <c:pt idx="1910">
                  <c:v>14.373067086438592</c:v>
                </c:pt>
                <c:pt idx="1911">
                  <c:v>12.092032144321742</c:v>
                </c:pt>
                <c:pt idx="1912">
                  <c:v>11.705240009421459</c:v>
                </c:pt>
                <c:pt idx="1913">
                  <c:v>11.372683545869144</c:v>
                </c:pt>
                <c:pt idx="1914">
                  <c:v>11.257487929496465</c:v>
                </c:pt>
                <c:pt idx="1915">
                  <c:v>7.4402601610674752</c:v>
                </c:pt>
                <c:pt idx="1916">
                  <c:v>7.3788296115835061</c:v>
                </c:pt>
                <c:pt idx="1917">
                  <c:v>5.7050088901579814</c:v>
                </c:pt>
                <c:pt idx="1918">
                  <c:v>5.8526936523711681</c:v>
                </c:pt>
                <c:pt idx="1919">
                  <c:v>6.0085188566380241</c:v>
                </c:pt>
                <c:pt idx="1920">
                  <c:v>6.1334770098114042</c:v>
                </c:pt>
                <c:pt idx="1921">
                  <c:v>6.072455240154361</c:v>
                </c:pt>
                <c:pt idx="1922">
                  <c:v>5.8809061777301253</c:v>
                </c:pt>
                <c:pt idx="1923">
                  <c:v>5.6629467167934209</c:v>
                </c:pt>
                <c:pt idx="1924">
                  <c:v>5.6123836802835063</c:v>
                </c:pt>
                <c:pt idx="1925">
                  <c:v>5.7158782674070396</c:v>
                </c:pt>
                <c:pt idx="1926">
                  <c:v>5.8823718728566199</c:v>
                </c:pt>
                <c:pt idx="1927">
                  <c:v>5.8718107019504817</c:v>
                </c:pt>
                <c:pt idx="1928">
                  <c:v>5.8961315975893855</c:v>
                </c:pt>
                <c:pt idx="1929">
                  <c:v>6.0500783693983724</c:v>
                </c:pt>
                <c:pt idx="1930">
                  <c:v>5.9326681791701397</c:v>
                </c:pt>
                <c:pt idx="1931">
                  <c:v>6.0257111947303663</c:v>
                </c:pt>
                <c:pt idx="1932">
                  <c:v>6.409045332104113</c:v>
                </c:pt>
                <c:pt idx="1933">
                  <c:v>10.164169657556204</c:v>
                </c:pt>
                <c:pt idx="1934">
                  <c:v>10.234098964207616</c:v>
                </c:pt>
                <c:pt idx="1935">
                  <c:v>12.750884576030963</c:v>
                </c:pt>
                <c:pt idx="1936">
                  <c:v>14.74538696615349</c:v>
                </c:pt>
                <c:pt idx="1937">
                  <c:v>14.984129535312837</c:v>
                </c:pt>
                <c:pt idx="1938">
                  <c:v>16.539920360063448</c:v>
                </c:pt>
                <c:pt idx="1939">
                  <c:v>17.560404781551991</c:v>
                </c:pt>
                <c:pt idx="1940">
                  <c:v>18.527053843985314</c:v>
                </c:pt>
                <c:pt idx="1941">
                  <c:v>19.038979978472838</c:v>
                </c:pt>
                <c:pt idx="1942">
                  <c:v>19.973689590610668</c:v>
                </c:pt>
                <c:pt idx="1943">
                  <c:v>20.249137912683999</c:v>
                </c:pt>
                <c:pt idx="1944">
                  <c:v>20.383563358069015</c:v>
                </c:pt>
                <c:pt idx="1945">
                  <c:v>20.379051673874248</c:v>
                </c:pt>
                <c:pt idx="1946">
                  <c:v>20.194570796507964</c:v>
                </c:pt>
                <c:pt idx="1947">
                  <c:v>19.909017191143349</c:v>
                </c:pt>
                <c:pt idx="1948">
                  <c:v>20.464154250674579</c:v>
                </c:pt>
                <c:pt idx="1949">
                  <c:v>20.244170439452667</c:v>
                </c:pt>
                <c:pt idx="1950">
                  <c:v>19.546584497482964</c:v>
                </c:pt>
                <c:pt idx="1951">
                  <c:v>19.123795131455601</c:v>
                </c:pt>
                <c:pt idx="1952">
                  <c:v>18.903536128484522</c:v>
                </c:pt>
                <c:pt idx="1953">
                  <c:v>18.5760010791331</c:v>
                </c:pt>
                <c:pt idx="1954">
                  <c:v>18.59084560287361</c:v>
                </c:pt>
                <c:pt idx="1955">
                  <c:v>17.853683737215292</c:v>
                </c:pt>
                <c:pt idx="1956">
                  <c:v>16.804111429038436</c:v>
                </c:pt>
                <c:pt idx="1957">
                  <c:v>16.409592092543868</c:v>
                </c:pt>
                <c:pt idx="1958">
                  <c:v>15.714551423339502</c:v>
                </c:pt>
                <c:pt idx="1959">
                  <c:v>15.227017730518252</c:v>
                </c:pt>
                <c:pt idx="1960">
                  <c:v>13.822354042071408</c:v>
                </c:pt>
                <c:pt idx="1961">
                  <c:v>12.02181924381807</c:v>
                </c:pt>
                <c:pt idx="1962">
                  <c:v>11.174941178584682</c:v>
                </c:pt>
                <c:pt idx="1963">
                  <c:v>11.574297724531364</c:v>
                </c:pt>
                <c:pt idx="1964">
                  <c:v>10.851346650896884</c:v>
                </c:pt>
                <c:pt idx="1965">
                  <c:v>11.606577604020961</c:v>
                </c:pt>
                <c:pt idx="1966">
                  <c:v>12.003304142811162</c:v>
                </c:pt>
                <c:pt idx="1967">
                  <c:v>11.725843351283974</c:v>
                </c:pt>
                <c:pt idx="1968">
                  <c:v>11.983705412029238</c:v>
                </c:pt>
                <c:pt idx="1969">
                  <c:v>11.936854935330597</c:v>
                </c:pt>
                <c:pt idx="1970">
                  <c:v>11.900980351774946</c:v>
                </c:pt>
                <c:pt idx="1971">
                  <c:v>12.224151711160625</c:v>
                </c:pt>
                <c:pt idx="1972">
                  <c:v>11.980827595999262</c:v>
                </c:pt>
                <c:pt idx="1973">
                  <c:v>12.560154109897212</c:v>
                </c:pt>
                <c:pt idx="1974">
                  <c:v>12.810959747621268</c:v>
                </c:pt>
                <c:pt idx="1975">
                  <c:v>13.226627618592714</c:v>
                </c:pt>
                <c:pt idx="1976">
                  <c:v>13.198092861183156</c:v>
                </c:pt>
                <c:pt idx="1977">
                  <c:v>13.174383014626983</c:v>
                </c:pt>
                <c:pt idx="1978">
                  <c:v>13.306294422729712</c:v>
                </c:pt>
                <c:pt idx="1979">
                  <c:v>13.252455855685639</c:v>
                </c:pt>
                <c:pt idx="1980">
                  <c:v>13.29955491433981</c:v>
                </c:pt>
                <c:pt idx="1981">
                  <c:v>13.676265202351754</c:v>
                </c:pt>
                <c:pt idx="1982">
                  <c:v>13.71617050540468</c:v>
                </c:pt>
                <c:pt idx="1983">
                  <c:v>13.613887432856304</c:v>
                </c:pt>
                <c:pt idx="1984">
                  <c:v>13.266325877907965</c:v>
                </c:pt>
                <c:pt idx="1985">
                  <c:v>13.389651176214029</c:v>
                </c:pt>
                <c:pt idx="1986">
                  <c:v>13.255274378547384</c:v>
                </c:pt>
                <c:pt idx="1987">
                  <c:v>12.943733228286863</c:v>
                </c:pt>
                <c:pt idx="1988">
                  <c:v>13.014580682635442</c:v>
                </c:pt>
                <c:pt idx="1989">
                  <c:v>12.961304035429871</c:v>
                </c:pt>
                <c:pt idx="1990">
                  <c:v>12.699171843755853</c:v>
                </c:pt>
                <c:pt idx="1991">
                  <c:v>12.013593832888192</c:v>
                </c:pt>
                <c:pt idx="1992">
                  <c:v>11.930642475787188</c:v>
                </c:pt>
                <c:pt idx="1993">
                  <c:v>11.790508553663958</c:v>
                </c:pt>
                <c:pt idx="1994">
                  <c:v>11.90015937302725</c:v>
                </c:pt>
                <c:pt idx="1995">
                  <c:v>11.699346675933581</c:v>
                </c:pt>
                <c:pt idx="1996">
                  <c:v>11.406592165392178</c:v>
                </c:pt>
                <c:pt idx="1997">
                  <c:v>11.729959676954925</c:v>
                </c:pt>
                <c:pt idx="1998">
                  <c:v>11.766111477898926</c:v>
                </c:pt>
                <c:pt idx="1999">
                  <c:v>12.158389563655589</c:v>
                </c:pt>
                <c:pt idx="2000">
                  <c:v>12.502919199360889</c:v>
                </c:pt>
                <c:pt idx="2001">
                  <c:v>12.311848325714639</c:v>
                </c:pt>
                <c:pt idx="2002">
                  <c:v>12.325844262427186</c:v>
                </c:pt>
                <c:pt idx="2003">
                  <c:v>12.325844262427188</c:v>
                </c:pt>
                <c:pt idx="2004">
                  <c:v>12.125019255820709</c:v>
                </c:pt>
                <c:pt idx="2005">
                  <c:v>11.990465560928653</c:v>
                </c:pt>
                <c:pt idx="2006">
                  <c:v>12.008856884739735</c:v>
                </c:pt>
                <c:pt idx="2007">
                  <c:v>11.998084138249146</c:v>
                </c:pt>
                <c:pt idx="2008">
                  <c:v>11.468547693884197</c:v>
                </c:pt>
                <c:pt idx="2009">
                  <c:v>11.412284165979107</c:v>
                </c:pt>
                <c:pt idx="2010">
                  <c:v>11.518900011340682</c:v>
                </c:pt>
                <c:pt idx="2011">
                  <c:v>11.109745126761872</c:v>
                </c:pt>
                <c:pt idx="2012">
                  <c:v>11.109745126761872</c:v>
                </c:pt>
                <c:pt idx="2013">
                  <c:v>10.675786331371729</c:v>
                </c:pt>
                <c:pt idx="2014">
                  <c:v>10.887301471592183</c:v>
                </c:pt>
                <c:pt idx="2015">
                  <c:v>10.670886377989131</c:v>
                </c:pt>
                <c:pt idx="2016">
                  <c:v>10.50101254012279</c:v>
                </c:pt>
                <c:pt idx="2017">
                  <c:v>10.52249915684231</c:v>
                </c:pt>
                <c:pt idx="2018">
                  <c:v>10.417988421889357</c:v>
                </c:pt>
                <c:pt idx="2019">
                  <c:v>10.265946384645391</c:v>
                </c:pt>
                <c:pt idx="2020">
                  <c:v>10.820584895062943</c:v>
                </c:pt>
                <c:pt idx="2021">
                  <c:v>10.915348257669422</c:v>
                </c:pt>
                <c:pt idx="2022">
                  <c:v>10.959119437736533</c:v>
                </c:pt>
                <c:pt idx="2023">
                  <c:v>11.275035999126974</c:v>
                </c:pt>
                <c:pt idx="2024">
                  <c:v>11.075706043761549</c:v>
                </c:pt>
                <c:pt idx="2025">
                  <c:v>11.221131542917064</c:v>
                </c:pt>
                <c:pt idx="2026">
                  <c:v>11.617466042187482</c:v>
                </c:pt>
                <c:pt idx="2027">
                  <c:v>12.099966752115431</c:v>
                </c:pt>
                <c:pt idx="2028">
                  <c:v>11.880100235654385</c:v>
                </c:pt>
                <c:pt idx="2029">
                  <c:v>11.49137607677736</c:v>
                </c:pt>
                <c:pt idx="2030">
                  <c:v>11.30862756797943</c:v>
                </c:pt>
                <c:pt idx="2031">
                  <c:v>11.370257632115891</c:v>
                </c:pt>
                <c:pt idx="2032">
                  <c:v>11.403971883192439</c:v>
                </c:pt>
                <c:pt idx="2033">
                  <c:v>10.981907796488493</c:v>
                </c:pt>
                <c:pt idx="2034">
                  <c:v>11.456514484690841</c:v>
                </c:pt>
                <c:pt idx="2035">
                  <c:v>11.148990985734986</c:v>
                </c:pt>
                <c:pt idx="2036">
                  <c:v>11.146928859040313</c:v>
                </c:pt>
                <c:pt idx="2037">
                  <c:v>11.774753822743255</c:v>
                </c:pt>
                <c:pt idx="2038">
                  <c:v>12.268078379535925</c:v>
                </c:pt>
                <c:pt idx="2039">
                  <c:v>12.401751822862044</c:v>
                </c:pt>
                <c:pt idx="2040">
                  <c:v>12.310914697521673</c:v>
                </c:pt>
                <c:pt idx="2041">
                  <c:v>12.235993634759911</c:v>
                </c:pt>
                <c:pt idx="2042">
                  <c:v>12.280486343284057</c:v>
                </c:pt>
                <c:pt idx="2043">
                  <c:v>12.257955427573057</c:v>
                </c:pt>
                <c:pt idx="2044">
                  <c:v>12.161556161769024</c:v>
                </c:pt>
                <c:pt idx="2045">
                  <c:v>12.190112820425931</c:v>
                </c:pt>
                <c:pt idx="2046">
                  <c:v>12.349321727383929</c:v>
                </c:pt>
                <c:pt idx="2047">
                  <c:v>12.299004725642614</c:v>
                </c:pt>
                <c:pt idx="2048">
                  <c:v>12.387238520385388</c:v>
                </c:pt>
                <c:pt idx="2049">
                  <c:v>12.402678613170997</c:v>
                </c:pt>
                <c:pt idx="2050">
                  <c:v>11.991376211606234</c:v>
                </c:pt>
                <c:pt idx="2051">
                  <c:v>12.283808612274472</c:v>
                </c:pt>
                <c:pt idx="2052">
                  <c:v>12.184595513027585</c:v>
                </c:pt>
                <c:pt idx="2053">
                  <c:v>11.98663048336886</c:v>
                </c:pt>
                <c:pt idx="2054">
                  <c:v>12.085899450071615</c:v>
                </c:pt>
                <c:pt idx="2055">
                  <c:v>11.876035949973268</c:v>
                </c:pt>
                <c:pt idx="2056">
                  <c:v>11.318228609220382</c:v>
                </c:pt>
                <c:pt idx="2057">
                  <c:v>10.898697591703437</c:v>
                </c:pt>
                <c:pt idx="2058">
                  <c:v>11.3287346992088</c:v>
                </c:pt>
                <c:pt idx="2059">
                  <c:v>11.292149648236201</c:v>
                </c:pt>
                <c:pt idx="2060">
                  <c:v>11.668850370345712</c:v>
                </c:pt>
                <c:pt idx="2061">
                  <c:v>11.632099858857675</c:v>
                </c:pt>
                <c:pt idx="2062">
                  <c:v>11.64636986509027</c:v>
                </c:pt>
                <c:pt idx="2063">
                  <c:v>11.996407508227131</c:v>
                </c:pt>
                <c:pt idx="2064">
                  <c:v>11.388086131880389</c:v>
                </c:pt>
                <c:pt idx="2065">
                  <c:v>11.490175713670984</c:v>
                </c:pt>
                <c:pt idx="2066">
                  <c:v>11.576283722662735</c:v>
                </c:pt>
                <c:pt idx="2067">
                  <c:v>11.196058419726608</c:v>
                </c:pt>
                <c:pt idx="2068">
                  <c:v>10.610610607842714</c:v>
                </c:pt>
                <c:pt idx="2069">
                  <c:v>10.213187328268235</c:v>
                </c:pt>
                <c:pt idx="2070">
                  <c:v>10.168918160341549</c:v>
                </c:pt>
                <c:pt idx="2071">
                  <c:v>10.039920318408907</c:v>
                </c:pt>
                <c:pt idx="2072">
                  <c:v>10.380352794483002</c:v>
                </c:pt>
                <c:pt idx="2073">
                  <c:v>10.118209373181612</c:v>
                </c:pt>
                <c:pt idx="2074">
                  <c:v>10.117698161733923</c:v>
                </c:pt>
                <c:pt idx="2075">
                  <c:v>10.906130301849485</c:v>
                </c:pt>
                <c:pt idx="2076">
                  <c:v>10.102691117523685</c:v>
                </c:pt>
                <c:pt idx="2077">
                  <c:v>10.140167084705613</c:v>
                </c:pt>
                <c:pt idx="2078">
                  <c:v>10.48260737942924</c:v>
                </c:pt>
                <c:pt idx="2079">
                  <c:v>10.353743284435827</c:v>
                </c:pt>
                <c:pt idx="2080">
                  <c:v>10.668947313657949</c:v>
                </c:pt>
                <c:pt idx="2081">
                  <c:v>10.90423307026105</c:v>
                </c:pt>
                <c:pt idx="2082">
                  <c:v>10.925873541446384</c:v>
                </c:pt>
                <c:pt idx="2083">
                  <c:v>10.925873541446384</c:v>
                </c:pt>
                <c:pt idx="2084">
                  <c:v>10.99012095568969</c:v>
                </c:pt>
                <c:pt idx="2085">
                  <c:v>11.361560520952407</c:v>
                </c:pt>
                <c:pt idx="2086">
                  <c:v>11.44306244678056</c:v>
                </c:pt>
                <c:pt idx="2087">
                  <c:v>11.740537887382224</c:v>
                </c:pt>
                <c:pt idx="2088">
                  <c:v>11.809795272053453</c:v>
                </c:pt>
                <c:pt idx="2089">
                  <c:v>11.849875114526947</c:v>
                </c:pt>
                <c:pt idx="2090">
                  <c:v>11.303747725585447</c:v>
                </c:pt>
                <c:pt idx="2091">
                  <c:v>11.739950459078146</c:v>
                </c:pt>
                <c:pt idx="2092">
                  <c:v>11.93064247578719</c:v>
                </c:pt>
                <c:pt idx="2093">
                  <c:v>11.410622193840908</c:v>
                </c:pt>
                <c:pt idx="2094">
                  <c:v>11.895328939323731</c:v>
                </c:pt>
                <c:pt idx="2095">
                  <c:v>11.843617030612569</c:v>
                </c:pt>
                <c:pt idx="2096">
                  <c:v>11.981019471906675</c:v>
                </c:pt>
                <c:pt idx="2097">
                  <c:v>11.906966955063137</c:v>
                </c:pt>
                <c:pt idx="2098">
                  <c:v>12.262643018252772</c:v>
                </c:pt>
                <c:pt idx="2099">
                  <c:v>12.609110007150141</c:v>
                </c:pt>
                <c:pt idx="2100">
                  <c:v>12.681600392132971</c:v>
                </c:pt>
                <c:pt idx="2101">
                  <c:v>12.681600392132971</c:v>
                </c:pt>
                <c:pt idx="2102">
                  <c:v>12.304610854304256</c:v>
                </c:pt>
                <c:pt idx="2103">
                  <c:v>12.76349860154825</c:v>
                </c:pt>
                <c:pt idx="2104">
                  <c:v>12.748720918487127</c:v>
                </c:pt>
                <c:pt idx="2105">
                  <c:v>12.338566767864794</c:v>
                </c:pt>
                <c:pt idx="2106">
                  <c:v>12.549167669427414</c:v>
                </c:pt>
                <c:pt idx="2107">
                  <c:v>12.669494542167932</c:v>
                </c:pt>
                <c:pt idx="2108">
                  <c:v>12.361229712289955</c:v>
                </c:pt>
                <c:pt idx="2109">
                  <c:v>12.361462175909319</c:v>
                </c:pt>
                <c:pt idx="2110">
                  <c:v>12.130563660137302</c:v>
                </c:pt>
                <c:pt idx="2111">
                  <c:v>11.880825854649403</c:v>
                </c:pt>
                <c:pt idx="2112">
                  <c:v>11.87463248070121</c:v>
                </c:pt>
                <c:pt idx="2113">
                  <c:v>11.788607397305929</c:v>
                </c:pt>
                <c:pt idx="2114">
                  <c:v>11.772215486953353</c:v>
                </c:pt>
                <c:pt idx="2115">
                  <c:v>11.481569438957777</c:v>
                </c:pt>
                <c:pt idx="2116">
                  <c:v>11.269376671968713</c:v>
                </c:pt>
                <c:pt idx="2117">
                  <c:v>11.092557305969027</c:v>
                </c:pt>
                <c:pt idx="2118">
                  <c:v>10.826160313169058</c:v>
                </c:pt>
                <c:pt idx="2119">
                  <c:v>10.875470659652644</c:v>
                </c:pt>
                <c:pt idx="2120">
                  <c:v>10.856218092151973</c:v>
                </c:pt>
                <c:pt idx="2121">
                  <c:v>11.167944685829488</c:v>
                </c:pt>
                <c:pt idx="2122">
                  <c:v>10.991323641959545</c:v>
                </c:pt>
                <c:pt idx="2123">
                  <c:v>11.323914273905407</c:v>
                </c:pt>
                <c:pt idx="2124">
                  <c:v>11.214163868268011</c:v>
                </c:pt>
                <c:pt idx="2125">
                  <c:v>11.684010097309185</c:v>
                </c:pt>
                <c:pt idx="2126">
                  <c:v>11.467144470130764</c:v>
                </c:pt>
                <c:pt idx="2127">
                  <c:v>11.713093174910629</c:v>
                </c:pt>
                <c:pt idx="2128">
                  <c:v>11.085664347389763</c:v>
                </c:pt>
                <c:pt idx="2129">
                  <c:v>11.021608869351404</c:v>
                </c:pt>
                <c:pt idx="2130">
                  <c:v>11.374957370136109</c:v>
                </c:pt>
                <c:pt idx="2131">
                  <c:v>11.334212271529593</c:v>
                </c:pt>
                <c:pt idx="2132">
                  <c:v>11.218621629432372</c:v>
                </c:pt>
                <c:pt idx="2133">
                  <c:v>10.647756225781944</c:v>
                </c:pt>
                <c:pt idx="2134">
                  <c:v>10.886087293041708</c:v>
                </c:pt>
                <c:pt idx="2135">
                  <c:v>10.878905032798277</c:v>
                </c:pt>
                <c:pt idx="2136">
                  <c:v>11.259785016628411</c:v>
                </c:pt>
                <c:pt idx="2137">
                  <c:v>11.714221634651919</c:v>
                </c:pt>
                <c:pt idx="2138">
                  <c:v>11.614299549391195</c:v>
                </c:pt>
                <c:pt idx="2139">
                  <c:v>11.788802401811878</c:v>
                </c:pt>
                <c:pt idx="2140">
                  <c:v>12.43169845342066</c:v>
                </c:pt>
                <c:pt idx="2141">
                  <c:v>12.153992769040348</c:v>
                </c:pt>
                <c:pt idx="2142">
                  <c:v>12.537759062083248</c:v>
                </c:pt>
                <c:pt idx="2143">
                  <c:v>13.129286382722416</c:v>
                </c:pt>
                <c:pt idx="2144">
                  <c:v>13.456443143303712</c:v>
                </c:pt>
                <c:pt idx="2145">
                  <c:v>13.88027625681554</c:v>
                </c:pt>
                <c:pt idx="2146">
                  <c:v>13.923807445993477</c:v>
                </c:pt>
                <c:pt idx="2147">
                  <c:v>13.924261469509412</c:v>
                </c:pt>
                <c:pt idx="2148">
                  <c:v>13.883960811529684</c:v>
                </c:pt>
                <c:pt idx="2149">
                  <c:v>14.116469553102792</c:v>
                </c:pt>
                <c:pt idx="2150">
                  <c:v>14.15367220129141</c:v>
                </c:pt>
                <c:pt idx="2151">
                  <c:v>13.861590030040547</c:v>
                </c:pt>
                <c:pt idx="2152">
                  <c:v>13.99429276116008</c:v>
                </c:pt>
                <c:pt idx="2153">
                  <c:v>13.752366567500177</c:v>
                </c:pt>
                <c:pt idx="2154">
                  <c:v>13.71063854076105</c:v>
                </c:pt>
                <c:pt idx="2155">
                  <c:v>13.757380464368184</c:v>
                </c:pt>
                <c:pt idx="2156">
                  <c:v>13.812746071038465</c:v>
                </c:pt>
                <c:pt idx="2157">
                  <c:v>13.790759858371269</c:v>
                </c:pt>
                <c:pt idx="2158">
                  <c:v>14.018050760588537</c:v>
                </c:pt>
                <c:pt idx="2159">
                  <c:v>14.157732138670546</c:v>
                </c:pt>
                <c:pt idx="2160">
                  <c:v>13.742667846536564</c:v>
                </c:pt>
                <c:pt idx="2161">
                  <c:v>13.511170346714271</c:v>
                </c:pt>
                <c:pt idx="2162">
                  <c:v>13.677063609032361</c:v>
                </c:pt>
                <c:pt idx="2163">
                  <c:v>13.590902975084507</c:v>
                </c:pt>
                <c:pt idx="2164">
                  <c:v>13.191820872458605</c:v>
                </c:pt>
                <c:pt idx="2165">
                  <c:v>13.369419557719954</c:v>
                </c:pt>
                <c:pt idx="2166">
                  <c:v>13.408009272210331</c:v>
                </c:pt>
                <c:pt idx="2167">
                  <c:v>12.995843721089773</c:v>
                </c:pt>
                <c:pt idx="2168">
                  <c:v>12.901216195008315</c:v>
                </c:pt>
                <c:pt idx="2169">
                  <c:v>12.628921378028046</c:v>
                </c:pt>
                <c:pt idx="2170">
                  <c:v>12.229651173115771</c:v>
                </c:pt>
                <c:pt idx="2171">
                  <c:v>12.207779694009526</c:v>
                </c:pt>
                <c:pt idx="2172">
                  <c:v>11.975837743355259</c:v>
                </c:pt>
                <c:pt idx="2173">
                  <c:v>11.728783731320648</c:v>
                </c:pt>
                <c:pt idx="2174">
                  <c:v>11.485322967951792</c:v>
                </c:pt>
                <c:pt idx="2175">
                  <c:v>11.093334438549901</c:v>
                </c:pt>
                <c:pt idx="2176">
                  <c:v>10.92445322022661</c:v>
                </c:pt>
                <c:pt idx="2177">
                  <c:v>11.339535152344842</c:v>
                </c:pt>
                <c:pt idx="2178">
                  <c:v>11.758342599603703</c:v>
                </c:pt>
                <c:pt idx="2179">
                  <c:v>11.239350003703379</c:v>
                </c:pt>
                <c:pt idx="2180">
                  <c:v>11.312743297694871</c:v>
                </c:pt>
                <c:pt idx="2181">
                  <c:v>11.580254697137484</c:v>
                </c:pt>
                <c:pt idx="2182">
                  <c:v>11.608360047332518</c:v>
                </c:pt>
                <c:pt idx="2183">
                  <c:v>11.687551093993671</c:v>
                </c:pt>
                <c:pt idx="2184">
                  <c:v>11.267081540344934</c:v>
                </c:pt>
                <c:pt idx="2185">
                  <c:v>10.961216896953957</c:v>
                </c:pt>
                <c:pt idx="2186">
                  <c:v>10.829716460770783</c:v>
                </c:pt>
                <c:pt idx="2187">
                  <c:v>10.456477945966451</c:v>
                </c:pt>
                <c:pt idx="2188">
                  <c:v>10.427693014717848</c:v>
                </c:pt>
                <c:pt idx="2189">
                  <c:v>10.264098798137663</c:v>
                </c:pt>
                <c:pt idx="2190">
                  <c:v>10.50566349724002</c:v>
                </c:pt>
                <c:pt idx="2191">
                  <c:v>10.875259278188086</c:v>
                </c:pt>
                <c:pt idx="2192">
                  <c:v>10.466146849966204</c:v>
                </c:pt>
                <c:pt idx="2193">
                  <c:v>10.377307249336239</c:v>
                </c:pt>
                <c:pt idx="2194">
                  <c:v>11.226456846812058</c:v>
                </c:pt>
                <c:pt idx="2195">
                  <c:v>11.384653917778362</c:v>
                </c:pt>
                <c:pt idx="2196">
                  <c:v>11.02186958711644</c:v>
                </c:pt>
                <c:pt idx="2197">
                  <c:v>10.9982234720081</c:v>
                </c:pt>
                <c:pt idx="2198">
                  <c:v>11.225432946108858</c:v>
                </c:pt>
                <c:pt idx="2199">
                  <c:v>11.179054717095545</c:v>
                </c:pt>
                <c:pt idx="2200">
                  <c:v>11.415909447159569</c:v>
                </c:pt>
                <c:pt idx="2201">
                  <c:v>11.445824415555402</c:v>
                </c:pt>
                <c:pt idx="2202">
                  <c:v>11.339535152344842</c:v>
                </c:pt>
                <c:pt idx="2203">
                  <c:v>11.67549747887902</c:v>
                </c:pt>
                <c:pt idx="2204">
                  <c:v>11.754187319429187</c:v>
                </c:pt>
                <c:pt idx="2205">
                  <c:v>11.854675589544128</c:v>
                </c:pt>
                <c:pt idx="2206">
                  <c:v>11.810817173204002</c:v>
                </c:pt>
                <c:pt idx="2207">
                  <c:v>12.058478202149894</c:v>
                </c:pt>
                <c:pt idx="2208">
                  <c:v>12.217426784776709</c:v>
                </c:pt>
                <c:pt idx="2209">
                  <c:v>12.226972257051727</c:v>
                </c:pt>
                <c:pt idx="2210">
                  <c:v>12.322346768576896</c:v>
                </c:pt>
                <c:pt idx="2211">
                  <c:v>12.339265426449332</c:v>
                </c:pt>
                <c:pt idx="2212">
                  <c:v>12.321367292391821</c:v>
                </c:pt>
                <c:pt idx="2213">
                  <c:v>12.243741070534726</c:v>
                </c:pt>
                <c:pt idx="2214">
                  <c:v>12.211921817746733</c:v>
                </c:pt>
                <c:pt idx="2215">
                  <c:v>12.036152438268694</c:v>
                </c:pt>
                <c:pt idx="2216">
                  <c:v>12.036152438268694</c:v>
                </c:pt>
                <c:pt idx="2217">
                  <c:v>12.18388798523614</c:v>
                </c:pt>
                <c:pt idx="2218">
                  <c:v>12.228711269399765</c:v>
                </c:pt>
                <c:pt idx="2219">
                  <c:v>12.278614246570823</c:v>
                </c:pt>
                <c:pt idx="2220">
                  <c:v>12.541608908867653</c:v>
                </c:pt>
                <c:pt idx="2221">
                  <c:v>12.404346661229445</c:v>
                </c:pt>
                <c:pt idx="2222">
                  <c:v>12.379998700165197</c:v>
                </c:pt>
                <c:pt idx="2223">
                  <c:v>12.280065146407001</c:v>
                </c:pt>
                <c:pt idx="2224">
                  <c:v>13.15932430225633</c:v>
                </c:pt>
                <c:pt idx="2225">
                  <c:v>12.826382652721033</c:v>
                </c:pt>
                <c:pt idx="2226">
                  <c:v>13.952464454992031</c:v>
                </c:pt>
                <c:pt idx="2227">
                  <c:v>15.76275254567209</c:v>
                </c:pt>
                <c:pt idx="2228">
                  <c:v>16.521981178689362</c:v>
                </c:pt>
                <c:pt idx="2229">
                  <c:v>16.810266430704317</c:v>
                </c:pt>
                <c:pt idx="2230">
                  <c:v>17.406697086129693</c:v>
                </c:pt>
                <c:pt idx="2231">
                  <c:v>18.299676524997381</c:v>
                </c:pt>
                <c:pt idx="2232">
                  <c:v>18.078246278490262</c:v>
                </c:pt>
                <c:pt idx="2233">
                  <c:v>18.634290477750834</c:v>
                </c:pt>
                <c:pt idx="2234">
                  <c:v>17.888704456344421</c:v>
                </c:pt>
                <c:pt idx="2235">
                  <c:v>17.882277876964263</c:v>
                </c:pt>
                <c:pt idx="2236">
                  <c:v>17.850110273654032</c:v>
                </c:pt>
                <c:pt idx="2237">
                  <c:v>17.851752224116947</c:v>
                </c:pt>
                <c:pt idx="2238">
                  <c:v>18.456067749702516</c:v>
                </c:pt>
                <c:pt idx="2239">
                  <c:v>18.355399468689654</c:v>
                </c:pt>
                <c:pt idx="2240">
                  <c:v>17.325285488019507</c:v>
                </c:pt>
                <c:pt idx="2241">
                  <c:v>17.321702552299669</c:v>
                </c:pt>
                <c:pt idx="2242">
                  <c:v>17.140259792288052</c:v>
                </c:pt>
                <c:pt idx="2243">
                  <c:v>16.202773992667776</c:v>
                </c:pt>
                <c:pt idx="2244">
                  <c:v>14.620447026830876</c:v>
                </c:pt>
                <c:pt idx="2245">
                  <c:v>14.251275401686426</c:v>
                </c:pt>
                <c:pt idx="2246">
                  <c:v>13.70527207897095</c:v>
                </c:pt>
                <c:pt idx="2247">
                  <c:v>13.237051795240701</c:v>
                </c:pt>
                <c:pt idx="2248">
                  <c:v>13.21684748611651</c:v>
                </c:pt>
                <c:pt idx="2249">
                  <c:v>12.93347256709033</c:v>
                </c:pt>
                <c:pt idx="2250">
                  <c:v>12.636791750564164</c:v>
                </c:pt>
                <c:pt idx="2251">
                  <c:v>11.614299549391195</c:v>
                </c:pt>
                <c:pt idx="2252">
                  <c:v>10.710398857099625</c:v>
                </c:pt>
                <c:pt idx="2253">
                  <c:v>9.2331860231412541</c:v>
                </c:pt>
                <c:pt idx="2254">
                  <c:v>9.2501009624810013</c:v>
                </c:pt>
                <c:pt idx="2255">
                  <c:v>9.0114231465644075</c:v>
                </c:pt>
                <c:pt idx="2256">
                  <c:v>8.9776862595388476</c:v>
                </c:pt>
                <c:pt idx="2257">
                  <c:v>8.9776862595388476</c:v>
                </c:pt>
                <c:pt idx="2258">
                  <c:v>9.2973856169540916</c:v>
                </c:pt>
                <c:pt idx="2259">
                  <c:v>9.2828478587024197</c:v>
                </c:pt>
                <c:pt idx="2260">
                  <c:v>8.9499887625948844</c:v>
                </c:pt>
                <c:pt idx="2261">
                  <c:v>8.7913881581424018</c:v>
                </c:pt>
                <c:pt idx="2262">
                  <c:v>8.4189168495442601</c:v>
                </c:pt>
                <c:pt idx="2263">
                  <c:v>8.3891692627780632</c:v>
                </c:pt>
                <c:pt idx="2264">
                  <c:v>8.4074406017089629</c:v>
                </c:pt>
                <c:pt idx="2265">
                  <c:v>8.2684833005790122</c:v>
                </c:pt>
                <c:pt idx="2266">
                  <c:v>8.143045830787079</c:v>
                </c:pt>
                <c:pt idx="2267">
                  <c:v>7.8198832927764128</c:v>
                </c:pt>
                <c:pt idx="2268">
                  <c:v>7.6282144157341172</c:v>
                </c:pt>
                <c:pt idx="2269">
                  <c:v>8.2101703119803879</c:v>
                </c:pt>
                <c:pt idx="2270">
                  <c:v>8.865599278938376</c:v>
                </c:pt>
                <c:pt idx="2271">
                  <c:v>9.3526688059132859</c:v>
                </c:pt>
                <c:pt idx="2272">
                  <c:v>9.302329457363534</c:v>
                </c:pt>
                <c:pt idx="2273">
                  <c:v>9.2828478587024179</c:v>
                </c:pt>
                <c:pt idx="2274">
                  <c:v>9.635900306283979</c:v>
                </c:pt>
                <c:pt idx="2275">
                  <c:v>10.611260555405876</c:v>
                </c:pt>
                <c:pt idx="2276">
                  <c:v>45.1796414328401</c:v>
                </c:pt>
                <c:pt idx="2277">
                  <c:v>62.013309657787538</c:v>
                </c:pt>
                <c:pt idx="2278">
                  <c:v>74.18483440146251</c:v>
                </c:pt>
                <c:pt idx="2279">
                  <c:v>83.916084247313989</c:v>
                </c:pt>
                <c:pt idx="2280">
                  <c:v>92.024116029628246</c:v>
                </c:pt>
                <c:pt idx="2281">
                  <c:v>98.960435609853462</c:v>
                </c:pt>
                <c:pt idx="2282">
                  <c:v>104.76179877588309</c:v>
                </c:pt>
                <c:pt idx="2283">
                  <c:v>109.848359427738</c:v>
                </c:pt>
                <c:pt idx="2284">
                  <c:v>114.04558475582846</c:v>
                </c:pt>
                <c:pt idx="2285">
                  <c:v>117.2801391305568</c:v>
                </c:pt>
                <c:pt idx="2286">
                  <c:v>120.14414713981711</c:v>
                </c:pt>
                <c:pt idx="2287">
                  <c:v>122.008050422159</c:v>
                </c:pt>
                <c:pt idx="2288">
                  <c:v>123.2671148733327</c:v>
                </c:pt>
                <c:pt idx="2289">
                  <c:v>124.28598833557918</c:v>
                </c:pt>
                <c:pt idx="2290">
                  <c:v>124.71141860725699</c:v>
                </c:pt>
                <c:pt idx="2291">
                  <c:v>124.7081420343322</c:v>
                </c:pt>
                <c:pt idx="2292">
                  <c:v>123.47762140770993</c:v>
                </c:pt>
                <c:pt idx="2293">
                  <c:v>122.00275105245707</c:v>
                </c:pt>
                <c:pt idx="2294">
                  <c:v>120.90021058517735</c:v>
                </c:pt>
                <c:pt idx="2295">
                  <c:v>119.85961136588759</c:v>
                </c:pt>
                <c:pt idx="2296">
                  <c:v>119.34548034241146</c:v>
                </c:pt>
                <c:pt idx="2297">
                  <c:v>117.41524700772491</c:v>
                </c:pt>
                <c:pt idx="2298">
                  <c:v>115.90071553734673</c:v>
                </c:pt>
                <c:pt idx="2299">
                  <c:v>113.66840258896241</c:v>
                </c:pt>
                <c:pt idx="2300">
                  <c:v>111.23840505248486</c:v>
                </c:pt>
                <c:pt idx="2301">
                  <c:v>109.7465209041941</c:v>
                </c:pt>
                <c:pt idx="2302">
                  <c:v>108.29910157660059</c:v>
                </c:pt>
                <c:pt idx="2303">
                  <c:v>107.511902575493</c:v>
                </c:pt>
                <c:pt idx="2304">
                  <c:v>104.92712851713124</c:v>
                </c:pt>
                <c:pt idx="2305">
                  <c:v>101.36666118601322</c:v>
                </c:pt>
                <c:pt idx="2306">
                  <c:v>101.83974338799825</c:v>
                </c:pt>
                <c:pt idx="2307">
                  <c:v>102.22232362980144</c:v>
                </c:pt>
                <c:pt idx="2308">
                  <c:v>101.27835774303628</c:v>
                </c:pt>
                <c:pt idx="2309">
                  <c:v>100.59158919160167</c:v>
                </c:pt>
                <c:pt idx="2310">
                  <c:v>99.306815869611484</c:v>
                </c:pt>
                <c:pt idx="2311">
                  <c:v>97.139572532125854</c:v>
                </c:pt>
                <c:pt idx="2312">
                  <c:v>94.374047913291463</c:v>
                </c:pt>
                <c:pt idx="2313">
                  <c:v>91.094374455677922</c:v>
                </c:pt>
                <c:pt idx="2314">
                  <c:v>86.924336234940895</c:v>
                </c:pt>
                <c:pt idx="2315">
                  <c:v>82.071100377912444</c:v>
                </c:pt>
                <c:pt idx="2316">
                  <c:v>76.508319733907015</c:v>
                </c:pt>
                <c:pt idx="2317">
                  <c:v>69.862294765381549</c:v>
                </c:pt>
                <c:pt idx="2318">
                  <c:v>62.260151274965672</c:v>
                </c:pt>
                <c:pt idx="2319">
                  <c:v>52.315148022763722</c:v>
                </c:pt>
                <c:pt idx="2320">
                  <c:v>38.8199646467177</c:v>
                </c:pt>
                <c:pt idx="2321">
                  <c:v>12.968751125190366</c:v>
                </c:pt>
                <c:pt idx="2322">
                  <c:v>12.899968814004895</c:v>
                </c:pt>
                <c:pt idx="2323">
                  <c:v>12.452622859942158</c:v>
                </c:pt>
                <c:pt idx="2324">
                  <c:v>12.513165480597928</c:v>
                </c:pt>
                <c:pt idx="2325">
                  <c:v>12.54325848148452</c:v>
                </c:pt>
                <c:pt idx="2326">
                  <c:v>12.470885634378464</c:v>
                </c:pt>
                <c:pt idx="2327">
                  <c:v>12.314648785598543</c:v>
                </c:pt>
                <c:pt idx="2328">
                  <c:v>12.533908032800969</c:v>
                </c:pt>
                <c:pt idx="2329">
                  <c:v>12.582646323637453</c:v>
                </c:pt>
                <c:pt idx="2330">
                  <c:v>12.507469032909709</c:v>
                </c:pt>
                <c:pt idx="2331">
                  <c:v>12.235289079158479</c:v>
                </c:pt>
                <c:pt idx="2332">
                  <c:v>12.184454010756077</c:v>
                </c:pt>
                <c:pt idx="2333">
                  <c:v>12.064005548948385</c:v>
                </c:pt>
                <c:pt idx="2334">
                  <c:v>12.112689271144966</c:v>
                </c:pt>
                <c:pt idx="2335">
                  <c:v>11.837986781310526</c:v>
                </c:pt>
                <c:pt idx="2336">
                  <c:v>12.049705485979754</c:v>
                </c:pt>
                <c:pt idx="2337">
                  <c:v>11.625576243288148</c:v>
                </c:pt>
                <c:pt idx="2338">
                  <c:v>11.809795272053451</c:v>
                </c:pt>
                <c:pt idx="2339">
                  <c:v>11.7624475520103</c:v>
                </c:pt>
                <c:pt idx="2340">
                  <c:v>11.903636071559728</c:v>
                </c:pt>
                <c:pt idx="2341">
                  <c:v>12.184595513027585</c:v>
                </c:pt>
                <c:pt idx="2342">
                  <c:v>12.614031595942997</c:v>
                </c:pt>
                <c:pt idx="2343">
                  <c:v>13.111546197079917</c:v>
                </c:pt>
                <c:pt idx="2344">
                  <c:v>12.917109743976438</c:v>
                </c:pt>
                <c:pt idx="2345">
                  <c:v>12.693739972236655</c:v>
                </c:pt>
                <c:pt idx="2346">
                  <c:v>12.955449747535573</c:v>
                </c:pt>
                <c:pt idx="2347">
                  <c:v>13.280743989684472</c:v>
                </c:pt>
                <c:pt idx="2348">
                  <c:v>12.995180362106488</c:v>
                </c:pt>
                <c:pt idx="2349">
                  <c:v>13.163909212203128</c:v>
                </c:pt>
                <c:pt idx="2350">
                  <c:v>12.954385047312085</c:v>
                </c:pt>
                <c:pt idx="2351">
                  <c:v>13.048142511043698</c:v>
                </c:pt>
                <c:pt idx="2352">
                  <c:v>12.927916865557213</c:v>
                </c:pt>
                <c:pt idx="2353">
                  <c:v>12.892348260815828</c:v>
                </c:pt>
                <c:pt idx="2354">
                  <c:v>13.21284641342764</c:v>
                </c:pt>
                <c:pt idx="2355">
                  <c:v>13.433574339699389</c:v>
                </c:pt>
                <c:pt idx="2356">
                  <c:v>13.369419557719954</c:v>
                </c:pt>
                <c:pt idx="2357">
                  <c:v>13.448966973105337</c:v>
                </c:pt>
                <c:pt idx="2358">
                  <c:v>13.408009272210331</c:v>
                </c:pt>
                <c:pt idx="2359">
                  <c:v>13.575205593159602</c:v>
                </c:pt>
                <c:pt idx="2360">
                  <c:v>13.65759440961223</c:v>
                </c:pt>
                <c:pt idx="2361">
                  <c:v>13.953329434183463</c:v>
                </c:pt>
                <c:pt idx="2362">
                  <c:v>14.140550640402695</c:v>
                </c:pt>
                <c:pt idx="2363">
                  <c:v>13.857899527357846</c:v>
                </c:pt>
                <c:pt idx="2364">
                  <c:v>14.17010776328072</c:v>
                </c:pt>
                <c:pt idx="2365">
                  <c:v>13.968807615787991</c:v>
                </c:pt>
                <c:pt idx="2366">
                  <c:v>14.036242088038486</c:v>
                </c:pt>
                <c:pt idx="2367">
                  <c:v>14.165239955203925</c:v>
                </c:pt>
                <c:pt idx="2368">
                  <c:v>13.92760427781965</c:v>
                </c:pt>
                <c:pt idx="2369">
                  <c:v>13.960370841169961</c:v>
                </c:pt>
                <c:pt idx="2370">
                  <c:v>13.693021966487626</c:v>
                </c:pt>
                <c:pt idx="2371">
                  <c:v>13.697428234157135</c:v>
                </c:pt>
                <c:pt idx="2372">
                  <c:v>13.226410360883364</c:v>
                </c:pt>
                <c:pt idx="2373">
                  <c:v>13.042106874433207</c:v>
                </c:pt>
                <c:pt idx="2374">
                  <c:v>13.263899671015256</c:v>
                </c:pt>
                <c:pt idx="2375">
                  <c:v>13.270873820288664</c:v>
                </c:pt>
                <c:pt idx="2376">
                  <c:v>13.124558011167679</c:v>
                </c:pt>
                <c:pt idx="2377">
                  <c:v>12.909454790521007</c:v>
                </c:pt>
                <c:pt idx="2378">
                  <c:v>12.794754672381835</c:v>
                </c:pt>
                <c:pt idx="2379">
                  <c:v>12.644975377550191</c:v>
                </c:pt>
                <c:pt idx="2380">
                  <c:v>12.897295448467382</c:v>
                </c:pt>
                <c:pt idx="2381">
                  <c:v>12.735189730477687</c:v>
                </c:pt>
                <c:pt idx="2382">
                  <c:v>12.912659741865554</c:v>
                </c:pt>
                <c:pt idx="2383">
                  <c:v>12.743986636931901</c:v>
                </c:pt>
                <c:pt idx="2384">
                  <c:v>12.168170273960335</c:v>
                </c:pt>
                <c:pt idx="2385">
                  <c:v>12.366064055708472</c:v>
                </c:pt>
                <c:pt idx="2386">
                  <c:v>12.133548059234245</c:v>
                </c:pt>
                <c:pt idx="2387">
                  <c:v>11.882615525385729</c:v>
                </c:pt>
                <c:pt idx="2388">
                  <c:v>11.740537887382224</c:v>
                </c:pt>
                <c:pt idx="2389">
                  <c:v>11.415305313582238</c:v>
                </c:pt>
                <c:pt idx="2390">
                  <c:v>11.643408672602769</c:v>
                </c:pt>
                <c:pt idx="2391">
                  <c:v>11.372481406154654</c:v>
                </c:pt>
                <c:pt idx="2392">
                  <c:v>11.631358723172733</c:v>
                </c:pt>
                <c:pt idx="2393">
                  <c:v>11.786462134804166</c:v>
                </c:pt>
                <c:pt idx="2394">
                  <c:v>11.349261963953284</c:v>
                </c:pt>
                <c:pt idx="2395">
                  <c:v>11.452249691152641</c:v>
                </c:pt>
                <c:pt idx="2396">
                  <c:v>11.312133654447862</c:v>
                </c:pt>
                <c:pt idx="2397">
                  <c:v>11.247681753480858</c:v>
                </c:pt>
                <c:pt idx="2398">
                  <c:v>11.187071766670835</c:v>
                </c:pt>
                <c:pt idx="2399">
                  <c:v>10.960745003624652</c:v>
                </c:pt>
                <c:pt idx="2400">
                  <c:v>11.132225149609992</c:v>
                </c:pt>
                <c:pt idx="2401">
                  <c:v>11.149403365306094</c:v>
                </c:pt>
                <c:pt idx="2402">
                  <c:v>11.046609715514375</c:v>
                </c:pt>
                <c:pt idx="2403">
                  <c:v>10.863891472719823</c:v>
                </c:pt>
                <c:pt idx="2404">
                  <c:v>10.56175055152524</c:v>
                </c:pt>
                <c:pt idx="2405">
                  <c:v>10.824886185061727</c:v>
                </c:pt>
                <c:pt idx="2406">
                  <c:v>10.749445321161632</c:v>
                </c:pt>
                <c:pt idx="2407">
                  <c:v>11.182909785219936</c:v>
                </c:pt>
                <c:pt idx="2408">
                  <c:v>11.517153623452581</c:v>
                </c:pt>
                <c:pt idx="2409">
                  <c:v>11.530868117372163</c:v>
                </c:pt>
                <c:pt idx="2410">
                  <c:v>11.072436523851136</c:v>
                </c:pt>
                <c:pt idx="2411">
                  <c:v>11.183732027769867</c:v>
                </c:pt>
                <c:pt idx="2412">
                  <c:v>11.037084822511346</c:v>
                </c:pt>
                <c:pt idx="2413">
                  <c:v>11.613557277754227</c:v>
                </c:pt>
                <c:pt idx="2414">
                  <c:v>12.001388808522675</c:v>
                </c:pt>
                <c:pt idx="2415">
                  <c:v>11.726578515413646</c:v>
                </c:pt>
                <c:pt idx="2416">
                  <c:v>11.999233692007264</c:v>
                </c:pt>
                <c:pt idx="2417">
                  <c:v>12.326450393781043</c:v>
                </c:pt>
                <c:pt idx="2418">
                  <c:v>12.279737538847826</c:v>
                </c:pt>
                <c:pt idx="2419">
                  <c:v>12.683095818459696</c:v>
                </c:pt>
                <c:pt idx="2420">
                  <c:v>12.528404508964016</c:v>
                </c:pt>
                <c:pt idx="2421">
                  <c:v>12.698311952254977</c:v>
                </c:pt>
                <c:pt idx="2422">
                  <c:v>12.698311952254977</c:v>
                </c:pt>
                <c:pt idx="2423">
                  <c:v>12.647474874047198</c:v>
                </c:pt>
                <c:pt idx="2424">
                  <c:v>12.871283958444716</c:v>
                </c:pt>
                <c:pt idx="2425">
                  <c:v>13.031250594762273</c:v>
                </c:pt>
                <c:pt idx="2426">
                  <c:v>12.958293827405633</c:v>
                </c:pt>
                <c:pt idx="2427">
                  <c:v>12.983776859545204</c:v>
                </c:pt>
                <c:pt idx="2428">
                  <c:v>13.15826736314474</c:v>
                </c:pt>
                <c:pt idx="2429">
                  <c:v>13.277146105080421</c:v>
                </c:pt>
                <c:pt idx="2430">
                  <c:v>13.216052043653331</c:v>
                </c:pt>
                <c:pt idx="2431">
                  <c:v>13.099023459190215</c:v>
                </c:pt>
                <c:pt idx="2432">
                  <c:v>13.416052928878752</c:v>
                </c:pt>
                <c:pt idx="2433">
                  <c:v>13.730871862531641</c:v>
                </c:pt>
                <c:pt idx="2434">
                  <c:v>13.926708741632712</c:v>
                </c:pt>
                <c:pt idx="2435">
                  <c:v>13.706183900859605</c:v>
                </c:pt>
                <c:pt idx="2436">
                  <c:v>14.051114672132305</c:v>
                </c:pt>
                <c:pt idx="2437">
                  <c:v>13.956479976460159</c:v>
                </c:pt>
                <c:pt idx="2438">
                  <c:v>12.959644321985882</c:v>
                </c:pt>
                <c:pt idx="2439">
                  <c:v>13.025123652151873</c:v>
                </c:pt>
                <c:pt idx="2440">
                  <c:v>13.48978721012155</c:v>
                </c:pt>
                <c:pt idx="2441">
                  <c:v>14.07340065728984</c:v>
                </c:pt>
                <c:pt idx="2442">
                  <c:v>14.734005195156852</c:v>
                </c:pt>
                <c:pt idx="2443">
                  <c:v>14.841383583300672</c:v>
                </c:pt>
                <c:pt idx="2444">
                  <c:v>15.157506391224119</c:v>
                </c:pt>
                <c:pt idx="2445">
                  <c:v>14.82216005079653</c:v>
                </c:pt>
                <c:pt idx="2446">
                  <c:v>13.313079855469029</c:v>
                </c:pt>
                <c:pt idx="2447">
                  <c:v>14.099645385611653</c:v>
                </c:pt>
                <c:pt idx="2448">
                  <c:v>13.45362404707371</c:v>
                </c:pt>
                <c:pt idx="2449">
                  <c:v>14.863265679744362</c:v>
                </c:pt>
                <c:pt idx="2450">
                  <c:v>5.5075705472861021</c:v>
                </c:pt>
                <c:pt idx="2451">
                  <c:v>7.0710678118654755</c:v>
                </c:pt>
              </c:numCache>
            </c:numRef>
          </c:val>
          <c:smooth val="0"/>
          <c:extLst>
            <c:ext xmlns:c16="http://schemas.microsoft.com/office/drawing/2014/chart" uri="{C3380CC4-5D6E-409C-BE32-E72D297353CC}">
              <c16:uniqueId val="{00000003-FC66-2144-AB8E-B2E86AA4D44E}"/>
            </c:ext>
          </c:extLst>
        </c:ser>
        <c:ser>
          <c:idx val="4"/>
          <c:order val="4"/>
          <c:tx>
            <c:strRef>
              <c:f>'DRT Rolling Stdev'!$G$1</c:f>
              <c:strCache>
                <c:ptCount val="1"/>
                <c:pt idx="0">
                  <c:v>Ambient Temperature</c:v>
                </c:pt>
              </c:strCache>
            </c:strRef>
          </c:tx>
          <c:spPr>
            <a:ln w="28575" cap="rnd">
              <a:solidFill>
                <a:schemeClr val="accent5"/>
              </a:solidFill>
              <a:round/>
            </a:ln>
            <a:effectLst/>
          </c:spPr>
          <c:marker>
            <c:symbol val="none"/>
          </c:marker>
          <c:cat>
            <c:numRef>
              <c:f>'DRT Rolling Stdev'!$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G$2:$G$2453</c:f>
              <c:numCache>
                <c:formatCode>#,##0.00</c:formatCode>
                <c:ptCount val="2452"/>
                <c:pt idx="0">
                  <c:v>3.3952299195925675</c:v>
                </c:pt>
                <c:pt idx="1">
                  <c:v>3.3562431103976884</c:v>
                </c:pt>
                <c:pt idx="2">
                  <c:v>3.3986136456860874</c:v>
                </c:pt>
                <c:pt idx="3">
                  <c:v>3.3044727612563332</c:v>
                </c:pt>
                <c:pt idx="4">
                  <c:v>3.3598371608050348</c:v>
                </c:pt>
                <c:pt idx="5">
                  <c:v>3.4274081222961477</c:v>
                </c:pt>
                <c:pt idx="6">
                  <c:v>3.4006422652334303</c:v>
                </c:pt>
                <c:pt idx="7">
                  <c:v>3.4006422652334303</c:v>
                </c:pt>
                <c:pt idx="8">
                  <c:v>3.3433756772968595</c:v>
                </c:pt>
                <c:pt idx="9">
                  <c:v>3.3461248817307947</c:v>
                </c:pt>
                <c:pt idx="10">
                  <c:v>3.3086441991821376</c:v>
                </c:pt>
                <c:pt idx="11">
                  <c:v>3.337181686572579</c:v>
                </c:pt>
                <c:pt idx="12">
                  <c:v>3.3937061421564398</c:v>
                </c:pt>
                <c:pt idx="13">
                  <c:v>3.3828505968959881</c:v>
                </c:pt>
                <c:pt idx="14">
                  <c:v>3.390487029742272</c:v>
                </c:pt>
                <c:pt idx="15">
                  <c:v>3.3500729105121172</c:v>
                </c:pt>
                <c:pt idx="16">
                  <c:v>3.3700847562587826</c:v>
                </c:pt>
                <c:pt idx="17">
                  <c:v>3.3986136456860874</c:v>
                </c:pt>
                <c:pt idx="18">
                  <c:v>3.2449784371350248</c:v>
                </c:pt>
                <c:pt idx="19">
                  <c:v>3.2091822283430149</c:v>
                </c:pt>
                <c:pt idx="20">
                  <c:v>3.2652823714829391</c:v>
                </c:pt>
                <c:pt idx="21">
                  <c:v>3.2236553821692087</c:v>
                </c:pt>
                <c:pt idx="22">
                  <c:v>3.314891513628528</c:v>
                </c:pt>
                <c:pt idx="23">
                  <c:v>3.3192230083726439</c:v>
                </c:pt>
                <c:pt idx="24">
                  <c:v>3.2816102019041478</c:v>
                </c:pt>
                <c:pt idx="25">
                  <c:v>3.4031763391576257</c:v>
                </c:pt>
                <c:pt idx="26">
                  <c:v>3.4788358470291056</c:v>
                </c:pt>
                <c:pt idx="27">
                  <c:v>3.5712775009099684</c:v>
                </c:pt>
                <c:pt idx="28">
                  <c:v>3.6382388059602966</c:v>
                </c:pt>
                <c:pt idx="29">
                  <c:v>3.5789936298209373</c:v>
                </c:pt>
                <c:pt idx="30">
                  <c:v>3.5789936298209373</c:v>
                </c:pt>
                <c:pt idx="31">
                  <c:v>3.5572493570883879</c:v>
                </c:pt>
                <c:pt idx="32">
                  <c:v>3.4534673563838982</c:v>
                </c:pt>
                <c:pt idx="33">
                  <c:v>3.4534673563838982</c:v>
                </c:pt>
                <c:pt idx="34">
                  <c:v>3.3741750801143042</c:v>
                </c:pt>
                <c:pt idx="35">
                  <c:v>3.3500729105121163</c:v>
                </c:pt>
                <c:pt idx="36">
                  <c:v>3.3536735733791403</c:v>
                </c:pt>
                <c:pt idx="37">
                  <c:v>3.3904870297422725</c:v>
                </c:pt>
                <c:pt idx="38">
                  <c:v>3.3521309057367379</c:v>
                </c:pt>
                <c:pt idx="39">
                  <c:v>3.2120462915889529</c:v>
                </c:pt>
                <c:pt idx="40">
                  <c:v>3.2947188671862584</c:v>
                </c:pt>
                <c:pt idx="41">
                  <c:v>3.23433448181073</c:v>
                </c:pt>
                <c:pt idx="42">
                  <c:v>3.1905031491643427</c:v>
                </c:pt>
                <c:pt idx="43">
                  <c:v>3.2492262562597602</c:v>
                </c:pt>
                <c:pt idx="44">
                  <c:v>3.2772289949067446</c:v>
                </c:pt>
                <c:pt idx="45">
                  <c:v>3.2737198076974061</c:v>
                </c:pt>
                <c:pt idx="46">
                  <c:v>3.2428524409881785</c:v>
                </c:pt>
                <c:pt idx="47">
                  <c:v>3.3268327418062396</c:v>
                </c:pt>
                <c:pt idx="48">
                  <c:v>3.321127076381039</c:v>
                </c:pt>
                <c:pt idx="49">
                  <c:v>3.3904870297422725</c:v>
                </c:pt>
                <c:pt idx="50">
                  <c:v>3.4655944407253152</c:v>
                </c:pt>
                <c:pt idx="51">
                  <c:v>3.4011492310620564</c:v>
                </c:pt>
                <c:pt idx="52">
                  <c:v>3.3495582141358669</c:v>
                </c:pt>
                <c:pt idx="53">
                  <c:v>3.4389586769266649</c:v>
                </c:pt>
                <c:pt idx="54">
                  <c:v>3.5143384459445106</c:v>
                </c:pt>
                <c:pt idx="55">
                  <c:v>3.4132938216103925</c:v>
                </c:pt>
                <c:pt idx="56">
                  <c:v>3.4576252564141625</c:v>
                </c:pt>
                <c:pt idx="57">
                  <c:v>3.4132938216103925</c:v>
                </c:pt>
                <c:pt idx="58">
                  <c:v>3.4589547288294993</c:v>
                </c:pt>
                <c:pt idx="59">
                  <c:v>3.4589547288294993</c:v>
                </c:pt>
                <c:pt idx="60">
                  <c:v>3.3782604514988064</c:v>
                </c:pt>
                <c:pt idx="61">
                  <c:v>3.4813130037221676</c:v>
                </c:pt>
                <c:pt idx="62">
                  <c:v>3.4839533628455417</c:v>
                </c:pt>
                <c:pt idx="63">
                  <c:v>3.514992519735014</c:v>
                </c:pt>
                <c:pt idx="64">
                  <c:v>3.6079414323559003</c:v>
                </c:pt>
                <c:pt idx="65">
                  <c:v>3.6514837167011072</c:v>
                </c:pt>
                <c:pt idx="66">
                  <c:v>3.6990213057901755</c:v>
                </c:pt>
                <c:pt idx="67">
                  <c:v>3.6811105270887592</c:v>
                </c:pt>
                <c:pt idx="68">
                  <c:v>3.7430395172354523</c:v>
                </c:pt>
                <c:pt idx="69">
                  <c:v>3.7594325812991158</c:v>
                </c:pt>
                <c:pt idx="70">
                  <c:v>3.6728265916612228</c:v>
                </c:pt>
                <c:pt idx="71">
                  <c:v>3.6477043639029714</c:v>
                </c:pt>
                <c:pt idx="72">
                  <c:v>3.6168507289356442</c:v>
                </c:pt>
                <c:pt idx="73">
                  <c:v>3.554016668891498</c:v>
                </c:pt>
                <c:pt idx="74">
                  <c:v>3.5905367318812527</c:v>
                </c:pt>
                <c:pt idx="75">
                  <c:v>3.5881349812511467</c:v>
                </c:pt>
                <c:pt idx="76">
                  <c:v>3.5378089199422558</c:v>
                </c:pt>
                <c:pt idx="77">
                  <c:v>3.4971252561884691</c:v>
                </c:pt>
                <c:pt idx="78">
                  <c:v>3.5051685974503024</c:v>
                </c:pt>
                <c:pt idx="79">
                  <c:v>3.562254226246885</c:v>
                </c:pt>
                <c:pt idx="80">
                  <c:v>3.4349454980701872</c:v>
                </c:pt>
                <c:pt idx="81">
                  <c:v>3.3828505968959881</c:v>
                </c:pt>
                <c:pt idx="82">
                  <c:v>3.4389586769266649</c:v>
                </c:pt>
                <c:pt idx="83">
                  <c:v>3.376899210201878</c:v>
                </c:pt>
                <c:pt idx="84">
                  <c:v>3.376899210201878</c:v>
                </c:pt>
                <c:pt idx="85">
                  <c:v>3.3630856110997542</c:v>
                </c:pt>
                <c:pt idx="86">
                  <c:v>3.2279312616418983</c:v>
                </c:pt>
                <c:pt idx="87">
                  <c:v>3.1330643073551787</c:v>
                </c:pt>
                <c:pt idx="88">
                  <c:v>3.0103270529158852</c:v>
                </c:pt>
                <c:pt idx="89">
                  <c:v>3.1200132625712813</c:v>
                </c:pt>
                <c:pt idx="90">
                  <c:v>3.0589984086899777</c:v>
                </c:pt>
                <c:pt idx="91">
                  <c:v>2.9641536560292754</c:v>
                </c:pt>
                <c:pt idx="92">
                  <c:v>3.0369373562434778</c:v>
                </c:pt>
                <c:pt idx="93">
                  <c:v>2.8945052978946562</c:v>
                </c:pt>
                <c:pt idx="94">
                  <c:v>2.8302552583797476</c:v>
                </c:pt>
                <c:pt idx="95">
                  <c:v>2.8373534698101457</c:v>
                </c:pt>
                <c:pt idx="96">
                  <c:v>2.914292958553732</c:v>
                </c:pt>
                <c:pt idx="97">
                  <c:v>2.9767296720108609</c:v>
                </c:pt>
                <c:pt idx="98">
                  <c:v>2.8687776242628606</c:v>
                </c:pt>
                <c:pt idx="99">
                  <c:v>2.8687776242628602</c:v>
                </c:pt>
                <c:pt idx="100">
                  <c:v>3.0484591924898488</c:v>
                </c:pt>
                <c:pt idx="101">
                  <c:v>3.0484591924898488</c:v>
                </c:pt>
                <c:pt idx="102">
                  <c:v>3.0484591924898488</c:v>
                </c:pt>
                <c:pt idx="103">
                  <c:v>3.0680032069997778</c:v>
                </c:pt>
                <c:pt idx="104">
                  <c:v>3.0889123183322678</c:v>
                </c:pt>
                <c:pt idx="105">
                  <c:v>3.169720245823219</c:v>
                </c:pt>
                <c:pt idx="106">
                  <c:v>3.2767028564084661</c:v>
                </c:pt>
                <c:pt idx="107">
                  <c:v>3.268800616627507</c:v>
                </c:pt>
                <c:pt idx="108">
                  <c:v>3.322684138623091</c:v>
                </c:pt>
                <c:pt idx="109">
                  <c:v>3.3911649915626341</c:v>
                </c:pt>
                <c:pt idx="110">
                  <c:v>3.4011492310620564</c:v>
                </c:pt>
                <c:pt idx="111">
                  <c:v>3.4971252561884687</c:v>
                </c:pt>
                <c:pt idx="112">
                  <c:v>3.3598371608050348</c:v>
                </c:pt>
                <c:pt idx="113">
                  <c:v>3.4971252561884683</c:v>
                </c:pt>
                <c:pt idx="114">
                  <c:v>3.430927624974927</c:v>
                </c:pt>
                <c:pt idx="115">
                  <c:v>3.4349454980701863</c:v>
                </c:pt>
                <c:pt idx="116">
                  <c:v>3.4381229843000689</c:v>
                </c:pt>
                <c:pt idx="117">
                  <c:v>3.4509702117373968</c:v>
                </c:pt>
                <c:pt idx="118">
                  <c:v>3.4481379282757518</c:v>
                </c:pt>
                <c:pt idx="119">
                  <c:v>3.3321837098008369</c:v>
                </c:pt>
                <c:pt idx="120">
                  <c:v>3.4514697852017937</c:v>
                </c:pt>
                <c:pt idx="121">
                  <c:v>3.430927624974927</c:v>
                </c:pt>
                <c:pt idx="122">
                  <c:v>3.4414645372166102</c:v>
                </c:pt>
                <c:pt idx="123">
                  <c:v>3.4898868670527974</c:v>
                </c:pt>
                <c:pt idx="124">
                  <c:v>3.4898868670527978</c:v>
                </c:pt>
                <c:pt idx="125">
                  <c:v>3.5202207349807639</c:v>
                </c:pt>
                <c:pt idx="126">
                  <c:v>3.4489711942622217</c:v>
                </c:pt>
                <c:pt idx="127">
                  <c:v>3.4200221818195766</c:v>
                </c:pt>
                <c:pt idx="128">
                  <c:v>3.4589547288294997</c:v>
                </c:pt>
                <c:pt idx="129">
                  <c:v>3.4589547288295002</c:v>
                </c:pt>
                <c:pt idx="130">
                  <c:v>3.298205712132011</c:v>
                </c:pt>
                <c:pt idx="131">
                  <c:v>3.383530088837539</c:v>
                </c:pt>
                <c:pt idx="132">
                  <c:v>3.3392476267332554</c:v>
                </c:pt>
                <c:pt idx="133">
                  <c:v>3.3774097399818306</c:v>
                </c:pt>
                <c:pt idx="134">
                  <c:v>3.2983799576197379</c:v>
                </c:pt>
                <c:pt idx="135">
                  <c:v>3.2745974570543983</c:v>
                </c:pt>
                <c:pt idx="136">
                  <c:v>3.2412570287523907</c:v>
                </c:pt>
                <c:pt idx="137">
                  <c:v>3.1832897030168867</c:v>
                </c:pt>
                <c:pt idx="138">
                  <c:v>3.1484351157616248</c:v>
                </c:pt>
                <c:pt idx="139">
                  <c:v>2.9905982948098426</c:v>
                </c:pt>
                <c:pt idx="140">
                  <c:v>3.0363695805822215</c:v>
                </c:pt>
                <c:pt idx="141">
                  <c:v>2.8687776242628606</c:v>
                </c:pt>
                <c:pt idx="142">
                  <c:v>2.8705800607294463</c:v>
                </c:pt>
                <c:pt idx="143">
                  <c:v>2.5910988216292092</c:v>
                </c:pt>
                <c:pt idx="144">
                  <c:v>2.8785772347727145</c:v>
                </c:pt>
                <c:pt idx="145">
                  <c:v>2.9651229355607676</c:v>
                </c:pt>
                <c:pt idx="146">
                  <c:v>2.9728657948993864</c:v>
                </c:pt>
                <c:pt idx="147">
                  <c:v>3.0477049967354843</c:v>
                </c:pt>
                <c:pt idx="148">
                  <c:v>3.2021903423290978</c:v>
                </c:pt>
                <c:pt idx="149">
                  <c:v>3.2322014845584124</c:v>
                </c:pt>
                <c:pt idx="150">
                  <c:v>3.1805804429416638</c:v>
                </c:pt>
                <c:pt idx="151">
                  <c:v>3.1805804429416638</c:v>
                </c:pt>
                <c:pt idx="152">
                  <c:v>3.1456958369891033</c:v>
                </c:pt>
                <c:pt idx="153">
                  <c:v>3.1456958369891037</c:v>
                </c:pt>
                <c:pt idx="154">
                  <c:v>3.0866788311867741</c:v>
                </c:pt>
                <c:pt idx="155">
                  <c:v>2.9913668885760178</c:v>
                </c:pt>
                <c:pt idx="156">
                  <c:v>3.0926312124293047</c:v>
                </c:pt>
                <c:pt idx="157">
                  <c:v>3.1154048094006623</c:v>
                </c:pt>
                <c:pt idx="158">
                  <c:v>3.1037611591959409</c:v>
                </c:pt>
                <c:pt idx="159">
                  <c:v>3.2428524409881785</c:v>
                </c:pt>
                <c:pt idx="160">
                  <c:v>3.2837111049374683</c:v>
                </c:pt>
                <c:pt idx="161">
                  <c:v>3.2809096019384554</c:v>
                </c:pt>
                <c:pt idx="162">
                  <c:v>3.2640500897666613</c:v>
                </c:pt>
                <c:pt idx="163">
                  <c:v>3.3598371608050344</c:v>
                </c:pt>
                <c:pt idx="164">
                  <c:v>3.4006422652334298</c:v>
                </c:pt>
                <c:pt idx="165">
                  <c:v>3.4154819925420936</c:v>
                </c:pt>
                <c:pt idx="166">
                  <c:v>3.343375677296859</c:v>
                </c:pt>
                <c:pt idx="167">
                  <c:v>3.3060376672795586</c:v>
                </c:pt>
                <c:pt idx="168">
                  <c:v>3.3060376672795586</c:v>
                </c:pt>
                <c:pt idx="169">
                  <c:v>3.3060376672795586</c:v>
                </c:pt>
                <c:pt idx="170">
                  <c:v>3.1702641392545949</c:v>
                </c:pt>
                <c:pt idx="171">
                  <c:v>3.1227750700188182</c:v>
                </c:pt>
                <c:pt idx="172">
                  <c:v>3.1227750700188182</c:v>
                </c:pt>
                <c:pt idx="173">
                  <c:v>3.0926312124293056</c:v>
                </c:pt>
                <c:pt idx="174">
                  <c:v>3.1000556168537052</c:v>
                </c:pt>
                <c:pt idx="175">
                  <c:v>3.0522273758720839</c:v>
                </c:pt>
                <c:pt idx="176">
                  <c:v>3.0522273758720839</c:v>
                </c:pt>
                <c:pt idx="177">
                  <c:v>3.1222229039690559</c:v>
                </c:pt>
                <c:pt idx="178">
                  <c:v>3.1015383650512947</c:v>
                </c:pt>
                <c:pt idx="179">
                  <c:v>3.1015383650512947</c:v>
                </c:pt>
                <c:pt idx="180">
                  <c:v>3.0618152530285312</c:v>
                </c:pt>
                <c:pt idx="181">
                  <c:v>3.1551818352977854</c:v>
                </c:pt>
                <c:pt idx="182">
                  <c:v>3.2377088536015179</c:v>
                </c:pt>
                <c:pt idx="183">
                  <c:v>3.2000359193386361</c:v>
                </c:pt>
                <c:pt idx="184">
                  <c:v>3.1484351157616253</c:v>
                </c:pt>
                <c:pt idx="185">
                  <c:v>3.2120462915889534</c:v>
                </c:pt>
                <c:pt idx="186">
                  <c:v>3.1666364184883227</c:v>
                </c:pt>
                <c:pt idx="187">
                  <c:v>3.0754870654345425</c:v>
                </c:pt>
                <c:pt idx="188">
                  <c:v>3.0859339762456237</c:v>
                </c:pt>
                <c:pt idx="189">
                  <c:v>3.0227109701715449</c:v>
                </c:pt>
                <c:pt idx="190">
                  <c:v>2.9827087896973667</c:v>
                </c:pt>
                <c:pt idx="191">
                  <c:v>2.9827087896973667</c:v>
                </c:pt>
                <c:pt idx="192">
                  <c:v>3.0066975047479372</c:v>
                </c:pt>
                <c:pt idx="193">
                  <c:v>2.844636008875038</c:v>
                </c:pt>
                <c:pt idx="194">
                  <c:v>2.6986586706528222</c:v>
                </c:pt>
                <c:pt idx="195">
                  <c:v>2.8057822069974447</c:v>
                </c:pt>
                <c:pt idx="196">
                  <c:v>2.8202877492386742</c:v>
                </c:pt>
                <c:pt idx="197">
                  <c:v>2.8031181324317784</c:v>
                </c:pt>
                <c:pt idx="198">
                  <c:v>2.8615565252369972</c:v>
                </c:pt>
                <c:pt idx="199">
                  <c:v>3.013570837959894</c:v>
                </c:pt>
                <c:pt idx="200">
                  <c:v>3.0665042435747694</c:v>
                </c:pt>
                <c:pt idx="201">
                  <c:v>3.0859339762456242</c:v>
                </c:pt>
                <c:pt idx="202">
                  <c:v>3.2640500897666609</c:v>
                </c:pt>
                <c:pt idx="203">
                  <c:v>3.3190498571161871</c:v>
                </c:pt>
                <c:pt idx="204">
                  <c:v>3.244092774726778</c:v>
                </c:pt>
                <c:pt idx="205">
                  <c:v>3.2348675113661063</c:v>
                </c:pt>
                <c:pt idx="206">
                  <c:v>3.2668660506827409</c:v>
                </c:pt>
                <c:pt idx="207">
                  <c:v>3.2525851787197806</c:v>
                </c:pt>
                <c:pt idx="208">
                  <c:v>3.2525851787197806</c:v>
                </c:pt>
                <c:pt idx="209">
                  <c:v>3.1688135493185507</c:v>
                </c:pt>
                <c:pt idx="210">
                  <c:v>3.196441987477693</c:v>
                </c:pt>
                <c:pt idx="211">
                  <c:v>3.1622776601683795</c:v>
                </c:pt>
                <c:pt idx="212">
                  <c:v>3.2215153141868234</c:v>
                </c:pt>
                <c:pt idx="213">
                  <c:v>3.2851109605291118</c:v>
                </c:pt>
                <c:pt idx="214">
                  <c:v>3.4614461133177126</c:v>
                </c:pt>
                <c:pt idx="215">
                  <c:v>3.4073956077312491</c:v>
                </c:pt>
                <c:pt idx="216">
                  <c:v>3.4409635111487988</c:v>
                </c:pt>
                <c:pt idx="217">
                  <c:v>3.5486762952227502</c:v>
                </c:pt>
                <c:pt idx="218">
                  <c:v>3.5977323637146137</c:v>
                </c:pt>
                <c:pt idx="219">
                  <c:v>3.6736088930165902</c:v>
                </c:pt>
                <c:pt idx="220">
                  <c:v>3.6811105270887592</c:v>
                </c:pt>
                <c:pt idx="221">
                  <c:v>3.6811105270887592</c:v>
                </c:pt>
                <c:pt idx="222">
                  <c:v>3.6552591618419998</c:v>
                </c:pt>
                <c:pt idx="223">
                  <c:v>3.6709483882187062</c:v>
                </c:pt>
                <c:pt idx="224">
                  <c:v>3.6829835481701454</c:v>
                </c:pt>
                <c:pt idx="225">
                  <c:v>3.6263721144752479</c:v>
                </c:pt>
                <c:pt idx="226">
                  <c:v>3.7078667535483212</c:v>
                </c:pt>
                <c:pt idx="227">
                  <c:v>3.7632524450954974</c:v>
                </c:pt>
                <c:pt idx="228">
                  <c:v>3.6514837167011072</c:v>
                </c:pt>
                <c:pt idx="229">
                  <c:v>3.6001277116555026</c:v>
                </c:pt>
                <c:pt idx="230">
                  <c:v>3.5202207349807635</c:v>
                </c:pt>
                <c:pt idx="231">
                  <c:v>3.5733689310287255</c:v>
                </c:pt>
                <c:pt idx="232">
                  <c:v>3.5280485309561165</c:v>
                </c:pt>
                <c:pt idx="233">
                  <c:v>3.5733689310287255</c:v>
                </c:pt>
                <c:pt idx="234">
                  <c:v>3.4832934606968355</c:v>
                </c:pt>
                <c:pt idx="235">
                  <c:v>3.4389586769266667</c:v>
                </c:pt>
                <c:pt idx="236">
                  <c:v>3.2605267186083018</c:v>
                </c:pt>
                <c:pt idx="237">
                  <c:v>2.9664793948382657</c:v>
                </c:pt>
                <c:pt idx="238">
                  <c:v>2.6920487433888729</c:v>
                </c:pt>
                <c:pt idx="239">
                  <c:v>2.6971675223608473</c:v>
                </c:pt>
                <c:pt idx="240">
                  <c:v>2.4506625892678047</c:v>
                </c:pt>
                <c:pt idx="241">
                  <c:v>1.9061304607327711</c:v>
                </c:pt>
                <c:pt idx="242">
                  <c:v>1.8864306744895689</c:v>
                </c:pt>
                <c:pt idx="243">
                  <c:v>1.066199610389819</c:v>
                </c:pt>
                <c:pt idx="244">
                  <c:v>1.0400044208570938</c:v>
                </c:pt>
                <c:pt idx="245">
                  <c:v>1.0699661612438485</c:v>
                </c:pt>
                <c:pt idx="246">
                  <c:v>1.0333518722845683</c:v>
                </c:pt>
                <c:pt idx="247">
                  <c:v>1.0613372610104652</c:v>
                </c:pt>
                <c:pt idx="248">
                  <c:v>1.0806553992619587</c:v>
                </c:pt>
                <c:pt idx="249">
                  <c:v>1.1244411127720095</c:v>
                </c:pt>
                <c:pt idx="250">
                  <c:v>1.1188047809743373</c:v>
                </c:pt>
                <c:pt idx="251">
                  <c:v>1.1547005383792519</c:v>
                </c:pt>
                <c:pt idx="252">
                  <c:v>1.112106833535071</c:v>
                </c:pt>
                <c:pt idx="253">
                  <c:v>1.0726484571581121</c:v>
                </c:pt>
                <c:pt idx="254">
                  <c:v>1.0726484571581119</c:v>
                </c:pt>
                <c:pt idx="255">
                  <c:v>1.0933445471810683</c:v>
                </c:pt>
                <c:pt idx="256">
                  <c:v>1.0661996103898193</c:v>
                </c:pt>
                <c:pt idx="257">
                  <c:v>1.0742546199601597</c:v>
                </c:pt>
                <c:pt idx="258">
                  <c:v>1.2507469032909713</c:v>
                </c:pt>
                <c:pt idx="259">
                  <c:v>1.4890404223224918</c:v>
                </c:pt>
                <c:pt idx="260">
                  <c:v>1.489040422322492</c:v>
                </c:pt>
                <c:pt idx="261">
                  <c:v>1.5698305055298021</c:v>
                </c:pt>
                <c:pt idx="262">
                  <c:v>1.57749984061059</c:v>
                </c:pt>
                <c:pt idx="263">
                  <c:v>1.5391444107819707</c:v>
                </c:pt>
                <c:pt idx="264">
                  <c:v>1.5391444107819707</c:v>
                </c:pt>
                <c:pt idx="265">
                  <c:v>1.5624913792865638</c:v>
                </c:pt>
                <c:pt idx="266">
                  <c:v>1.920548293359591</c:v>
                </c:pt>
                <c:pt idx="267">
                  <c:v>1.9475891374404053</c:v>
                </c:pt>
                <c:pt idx="268">
                  <c:v>1.98152385340404</c:v>
                </c:pt>
                <c:pt idx="269">
                  <c:v>2.3116397126108428</c:v>
                </c:pt>
                <c:pt idx="270">
                  <c:v>2.6076809620810595</c:v>
                </c:pt>
                <c:pt idx="271">
                  <c:v>2.9329675843034329</c:v>
                </c:pt>
                <c:pt idx="272">
                  <c:v>3.0552385763833056</c:v>
                </c:pt>
                <c:pt idx="273">
                  <c:v>3.0618152530285294</c:v>
                </c:pt>
                <c:pt idx="274">
                  <c:v>3.0595619850282305</c:v>
                </c:pt>
                <c:pt idx="275">
                  <c:v>3.0295479728072023</c:v>
                </c:pt>
                <c:pt idx="276">
                  <c:v>3.0295479728072023</c:v>
                </c:pt>
                <c:pt idx="277">
                  <c:v>2.9790455927491539</c:v>
                </c:pt>
                <c:pt idx="278">
                  <c:v>3.0371265912099354</c:v>
                </c:pt>
                <c:pt idx="279">
                  <c:v>3.0702502799624001</c:v>
                </c:pt>
                <c:pt idx="280">
                  <c:v>3.0371265912099354</c:v>
                </c:pt>
                <c:pt idx="281">
                  <c:v>3.0477049967354835</c:v>
                </c:pt>
                <c:pt idx="282">
                  <c:v>3.0702502799623996</c:v>
                </c:pt>
                <c:pt idx="283">
                  <c:v>3.0522273758720839</c:v>
                </c:pt>
                <c:pt idx="284">
                  <c:v>3.0894704378269902</c:v>
                </c:pt>
                <c:pt idx="285">
                  <c:v>3.1037611591959418</c:v>
                </c:pt>
                <c:pt idx="286">
                  <c:v>3.0665042435747689</c:v>
                </c:pt>
                <c:pt idx="287">
                  <c:v>3.1126364624103529</c:v>
                </c:pt>
                <c:pt idx="288">
                  <c:v>3.1919438822019468</c:v>
                </c:pt>
                <c:pt idx="289">
                  <c:v>3.3060376672795582</c:v>
                </c:pt>
                <c:pt idx="290">
                  <c:v>3.2263284709246283</c:v>
                </c:pt>
                <c:pt idx="291">
                  <c:v>3.30186293637012</c:v>
                </c:pt>
                <c:pt idx="292">
                  <c:v>3.2555875928490456</c:v>
                </c:pt>
                <c:pt idx="293">
                  <c:v>3.236998751859542</c:v>
                </c:pt>
                <c:pt idx="294">
                  <c:v>3.1876197295521123</c:v>
                </c:pt>
                <c:pt idx="295">
                  <c:v>3.1892419738577522</c:v>
                </c:pt>
                <c:pt idx="296">
                  <c:v>3.1905031491643427</c:v>
                </c:pt>
                <c:pt idx="297">
                  <c:v>3.1154048094006623</c:v>
                </c:pt>
                <c:pt idx="298">
                  <c:v>3.1784113721440641</c:v>
                </c:pt>
                <c:pt idx="299">
                  <c:v>3.0635041164105474</c:v>
                </c:pt>
                <c:pt idx="300">
                  <c:v>2.9300268721061866</c:v>
                </c:pt>
                <c:pt idx="301">
                  <c:v>2.7934652809480327</c:v>
                </c:pt>
                <c:pt idx="302">
                  <c:v>2.7934652809480327</c:v>
                </c:pt>
                <c:pt idx="303">
                  <c:v>2.7753015783108528</c:v>
                </c:pt>
                <c:pt idx="304">
                  <c:v>2.8585423501876077</c:v>
                </c:pt>
                <c:pt idx="305">
                  <c:v>2.8958948352023639</c:v>
                </c:pt>
                <c:pt idx="306">
                  <c:v>2.9563879794535537</c:v>
                </c:pt>
                <c:pt idx="307">
                  <c:v>3.1037611591959409</c:v>
                </c:pt>
                <c:pt idx="308">
                  <c:v>3.0095633012727636</c:v>
                </c:pt>
                <c:pt idx="309">
                  <c:v>3.0095633012727636</c:v>
                </c:pt>
                <c:pt idx="310">
                  <c:v>3.0467619895045392</c:v>
                </c:pt>
                <c:pt idx="311">
                  <c:v>3.2555875928490456</c:v>
                </c:pt>
                <c:pt idx="312">
                  <c:v>3.2555875928490456</c:v>
                </c:pt>
                <c:pt idx="313">
                  <c:v>3.3268327418062396</c:v>
                </c:pt>
                <c:pt idx="314">
                  <c:v>3.3461248817307956</c:v>
                </c:pt>
                <c:pt idx="315">
                  <c:v>3.4514697852017941</c:v>
                </c:pt>
                <c:pt idx="316">
                  <c:v>3.5280485309561165</c:v>
                </c:pt>
                <c:pt idx="317">
                  <c:v>3.4813130037221671</c:v>
                </c:pt>
                <c:pt idx="318">
                  <c:v>3.575780599610626</c:v>
                </c:pt>
                <c:pt idx="319">
                  <c:v>3.4641016151377544</c:v>
                </c:pt>
                <c:pt idx="320">
                  <c:v>3.6263721144752479</c:v>
                </c:pt>
                <c:pt idx="321">
                  <c:v>3.5559566344665812</c:v>
                </c:pt>
                <c:pt idx="322">
                  <c:v>3.5559566344665812</c:v>
                </c:pt>
                <c:pt idx="323">
                  <c:v>3.5712775009099684</c:v>
                </c:pt>
                <c:pt idx="324">
                  <c:v>3.6759547981661749</c:v>
                </c:pt>
                <c:pt idx="325">
                  <c:v>3.6045947689408671</c:v>
                </c:pt>
                <c:pt idx="326">
                  <c:v>3.6168507289356437</c:v>
                </c:pt>
                <c:pt idx="327">
                  <c:v>3.724568940576003</c:v>
                </c:pt>
                <c:pt idx="328">
                  <c:v>3.7039897718386121</c:v>
                </c:pt>
                <c:pt idx="329">
                  <c:v>3.7973069707208369</c:v>
                </c:pt>
                <c:pt idx="330">
                  <c:v>3.8981280505969242</c:v>
                </c:pt>
                <c:pt idx="331">
                  <c:v>3.7667632985265254</c:v>
                </c:pt>
                <c:pt idx="332">
                  <c:v>3.7667632985265254</c:v>
                </c:pt>
                <c:pt idx="333">
                  <c:v>3.7667632985265254</c:v>
                </c:pt>
                <c:pt idx="334">
                  <c:v>3.6212971575732733</c:v>
                </c:pt>
                <c:pt idx="335">
                  <c:v>3.5712775009099684</c:v>
                </c:pt>
                <c:pt idx="336">
                  <c:v>3.4031763391576262</c:v>
                </c:pt>
                <c:pt idx="337">
                  <c:v>3.4389586769266649</c:v>
                </c:pt>
                <c:pt idx="338">
                  <c:v>3.6045947689408671</c:v>
                </c:pt>
                <c:pt idx="339">
                  <c:v>3.6045947689408671</c:v>
                </c:pt>
                <c:pt idx="340">
                  <c:v>3.5084462946294117</c:v>
                </c:pt>
                <c:pt idx="341">
                  <c:v>3.5421923206937276</c:v>
                </c:pt>
                <c:pt idx="342">
                  <c:v>3.5680575223444233</c:v>
                </c:pt>
                <c:pt idx="343">
                  <c:v>3.4314301163914385</c:v>
                </c:pt>
                <c:pt idx="344">
                  <c:v>3.4456369212532318</c:v>
                </c:pt>
                <c:pt idx="345">
                  <c:v>3.4456369212532318</c:v>
                </c:pt>
                <c:pt idx="346">
                  <c:v>3.3155849330511589</c:v>
                </c:pt>
                <c:pt idx="347">
                  <c:v>3.30186293637012</c:v>
                </c:pt>
                <c:pt idx="348">
                  <c:v>3.2091822283430163</c:v>
                </c:pt>
                <c:pt idx="349">
                  <c:v>3.1957227160942669</c:v>
                </c:pt>
                <c:pt idx="350">
                  <c:v>3.0998702234607909</c:v>
                </c:pt>
                <c:pt idx="351">
                  <c:v>3.1811224795479127</c:v>
                </c:pt>
                <c:pt idx="352">
                  <c:v>3.1566386895069183</c:v>
                </c:pt>
                <c:pt idx="353">
                  <c:v>3.0889123183322686</c:v>
                </c:pt>
                <c:pt idx="354">
                  <c:v>3.0454412888246853</c:v>
                </c:pt>
                <c:pt idx="355">
                  <c:v>3.0454412888246853</c:v>
                </c:pt>
                <c:pt idx="356">
                  <c:v>3.0278401694861672</c:v>
                </c:pt>
                <c:pt idx="357">
                  <c:v>2.9867523591975975</c:v>
                </c:pt>
                <c:pt idx="358">
                  <c:v>3.041664698472045</c:v>
                </c:pt>
                <c:pt idx="359">
                  <c:v>3.1015383650512951</c:v>
                </c:pt>
                <c:pt idx="360">
                  <c:v>3.0325816929042371</c:v>
                </c:pt>
                <c:pt idx="361">
                  <c:v>3.0340974154494083</c:v>
                </c:pt>
                <c:pt idx="362">
                  <c:v>3.0026807945605851</c:v>
                </c:pt>
                <c:pt idx="363">
                  <c:v>3.0444975804295487</c:v>
                </c:pt>
                <c:pt idx="364">
                  <c:v>3.1396610110596037</c:v>
                </c:pt>
                <c:pt idx="365">
                  <c:v>3.1805804429416638</c:v>
                </c:pt>
                <c:pt idx="366">
                  <c:v>3.1941037632761273</c:v>
                </c:pt>
                <c:pt idx="367">
                  <c:v>3.0859339762456242</c:v>
                </c:pt>
                <c:pt idx="368">
                  <c:v>2.9282610272443543</c:v>
                </c:pt>
                <c:pt idx="369">
                  <c:v>2.9300268721061871</c:v>
                </c:pt>
                <c:pt idx="370">
                  <c:v>2.8974820618686445</c:v>
                </c:pt>
                <c:pt idx="371">
                  <c:v>2.8777785174335948</c:v>
                </c:pt>
                <c:pt idx="372">
                  <c:v>2.8825675017766446</c:v>
                </c:pt>
                <c:pt idx="373">
                  <c:v>2.8639655812482645</c:v>
                </c:pt>
                <c:pt idx="374">
                  <c:v>2.9048117037912728</c:v>
                </c:pt>
                <c:pt idx="375">
                  <c:v>2.9470421563432661</c:v>
                </c:pt>
                <c:pt idx="376">
                  <c:v>2.9836720413903928</c:v>
                </c:pt>
                <c:pt idx="377">
                  <c:v>2.9836720413903928</c:v>
                </c:pt>
                <c:pt idx="378">
                  <c:v>3.0026807945605851</c:v>
                </c:pt>
                <c:pt idx="379">
                  <c:v>3.1222229039690559</c:v>
                </c:pt>
                <c:pt idx="380">
                  <c:v>3.1236951298690809</c:v>
                </c:pt>
                <c:pt idx="381">
                  <c:v>3.2107935782760704</c:v>
                </c:pt>
                <c:pt idx="382">
                  <c:v>3.2816102019041478</c:v>
                </c:pt>
                <c:pt idx="383">
                  <c:v>3.3190498571161879</c:v>
                </c:pt>
                <c:pt idx="384">
                  <c:v>3.4788358470291052</c:v>
                </c:pt>
                <c:pt idx="385">
                  <c:v>3.5300027677368591</c:v>
                </c:pt>
                <c:pt idx="386">
                  <c:v>3.5467323475034855</c:v>
                </c:pt>
                <c:pt idx="387">
                  <c:v>3.5030364496842012</c:v>
                </c:pt>
                <c:pt idx="388">
                  <c:v>3.594376194819493</c:v>
                </c:pt>
                <c:pt idx="389">
                  <c:v>3.4349454980701868</c:v>
                </c:pt>
                <c:pt idx="390">
                  <c:v>3.3782604514988064</c:v>
                </c:pt>
                <c:pt idx="391">
                  <c:v>3.397768030076052</c:v>
                </c:pt>
                <c:pt idx="392">
                  <c:v>3.3577838887692222</c:v>
                </c:pt>
                <c:pt idx="393">
                  <c:v>3.2863353450309964</c:v>
                </c:pt>
                <c:pt idx="394">
                  <c:v>3.2661622880613295</c:v>
                </c:pt>
                <c:pt idx="395">
                  <c:v>3.4107672646097291</c:v>
                </c:pt>
                <c:pt idx="396">
                  <c:v>3.5378089199422558</c:v>
                </c:pt>
                <c:pt idx="397">
                  <c:v>3.5519138438344733</c:v>
                </c:pt>
                <c:pt idx="398">
                  <c:v>3.5669298431209904</c:v>
                </c:pt>
                <c:pt idx="399">
                  <c:v>3.5330947653140661</c:v>
                </c:pt>
                <c:pt idx="400">
                  <c:v>3.6960681189921121</c:v>
                </c:pt>
                <c:pt idx="401">
                  <c:v>3.6960681189921121</c:v>
                </c:pt>
                <c:pt idx="402">
                  <c:v>3.7101909979648373</c:v>
                </c:pt>
                <c:pt idx="403">
                  <c:v>3.7594325812991163</c:v>
                </c:pt>
                <c:pt idx="404">
                  <c:v>3.7132877274898095</c:v>
                </c:pt>
                <c:pt idx="405">
                  <c:v>3.6358685660905095</c:v>
                </c:pt>
                <c:pt idx="406">
                  <c:v>3.5475424551743377</c:v>
                </c:pt>
                <c:pt idx="407">
                  <c:v>3.6459708512652513</c:v>
                </c:pt>
                <c:pt idx="408">
                  <c:v>3.7736229124089062</c:v>
                </c:pt>
                <c:pt idx="409">
                  <c:v>3.7368928023281525</c:v>
                </c:pt>
                <c:pt idx="410">
                  <c:v>3.7850279763311114</c:v>
                </c:pt>
                <c:pt idx="411">
                  <c:v>3.6923344016127979</c:v>
                </c:pt>
                <c:pt idx="412">
                  <c:v>3.605391875332367</c:v>
                </c:pt>
                <c:pt idx="413">
                  <c:v>3.5501335574682353</c:v>
                </c:pt>
                <c:pt idx="414">
                  <c:v>3.3952299195925675</c:v>
                </c:pt>
                <c:pt idx="415">
                  <c:v>3.3500729105121159</c:v>
                </c:pt>
                <c:pt idx="416">
                  <c:v>3.3500729105121163</c:v>
                </c:pt>
                <c:pt idx="417">
                  <c:v>3.4374542839175311</c:v>
                </c:pt>
                <c:pt idx="418">
                  <c:v>3.3185303491396492</c:v>
                </c:pt>
                <c:pt idx="419">
                  <c:v>3.3185303491396492</c:v>
                </c:pt>
                <c:pt idx="420">
                  <c:v>3.3392476267332558</c:v>
                </c:pt>
                <c:pt idx="421">
                  <c:v>3.2851109605291127</c:v>
                </c:pt>
                <c:pt idx="422">
                  <c:v>3.2414343355564275</c:v>
                </c:pt>
                <c:pt idx="423">
                  <c:v>3.1478874507038612</c:v>
                </c:pt>
                <c:pt idx="424">
                  <c:v>3.1176177170854453</c:v>
                </c:pt>
                <c:pt idx="425">
                  <c:v>3.0399637021426469</c:v>
                </c:pt>
                <c:pt idx="426">
                  <c:v>3.075487065434543</c:v>
                </c:pt>
                <c:pt idx="427">
                  <c:v>3.1259021686252582</c:v>
                </c:pt>
                <c:pt idx="428">
                  <c:v>3.1347147847306922</c:v>
                </c:pt>
                <c:pt idx="429">
                  <c:v>3.1832897030168859</c:v>
                </c:pt>
                <c:pt idx="430">
                  <c:v>3.0931886609054451</c:v>
                </c:pt>
                <c:pt idx="431">
                  <c:v>2.9767296720108596</c:v>
                </c:pt>
                <c:pt idx="432">
                  <c:v>2.97672967201086</c:v>
                </c:pt>
                <c:pt idx="433">
                  <c:v>2.8809720581775866</c:v>
                </c:pt>
                <c:pt idx="434">
                  <c:v>2.8494806947731823</c:v>
                </c:pt>
                <c:pt idx="435">
                  <c:v>2.9844424188990715</c:v>
                </c:pt>
                <c:pt idx="436">
                  <c:v>2.9767296720108605</c:v>
                </c:pt>
                <c:pt idx="437">
                  <c:v>2.9400132926433407</c:v>
                </c:pt>
                <c:pt idx="438">
                  <c:v>2.9400132926433407</c:v>
                </c:pt>
                <c:pt idx="439">
                  <c:v>2.8945052978946553</c:v>
                </c:pt>
                <c:pt idx="440">
                  <c:v>2.9790455927491548</c:v>
                </c:pt>
                <c:pt idx="441">
                  <c:v>2.8705800607294467</c:v>
                </c:pt>
                <c:pt idx="442">
                  <c:v>2.8849590128365992</c:v>
                </c:pt>
                <c:pt idx="443">
                  <c:v>2.889736097404688</c:v>
                </c:pt>
                <c:pt idx="444">
                  <c:v>2.8689779509014386</c:v>
                </c:pt>
                <c:pt idx="445">
                  <c:v>2.9651229355607671</c:v>
                </c:pt>
                <c:pt idx="446">
                  <c:v>2.8849590128365992</c:v>
                </c:pt>
                <c:pt idx="447">
                  <c:v>2.8373534698101466</c:v>
                </c:pt>
                <c:pt idx="448">
                  <c:v>2.881570453045017</c:v>
                </c:pt>
                <c:pt idx="449">
                  <c:v>2.8815704530450166</c:v>
                </c:pt>
                <c:pt idx="450">
                  <c:v>2.887945616707051</c:v>
                </c:pt>
                <c:pt idx="451">
                  <c:v>2.97518472332913</c:v>
                </c:pt>
                <c:pt idx="452">
                  <c:v>2.9796242916750817</c:v>
                </c:pt>
                <c:pt idx="453">
                  <c:v>3.0589984086899777</c:v>
                </c:pt>
                <c:pt idx="454">
                  <c:v>3.0680032069997769</c:v>
                </c:pt>
                <c:pt idx="455">
                  <c:v>2.9952068989998155</c:v>
                </c:pt>
                <c:pt idx="456">
                  <c:v>2.7618085029372605</c:v>
                </c:pt>
                <c:pt idx="457">
                  <c:v>2.9135040324541235</c:v>
                </c:pt>
                <c:pt idx="458">
                  <c:v>3.0392073981871324</c:v>
                </c:pt>
                <c:pt idx="459">
                  <c:v>2.8518999514943251</c:v>
                </c:pt>
                <c:pt idx="460">
                  <c:v>2.8809720581775866</c:v>
                </c:pt>
                <c:pt idx="461">
                  <c:v>2.8809720581775871</c:v>
                </c:pt>
                <c:pt idx="462">
                  <c:v>2.8615565252369968</c:v>
                </c:pt>
                <c:pt idx="463">
                  <c:v>2.9534705865721982</c:v>
                </c:pt>
                <c:pt idx="464">
                  <c:v>2.9048117037912733</c:v>
                </c:pt>
                <c:pt idx="465">
                  <c:v>2.9016444010052398</c:v>
                </c:pt>
                <c:pt idx="466">
                  <c:v>2.9093586606143891</c:v>
                </c:pt>
                <c:pt idx="467">
                  <c:v>2.9633780041368833</c:v>
                </c:pt>
                <c:pt idx="468">
                  <c:v>2.9633780041368833</c:v>
                </c:pt>
                <c:pt idx="469">
                  <c:v>2.9633780041368833</c:v>
                </c:pt>
                <c:pt idx="470">
                  <c:v>2.8496823779453764</c:v>
                </c:pt>
                <c:pt idx="471">
                  <c:v>2.9495762407505257</c:v>
                </c:pt>
                <c:pt idx="472">
                  <c:v>3.0567430642629314</c:v>
                </c:pt>
                <c:pt idx="473">
                  <c:v>3.1222229039690559</c:v>
                </c:pt>
                <c:pt idx="474">
                  <c:v>3.1222229039690559</c:v>
                </c:pt>
                <c:pt idx="475">
                  <c:v>3.0295479728072023</c:v>
                </c:pt>
                <c:pt idx="476">
                  <c:v>3.0295479728072028</c:v>
                </c:pt>
                <c:pt idx="477">
                  <c:v>3.0217601630107276</c:v>
                </c:pt>
                <c:pt idx="478">
                  <c:v>2.955804731235709</c:v>
                </c:pt>
                <c:pt idx="479">
                  <c:v>2.9882913274095722</c:v>
                </c:pt>
                <c:pt idx="480">
                  <c:v>3.0595619850282301</c:v>
                </c:pt>
                <c:pt idx="481">
                  <c:v>3.0323921743156137</c:v>
                </c:pt>
                <c:pt idx="482">
                  <c:v>3.1486176496120128</c:v>
                </c:pt>
                <c:pt idx="483">
                  <c:v>3.1139286639449426</c:v>
                </c:pt>
                <c:pt idx="484">
                  <c:v>3.002106540108282</c:v>
                </c:pt>
                <c:pt idx="485">
                  <c:v>3.002106540108282</c:v>
                </c:pt>
                <c:pt idx="486">
                  <c:v>2.965122935560768</c:v>
                </c:pt>
                <c:pt idx="487">
                  <c:v>2.9093586606143886</c:v>
                </c:pt>
                <c:pt idx="488">
                  <c:v>2.8424127682002118</c:v>
                </c:pt>
                <c:pt idx="489">
                  <c:v>2.8424127682002118</c:v>
                </c:pt>
                <c:pt idx="490">
                  <c:v>2.9819379643092012</c:v>
                </c:pt>
                <c:pt idx="491">
                  <c:v>2.9651229355607671</c:v>
                </c:pt>
                <c:pt idx="492">
                  <c:v>2.9942473580817115</c:v>
                </c:pt>
                <c:pt idx="493">
                  <c:v>2.9749915483314697</c:v>
                </c:pt>
                <c:pt idx="494">
                  <c:v>2.9896372747346396</c:v>
                </c:pt>
                <c:pt idx="495">
                  <c:v>3.0708117912811361</c:v>
                </c:pt>
                <c:pt idx="496">
                  <c:v>3.0680032069997778</c:v>
                </c:pt>
                <c:pt idx="497">
                  <c:v>3.2000359193386365</c:v>
                </c:pt>
                <c:pt idx="498">
                  <c:v>3.0369373562434778</c:v>
                </c:pt>
                <c:pt idx="499">
                  <c:v>3.0340974154494083</c:v>
                </c:pt>
                <c:pt idx="500">
                  <c:v>3.0708117912811361</c:v>
                </c:pt>
                <c:pt idx="501">
                  <c:v>3.0126171460983087</c:v>
                </c:pt>
                <c:pt idx="502">
                  <c:v>3.0126171460983087</c:v>
                </c:pt>
                <c:pt idx="503">
                  <c:v>2.9633780041368833</c:v>
                </c:pt>
                <c:pt idx="504">
                  <c:v>2.9470421563432669</c:v>
                </c:pt>
                <c:pt idx="505">
                  <c:v>2.9911747586494517</c:v>
                </c:pt>
                <c:pt idx="506">
                  <c:v>2.916461404928373</c:v>
                </c:pt>
                <c:pt idx="507">
                  <c:v>2.916461404928373</c:v>
                </c:pt>
                <c:pt idx="508">
                  <c:v>2.916461404928373</c:v>
                </c:pt>
                <c:pt idx="509">
                  <c:v>2.8905315106037341</c:v>
                </c:pt>
                <c:pt idx="510">
                  <c:v>2.8343135559308421</c:v>
                </c:pt>
                <c:pt idx="511">
                  <c:v>2.8488755595889033</c:v>
                </c:pt>
                <c:pt idx="512">
                  <c:v>2.7503395819592811</c:v>
                </c:pt>
                <c:pt idx="513">
                  <c:v>2.788523277465246</c:v>
                </c:pt>
                <c:pt idx="514">
                  <c:v>2.8235463150271594</c:v>
                </c:pt>
                <c:pt idx="515">
                  <c:v>2.7628487713469467</c:v>
                </c:pt>
                <c:pt idx="516">
                  <c:v>2.943139304470185</c:v>
                </c:pt>
                <c:pt idx="517">
                  <c:v>2.9680288749098862</c:v>
                </c:pt>
                <c:pt idx="518">
                  <c:v>3.0189059447833548</c:v>
                </c:pt>
                <c:pt idx="519">
                  <c:v>3.0278401694861681</c:v>
                </c:pt>
                <c:pt idx="520">
                  <c:v>2.8326909346122604</c:v>
                </c:pt>
                <c:pt idx="521">
                  <c:v>2.881570453045017</c:v>
                </c:pt>
                <c:pt idx="522">
                  <c:v>2.9323796777894642</c:v>
                </c:pt>
                <c:pt idx="523">
                  <c:v>2.944701065951532</c:v>
                </c:pt>
                <c:pt idx="524">
                  <c:v>2.944701065951532</c:v>
                </c:pt>
                <c:pt idx="525">
                  <c:v>2.944701065951532</c:v>
                </c:pt>
                <c:pt idx="526">
                  <c:v>3.0670664407091244</c:v>
                </c:pt>
                <c:pt idx="527">
                  <c:v>2.9798171663421877</c:v>
                </c:pt>
                <c:pt idx="528">
                  <c:v>3.0454412888246853</c:v>
                </c:pt>
                <c:pt idx="529">
                  <c:v>3.1043166090454437</c:v>
                </c:pt>
                <c:pt idx="530">
                  <c:v>3.2000359193386365</c:v>
                </c:pt>
                <c:pt idx="531">
                  <c:v>3.2898310755640825</c:v>
                </c:pt>
                <c:pt idx="532">
                  <c:v>3.1905031491643427</c:v>
                </c:pt>
                <c:pt idx="533">
                  <c:v>3.1266375020084305</c:v>
                </c:pt>
                <c:pt idx="534">
                  <c:v>3.1579128856102807</c:v>
                </c:pt>
                <c:pt idx="535">
                  <c:v>3.0931886609054451</c:v>
                </c:pt>
                <c:pt idx="536">
                  <c:v>3.2000359193386361</c:v>
                </c:pt>
                <c:pt idx="537">
                  <c:v>3.2348675113661072</c:v>
                </c:pt>
                <c:pt idx="538">
                  <c:v>3.2976829204273361</c:v>
                </c:pt>
                <c:pt idx="539">
                  <c:v>3.4275757996095382</c:v>
                </c:pt>
                <c:pt idx="540">
                  <c:v>3.5272339460751434</c:v>
                </c:pt>
                <c:pt idx="541">
                  <c:v>3.5084462946294122</c:v>
                </c:pt>
                <c:pt idx="542">
                  <c:v>3.580920064138144</c:v>
                </c:pt>
                <c:pt idx="543">
                  <c:v>3.6773616229230335</c:v>
                </c:pt>
                <c:pt idx="544">
                  <c:v>3.6547874444853585</c:v>
                </c:pt>
                <c:pt idx="545">
                  <c:v>3.6426591272367741</c:v>
                </c:pt>
                <c:pt idx="546">
                  <c:v>3.5402448126271331</c:v>
                </c:pt>
                <c:pt idx="547">
                  <c:v>3.5977323637146137</c:v>
                </c:pt>
                <c:pt idx="548">
                  <c:v>3.5977323637146141</c:v>
                </c:pt>
                <c:pt idx="549">
                  <c:v>3.7046103615676618</c:v>
                </c:pt>
                <c:pt idx="550">
                  <c:v>3.81542543687697</c:v>
                </c:pt>
                <c:pt idx="551">
                  <c:v>3.8393007026094574</c:v>
                </c:pt>
                <c:pt idx="552">
                  <c:v>3.8200920732720394</c:v>
                </c:pt>
                <c:pt idx="553">
                  <c:v>3.7295033720723265</c:v>
                </c:pt>
                <c:pt idx="554">
                  <c:v>3.8536443417424597</c:v>
                </c:pt>
                <c:pt idx="555">
                  <c:v>3.7663055467213984</c:v>
                </c:pt>
                <c:pt idx="556">
                  <c:v>3.6358685660905095</c:v>
                </c:pt>
                <c:pt idx="557">
                  <c:v>3.5977323637146137</c:v>
                </c:pt>
                <c:pt idx="558">
                  <c:v>3.530491157911595</c:v>
                </c:pt>
                <c:pt idx="559">
                  <c:v>3.4874158004914242</c:v>
                </c:pt>
                <c:pt idx="560">
                  <c:v>3.4006422652334303</c:v>
                </c:pt>
                <c:pt idx="561">
                  <c:v>3.4073956077312491</c:v>
                </c:pt>
                <c:pt idx="562">
                  <c:v>3.4046958781936025</c:v>
                </c:pt>
                <c:pt idx="563">
                  <c:v>3.4213662660458874</c:v>
                </c:pt>
                <c:pt idx="564">
                  <c:v>3.4240528516707336</c:v>
                </c:pt>
                <c:pt idx="565">
                  <c:v>3.4972895909201771</c:v>
                </c:pt>
                <c:pt idx="566">
                  <c:v>3.4255631301467333</c:v>
                </c:pt>
                <c:pt idx="567">
                  <c:v>3.5182610647222066</c:v>
                </c:pt>
                <c:pt idx="568">
                  <c:v>3.4349454980701868</c:v>
                </c:pt>
                <c:pt idx="569">
                  <c:v>3.3495582141358677</c:v>
                </c:pt>
                <c:pt idx="570">
                  <c:v>3.2483417520222582</c:v>
                </c:pt>
                <c:pt idx="571">
                  <c:v>3.2745974570543974</c:v>
                </c:pt>
                <c:pt idx="572">
                  <c:v>3.2377088536015179</c:v>
                </c:pt>
                <c:pt idx="573">
                  <c:v>3.1148513368337043</c:v>
                </c:pt>
                <c:pt idx="574">
                  <c:v>3.1413080224572094</c:v>
                </c:pt>
                <c:pt idx="575">
                  <c:v>3.1747929609389627</c:v>
                </c:pt>
                <c:pt idx="576">
                  <c:v>3.1440511241492826</c:v>
                </c:pt>
                <c:pt idx="577">
                  <c:v>3.0670664407091244</c:v>
                </c:pt>
                <c:pt idx="578">
                  <c:v>3.0249916880288574</c:v>
                </c:pt>
                <c:pt idx="579">
                  <c:v>2.9417720830318825</c:v>
                </c:pt>
                <c:pt idx="580">
                  <c:v>2.7959330069424668</c:v>
                </c:pt>
                <c:pt idx="581">
                  <c:v>2.7659672291340827</c:v>
                </c:pt>
                <c:pt idx="582">
                  <c:v>2.6909811055347133</c:v>
                </c:pt>
                <c:pt idx="583">
                  <c:v>2.6909811055347133</c:v>
                </c:pt>
                <c:pt idx="584">
                  <c:v>2.5289132643984793</c:v>
                </c:pt>
                <c:pt idx="585">
                  <c:v>2.5325467623418674</c:v>
                </c:pt>
                <c:pt idx="586">
                  <c:v>2.6307203681068829</c:v>
                </c:pt>
                <c:pt idx="587">
                  <c:v>2.6643668243529532</c:v>
                </c:pt>
                <c:pt idx="588">
                  <c:v>2.7156422156974509</c:v>
                </c:pt>
                <c:pt idx="589">
                  <c:v>2.6952491194863515</c:v>
                </c:pt>
                <c:pt idx="590">
                  <c:v>2.6971675223608487</c:v>
                </c:pt>
                <c:pt idx="591">
                  <c:v>2.6643668243529532</c:v>
                </c:pt>
                <c:pt idx="592">
                  <c:v>2.7131014614698588</c:v>
                </c:pt>
                <c:pt idx="593">
                  <c:v>2.7907894487270868</c:v>
                </c:pt>
                <c:pt idx="594">
                  <c:v>2.7678366173294773</c:v>
                </c:pt>
                <c:pt idx="595">
                  <c:v>2.6986586706528222</c:v>
                </c:pt>
                <c:pt idx="596">
                  <c:v>2.6617771265198682</c:v>
                </c:pt>
                <c:pt idx="597">
                  <c:v>2.7003618318641123</c:v>
                </c:pt>
                <c:pt idx="598">
                  <c:v>2.8424127682002114</c:v>
                </c:pt>
                <c:pt idx="599">
                  <c:v>2.8424127682002114</c:v>
                </c:pt>
                <c:pt idx="600">
                  <c:v>2.928457284811496</c:v>
                </c:pt>
                <c:pt idx="601">
                  <c:v>2.9680288749098871</c:v>
                </c:pt>
                <c:pt idx="602">
                  <c:v>2.9243331099467849</c:v>
                </c:pt>
                <c:pt idx="603">
                  <c:v>2.9243331099467849</c:v>
                </c:pt>
                <c:pt idx="604">
                  <c:v>2.9211869733608857</c:v>
                </c:pt>
                <c:pt idx="605">
                  <c:v>2.8929164379984051</c:v>
                </c:pt>
                <c:pt idx="606">
                  <c:v>2.9980836791401333</c:v>
                </c:pt>
                <c:pt idx="607">
                  <c:v>3.0363695805822215</c:v>
                </c:pt>
                <c:pt idx="608">
                  <c:v>2.978080844644984</c:v>
                </c:pt>
                <c:pt idx="609">
                  <c:v>3.0026807945605851</c:v>
                </c:pt>
                <c:pt idx="610">
                  <c:v>2.9882913274095722</c:v>
                </c:pt>
                <c:pt idx="611">
                  <c:v>2.9563879794535546</c:v>
                </c:pt>
                <c:pt idx="612">
                  <c:v>2.899861272940286</c:v>
                </c:pt>
                <c:pt idx="613">
                  <c:v>2.8705800607294463</c:v>
                </c:pt>
                <c:pt idx="614">
                  <c:v>2.8719811736968208</c:v>
                </c:pt>
                <c:pt idx="615">
                  <c:v>2.8849590128365996</c:v>
                </c:pt>
                <c:pt idx="616">
                  <c:v>2.7659672291340844</c:v>
                </c:pt>
                <c:pt idx="617">
                  <c:v>2.8211027435481975</c:v>
                </c:pt>
                <c:pt idx="618">
                  <c:v>2.8123291774432895</c:v>
                </c:pt>
                <c:pt idx="619">
                  <c:v>2.8123291774432895</c:v>
                </c:pt>
                <c:pt idx="620">
                  <c:v>2.8373534698101461</c:v>
                </c:pt>
                <c:pt idx="621">
                  <c:v>2.6175798245576067</c:v>
                </c:pt>
                <c:pt idx="622">
                  <c:v>2.6120850877693704</c:v>
                </c:pt>
                <c:pt idx="623">
                  <c:v>2.3510819226255295</c:v>
                </c:pt>
                <c:pt idx="624">
                  <c:v>2.3576727274274467</c:v>
                </c:pt>
                <c:pt idx="625">
                  <c:v>2.4030631792939103</c:v>
                </c:pt>
                <c:pt idx="626">
                  <c:v>2.3588912259983403</c:v>
                </c:pt>
                <c:pt idx="627">
                  <c:v>1.9181528470973292</c:v>
                </c:pt>
                <c:pt idx="628">
                  <c:v>1.9181528470973292</c:v>
                </c:pt>
                <c:pt idx="629">
                  <c:v>1.925031720891057</c:v>
                </c:pt>
                <c:pt idx="630">
                  <c:v>1.4367908045682762</c:v>
                </c:pt>
                <c:pt idx="631">
                  <c:v>1.4367908045682762</c:v>
                </c:pt>
                <c:pt idx="632">
                  <c:v>1.234094204567515</c:v>
                </c:pt>
                <c:pt idx="633">
                  <c:v>1.222866427231762</c:v>
                </c:pt>
                <c:pt idx="634">
                  <c:v>1.2015315896469556</c:v>
                </c:pt>
                <c:pt idx="635">
                  <c:v>1.1841869998335202</c:v>
                </c:pt>
                <c:pt idx="636">
                  <c:v>1.1426929274467317</c:v>
                </c:pt>
                <c:pt idx="637">
                  <c:v>1.1841869998335202</c:v>
                </c:pt>
                <c:pt idx="638">
                  <c:v>1.1591713250937243</c:v>
                </c:pt>
                <c:pt idx="639">
                  <c:v>1.1591713250937243</c:v>
                </c:pt>
                <c:pt idx="640">
                  <c:v>1.1325893433586842</c:v>
                </c:pt>
                <c:pt idx="641">
                  <c:v>1.1665845619713491</c:v>
                </c:pt>
                <c:pt idx="642">
                  <c:v>1.1651056880677462</c:v>
                </c:pt>
                <c:pt idx="643">
                  <c:v>1.1290317283753195</c:v>
                </c:pt>
                <c:pt idx="644">
                  <c:v>1.0875470659652646</c:v>
                </c:pt>
                <c:pt idx="645">
                  <c:v>1.0806553992619585</c:v>
                </c:pt>
                <c:pt idx="646">
                  <c:v>1.0613372610104652</c:v>
                </c:pt>
                <c:pt idx="647">
                  <c:v>1.8815498624956692</c:v>
                </c:pt>
                <c:pt idx="648">
                  <c:v>1.9640446187314118</c:v>
                </c:pt>
                <c:pt idx="649">
                  <c:v>2.0014362658942657</c:v>
                </c:pt>
                <c:pt idx="650">
                  <c:v>2.0758601596203081</c:v>
                </c:pt>
                <c:pt idx="651">
                  <c:v>2.0758601596203081</c:v>
                </c:pt>
                <c:pt idx="652">
                  <c:v>2.5379872557490959</c:v>
                </c:pt>
                <c:pt idx="653">
                  <c:v>2.8245638458955447</c:v>
                </c:pt>
                <c:pt idx="654">
                  <c:v>2.8478667152074038</c:v>
                </c:pt>
                <c:pt idx="655">
                  <c:v>2.8131464774249273</c:v>
                </c:pt>
                <c:pt idx="656">
                  <c:v>2.8131464774249273</c:v>
                </c:pt>
                <c:pt idx="657">
                  <c:v>2.7742659793426316</c:v>
                </c:pt>
                <c:pt idx="658">
                  <c:v>2.8416038857796773</c:v>
                </c:pt>
                <c:pt idx="659">
                  <c:v>2.9942473580817115</c:v>
                </c:pt>
                <c:pt idx="660">
                  <c:v>3.130311577896463</c:v>
                </c:pt>
                <c:pt idx="661">
                  <c:v>3.1037611591959413</c:v>
                </c:pt>
                <c:pt idx="662">
                  <c:v>3.1037611591959413</c:v>
                </c:pt>
                <c:pt idx="663">
                  <c:v>3.1139286639449422</c:v>
                </c:pt>
                <c:pt idx="664">
                  <c:v>3.1374636509319971</c:v>
                </c:pt>
                <c:pt idx="665">
                  <c:v>3.1015383650512947</c:v>
                </c:pt>
                <c:pt idx="666">
                  <c:v>3.0866788311867741</c:v>
                </c:pt>
                <c:pt idx="667">
                  <c:v>3.0618152530285303</c:v>
                </c:pt>
                <c:pt idx="668">
                  <c:v>3.0618152530285303</c:v>
                </c:pt>
                <c:pt idx="669">
                  <c:v>3.022710970171544</c:v>
                </c:pt>
                <c:pt idx="670">
                  <c:v>3.022710970171544</c:v>
                </c:pt>
                <c:pt idx="671">
                  <c:v>3.1200132625712818</c:v>
                </c:pt>
                <c:pt idx="672">
                  <c:v>3.1784113721440646</c:v>
                </c:pt>
                <c:pt idx="673">
                  <c:v>3.1985988311694578</c:v>
                </c:pt>
                <c:pt idx="674">
                  <c:v>3.1593684804723705</c:v>
                </c:pt>
                <c:pt idx="675">
                  <c:v>3.0618152530285312</c:v>
                </c:pt>
                <c:pt idx="676">
                  <c:v>3.0709989389054861</c:v>
                </c:pt>
                <c:pt idx="677">
                  <c:v>3.0255615988615636</c:v>
                </c:pt>
                <c:pt idx="678">
                  <c:v>3.1347147847306931</c:v>
                </c:pt>
                <c:pt idx="679">
                  <c:v>3.1286587776755779</c:v>
                </c:pt>
                <c:pt idx="680">
                  <c:v>3.2200878120388854</c:v>
                </c:pt>
                <c:pt idx="681">
                  <c:v>3.1396610110596042</c:v>
                </c:pt>
                <c:pt idx="682">
                  <c:v>3.0970879908372804</c:v>
                </c:pt>
                <c:pt idx="683">
                  <c:v>3.1588227110017155</c:v>
                </c:pt>
                <c:pt idx="684">
                  <c:v>3.0209993018220298</c:v>
                </c:pt>
                <c:pt idx="685">
                  <c:v>3.158822711001716</c:v>
                </c:pt>
                <c:pt idx="686">
                  <c:v>3.1015383650512947</c:v>
                </c:pt>
                <c:pt idx="687">
                  <c:v>3.1593684804723705</c:v>
                </c:pt>
                <c:pt idx="688">
                  <c:v>3.1941037632761269</c:v>
                </c:pt>
                <c:pt idx="689">
                  <c:v>3.2348675113661067</c:v>
                </c:pt>
                <c:pt idx="690">
                  <c:v>3.2021903423290978</c:v>
                </c:pt>
                <c:pt idx="691">
                  <c:v>3.2745974570543974</c:v>
                </c:pt>
                <c:pt idx="692">
                  <c:v>3.2562936409147856</c:v>
                </c:pt>
                <c:pt idx="693">
                  <c:v>3.28720962617792</c:v>
                </c:pt>
                <c:pt idx="694">
                  <c:v>3.3459531226319617</c:v>
                </c:pt>
                <c:pt idx="695">
                  <c:v>3.3459531226319617</c:v>
                </c:pt>
                <c:pt idx="696">
                  <c:v>3.4912040540659364</c:v>
                </c:pt>
                <c:pt idx="697">
                  <c:v>3.5095927654516195</c:v>
                </c:pt>
                <c:pt idx="698">
                  <c:v>3.4516362936219505</c:v>
                </c:pt>
                <c:pt idx="699">
                  <c:v>3.3474986372568964</c:v>
                </c:pt>
                <c:pt idx="700">
                  <c:v>3.3666723568860526</c:v>
                </c:pt>
                <c:pt idx="701">
                  <c:v>3.2767028564084661</c:v>
                </c:pt>
                <c:pt idx="702">
                  <c:v>3.1876197295521127</c:v>
                </c:pt>
                <c:pt idx="703">
                  <c:v>3.1259021686252586</c:v>
                </c:pt>
                <c:pt idx="704">
                  <c:v>3.0933744547405473</c:v>
                </c:pt>
                <c:pt idx="705">
                  <c:v>3.124982758573128</c:v>
                </c:pt>
                <c:pt idx="706">
                  <c:v>3.0917019082788646</c:v>
                </c:pt>
                <c:pt idx="707">
                  <c:v>3.0747394992918911</c:v>
                </c:pt>
                <c:pt idx="708">
                  <c:v>2.9361010975735176</c:v>
                </c:pt>
                <c:pt idx="709">
                  <c:v>2.9117281671784245</c:v>
                </c:pt>
                <c:pt idx="710">
                  <c:v>2.7957274463049839</c:v>
                </c:pt>
                <c:pt idx="711">
                  <c:v>2.9323796777894642</c:v>
                </c:pt>
                <c:pt idx="712">
                  <c:v>2.9703515794846784</c:v>
                </c:pt>
                <c:pt idx="713">
                  <c:v>2.897482061868645</c:v>
                </c:pt>
                <c:pt idx="714">
                  <c:v>3.022710970171544</c:v>
                </c:pt>
                <c:pt idx="715">
                  <c:v>2.9517187667799445</c:v>
                </c:pt>
                <c:pt idx="716">
                  <c:v>3.1006117305216194</c:v>
                </c:pt>
                <c:pt idx="717">
                  <c:v>2.9867523591975975</c:v>
                </c:pt>
                <c:pt idx="718">
                  <c:v>3.0164301043970241</c:v>
                </c:pt>
                <c:pt idx="719">
                  <c:v>3.041664698472045</c:v>
                </c:pt>
                <c:pt idx="720">
                  <c:v>3.1919438822019468</c:v>
                </c:pt>
                <c:pt idx="721">
                  <c:v>3.1688135493185507</c:v>
                </c:pt>
                <c:pt idx="722">
                  <c:v>3.1549996812211796</c:v>
                </c:pt>
                <c:pt idx="723">
                  <c:v>3.1413080224572094</c:v>
                </c:pt>
                <c:pt idx="724">
                  <c:v>3.0625659739551057</c:v>
                </c:pt>
                <c:pt idx="725">
                  <c:v>3.0792221737643906</c:v>
                </c:pt>
                <c:pt idx="726">
                  <c:v>2.9882913274095722</c:v>
                </c:pt>
                <c:pt idx="727">
                  <c:v>2.9635719361422042</c:v>
                </c:pt>
                <c:pt idx="728">
                  <c:v>2.9635719361422042</c:v>
                </c:pt>
                <c:pt idx="729">
                  <c:v>2.9703515794846789</c:v>
                </c:pt>
                <c:pt idx="730">
                  <c:v>2.8464537323790648</c:v>
                </c:pt>
                <c:pt idx="731">
                  <c:v>2.8397830579274803</c:v>
                </c:pt>
                <c:pt idx="732">
                  <c:v>2.8332995265055452</c:v>
                </c:pt>
                <c:pt idx="733">
                  <c:v>2.8245638458955442</c:v>
                </c:pt>
                <c:pt idx="734">
                  <c:v>2.97518472332913</c:v>
                </c:pt>
                <c:pt idx="735">
                  <c:v>3.0680032069997769</c:v>
                </c:pt>
                <c:pt idx="736">
                  <c:v>3.0505322693649344</c:v>
                </c:pt>
                <c:pt idx="737">
                  <c:v>2.9988503544318208</c:v>
                </c:pt>
                <c:pt idx="738">
                  <c:v>3.0552385763833056</c:v>
                </c:pt>
                <c:pt idx="739">
                  <c:v>3.0595619850282305</c:v>
                </c:pt>
                <c:pt idx="740">
                  <c:v>3.079222173764391</c:v>
                </c:pt>
                <c:pt idx="741">
                  <c:v>2.9703515794846802</c:v>
                </c:pt>
                <c:pt idx="742">
                  <c:v>2.9519134647628604</c:v>
                </c:pt>
                <c:pt idx="743">
                  <c:v>2.9353180328582766</c:v>
                </c:pt>
                <c:pt idx="744">
                  <c:v>2.7841918285080554</c:v>
                </c:pt>
                <c:pt idx="745">
                  <c:v>2.7841918285080562</c:v>
                </c:pt>
                <c:pt idx="746">
                  <c:v>2.6076809620810599</c:v>
                </c:pt>
                <c:pt idx="747">
                  <c:v>2.5928726358514265</c:v>
                </c:pt>
                <c:pt idx="748">
                  <c:v>2.5944237284527412</c:v>
                </c:pt>
                <c:pt idx="749">
                  <c:v>2.5289132643984789</c:v>
                </c:pt>
                <c:pt idx="750">
                  <c:v>2.3242845889810293</c:v>
                </c:pt>
                <c:pt idx="751">
                  <c:v>2.3242845889810293</c:v>
                </c:pt>
                <c:pt idx="752">
                  <c:v>2.4737704480984197</c:v>
                </c:pt>
                <c:pt idx="753">
                  <c:v>2.5042492623171708</c:v>
                </c:pt>
                <c:pt idx="754">
                  <c:v>2.515240899319426</c:v>
                </c:pt>
                <c:pt idx="755">
                  <c:v>2.463527048205759</c:v>
                </c:pt>
                <c:pt idx="756">
                  <c:v>2.413801313614937</c:v>
                </c:pt>
                <c:pt idx="757">
                  <c:v>2.4646932149211107</c:v>
                </c:pt>
                <c:pt idx="758">
                  <c:v>2.4876707473310122</c:v>
                </c:pt>
                <c:pt idx="759">
                  <c:v>2.5721765013355884</c:v>
                </c:pt>
                <c:pt idx="760">
                  <c:v>2.6663074470696078</c:v>
                </c:pt>
                <c:pt idx="761">
                  <c:v>2.7659672291340831</c:v>
                </c:pt>
                <c:pt idx="762">
                  <c:v>2.7534722071236346</c:v>
                </c:pt>
                <c:pt idx="763">
                  <c:v>2.8245638458955447</c:v>
                </c:pt>
                <c:pt idx="764">
                  <c:v>2.8088529994312252</c:v>
                </c:pt>
                <c:pt idx="765">
                  <c:v>2.7209278336372811</c:v>
                </c:pt>
                <c:pt idx="766">
                  <c:v>2.7792333351186049</c:v>
                </c:pt>
                <c:pt idx="767">
                  <c:v>2.9253155837221763</c:v>
                </c:pt>
                <c:pt idx="768">
                  <c:v>2.8879456167070514</c:v>
                </c:pt>
                <c:pt idx="769">
                  <c:v>2.9370796348769974</c:v>
                </c:pt>
                <c:pt idx="770">
                  <c:v>3.0931886609054451</c:v>
                </c:pt>
                <c:pt idx="771">
                  <c:v>3.2640500897666604</c:v>
                </c:pt>
                <c:pt idx="772">
                  <c:v>3.2263284709246292</c:v>
                </c:pt>
                <c:pt idx="773">
                  <c:v>3.3190498571161879</c:v>
                </c:pt>
                <c:pt idx="774">
                  <c:v>3.4733798836424383</c:v>
                </c:pt>
                <c:pt idx="775">
                  <c:v>3.568862789348366</c:v>
                </c:pt>
                <c:pt idx="776">
                  <c:v>3.6212971575732751</c:v>
                </c:pt>
                <c:pt idx="777">
                  <c:v>3.6679725992032362</c:v>
                </c:pt>
                <c:pt idx="778">
                  <c:v>3.7114299998353952</c:v>
                </c:pt>
                <c:pt idx="779">
                  <c:v>3.7245689405760034</c:v>
                </c:pt>
                <c:pt idx="780">
                  <c:v>3.7355083975953995</c:v>
                </c:pt>
                <c:pt idx="781">
                  <c:v>3.6728265916612224</c:v>
                </c:pt>
                <c:pt idx="782">
                  <c:v>3.6585594803507524</c:v>
                </c:pt>
                <c:pt idx="783">
                  <c:v>3.573368931028726</c:v>
                </c:pt>
                <c:pt idx="784">
                  <c:v>3.6096932082202313</c:v>
                </c:pt>
                <c:pt idx="785">
                  <c:v>3.5969335599205556</c:v>
                </c:pt>
                <c:pt idx="786">
                  <c:v>3.584769827010331</c:v>
                </c:pt>
                <c:pt idx="787">
                  <c:v>3.4912040540659364</c:v>
                </c:pt>
                <c:pt idx="788">
                  <c:v>3.5182610647222061</c:v>
                </c:pt>
                <c:pt idx="789">
                  <c:v>3.4832934606968355</c:v>
                </c:pt>
                <c:pt idx="790">
                  <c:v>3.3397639120910538</c:v>
                </c:pt>
                <c:pt idx="791">
                  <c:v>3.3624019876327678</c:v>
                </c:pt>
                <c:pt idx="792">
                  <c:v>3.2661622880613308</c:v>
                </c:pt>
                <c:pt idx="793">
                  <c:v>3.1015383650512951</c:v>
                </c:pt>
                <c:pt idx="794">
                  <c:v>3.2547048173798907</c:v>
                </c:pt>
                <c:pt idx="795">
                  <c:v>3.2243684225190412</c:v>
                </c:pt>
                <c:pt idx="796">
                  <c:v>3.2243684225190412</c:v>
                </c:pt>
                <c:pt idx="797">
                  <c:v>3.3051683665184863</c:v>
                </c:pt>
                <c:pt idx="798">
                  <c:v>3.2772289949067432</c:v>
                </c:pt>
                <c:pt idx="799">
                  <c:v>3.2350451683677171</c:v>
                </c:pt>
                <c:pt idx="800">
                  <c:v>3.2206231994915897</c:v>
                </c:pt>
                <c:pt idx="801">
                  <c:v>3.1396610110596037</c:v>
                </c:pt>
                <c:pt idx="802">
                  <c:v>3.2172309075731071</c:v>
                </c:pt>
                <c:pt idx="803">
                  <c:v>3.1065374152975651</c:v>
                </c:pt>
                <c:pt idx="804">
                  <c:v>3.0805283917558359</c:v>
                </c:pt>
                <c:pt idx="805">
                  <c:v>2.9796242916750808</c:v>
                </c:pt>
                <c:pt idx="806">
                  <c:v>2.9796242916750808</c:v>
                </c:pt>
                <c:pt idx="807">
                  <c:v>2.9211869733608853</c:v>
                </c:pt>
                <c:pt idx="808">
                  <c:v>2.9211869733608853</c:v>
                </c:pt>
                <c:pt idx="809">
                  <c:v>2.9211869733608853</c:v>
                </c:pt>
                <c:pt idx="810">
                  <c:v>2.8839627909025363</c:v>
                </c:pt>
                <c:pt idx="811">
                  <c:v>2.8729815503246354</c:v>
                </c:pt>
                <c:pt idx="812">
                  <c:v>2.8494806947731814</c:v>
                </c:pt>
                <c:pt idx="813">
                  <c:v>3.0227109701715449</c:v>
                </c:pt>
                <c:pt idx="814">
                  <c:v>3.0227109701715449</c:v>
                </c:pt>
                <c:pt idx="815">
                  <c:v>3.0028721883074452</c:v>
                </c:pt>
                <c:pt idx="816">
                  <c:v>3.1126364624103529</c:v>
                </c:pt>
                <c:pt idx="817">
                  <c:v>3.2241901772151365</c:v>
                </c:pt>
                <c:pt idx="818">
                  <c:v>3.2236553821692087</c:v>
                </c:pt>
                <c:pt idx="819">
                  <c:v>3.224190177215136</c:v>
                </c:pt>
                <c:pt idx="820">
                  <c:v>3.2449784371350248</c:v>
                </c:pt>
                <c:pt idx="821">
                  <c:v>3.2091822283430154</c:v>
                </c:pt>
                <c:pt idx="822">
                  <c:v>3.2976829204273361</c:v>
                </c:pt>
                <c:pt idx="823">
                  <c:v>3.3433756772968595</c:v>
                </c:pt>
                <c:pt idx="824">
                  <c:v>3.2215153141868242</c:v>
                </c:pt>
                <c:pt idx="825">
                  <c:v>3.2215153141868242</c:v>
                </c:pt>
                <c:pt idx="826">
                  <c:v>3.2419661977858754</c:v>
                </c:pt>
                <c:pt idx="827">
                  <c:v>3.1332477366640425</c:v>
                </c:pt>
                <c:pt idx="828">
                  <c:v>3.0529804544366832</c:v>
                </c:pt>
                <c:pt idx="829">
                  <c:v>3.0181443640586267</c:v>
                </c:pt>
                <c:pt idx="830">
                  <c:v>2.9519134647628604</c:v>
                </c:pt>
                <c:pt idx="831">
                  <c:v>2.900653909629392</c:v>
                </c:pt>
                <c:pt idx="832">
                  <c:v>2.8488755595889033</c:v>
                </c:pt>
                <c:pt idx="833">
                  <c:v>2.8343135559308421</c:v>
                </c:pt>
                <c:pt idx="834">
                  <c:v>2.6487906587767527</c:v>
                </c:pt>
                <c:pt idx="835">
                  <c:v>2.6208711370918985</c:v>
                </c:pt>
                <c:pt idx="836">
                  <c:v>2.750966392370874</c:v>
                </c:pt>
                <c:pt idx="837">
                  <c:v>2.8879456167070523</c:v>
                </c:pt>
                <c:pt idx="838">
                  <c:v>2.8039381172767066</c:v>
                </c:pt>
                <c:pt idx="839">
                  <c:v>2.8039381172767066</c:v>
                </c:pt>
                <c:pt idx="840">
                  <c:v>2.8569334898658809</c:v>
                </c:pt>
                <c:pt idx="841">
                  <c:v>2.8767798089123051</c:v>
                </c:pt>
                <c:pt idx="842">
                  <c:v>2.8569334898658809</c:v>
                </c:pt>
                <c:pt idx="843">
                  <c:v>2.7603514685425576</c:v>
                </c:pt>
                <c:pt idx="844">
                  <c:v>2.7603514685425576</c:v>
                </c:pt>
                <c:pt idx="845">
                  <c:v>2.740920224698435</c:v>
                </c:pt>
                <c:pt idx="846">
                  <c:v>2.7342022728696422</c:v>
                </c:pt>
                <c:pt idx="847">
                  <c:v>2.5855478087369352</c:v>
                </c:pt>
                <c:pt idx="848">
                  <c:v>2.6843522731632632</c:v>
                </c:pt>
                <c:pt idx="849">
                  <c:v>2.6826389477784613</c:v>
                </c:pt>
                <c:pt idx="850">
                  <c:v>2.7586853440699257</c:v>
                </c:pt>
                <c:pt idx="851">
                  <c:v>2.8998612729402855</c:v>
                </c:pt>
                <c:pt idx="852">
                  <c:v>2.797576948291002</c:v>
                </c:pt>
                <c:pt idx="853">
                  <c:v>2.725992384941422</c:v>
                </c:pt>
                <c:pt idx="854">
                  <c:v>2.7478309104898866</c:v>
                </c:pt>
                <c:pt idx="855">
                  <c:v>2.8735816091365516</c:v>
                </c:pt>
                <c:pt idx="856">
                  <c:v>2.8488755595889037</c:v>
                </c:pt>
                <c:pt idx="857">
                  <c:v>2.8488755595889037</c:v>
                </c:pt>
                <c:pt idx="858">
                  <c:v>2.944115502481861</c:v>
                </c:pt>
                <c:pt idx="859">
                  <c:v>3.0589984086899777</c:v>
                </c:pt>
                <c:pt idx="860">
                  <c:v>3.0550504633038931</c:v>
                </c:pt>
                <c:pt idx="861">
                  <c:v>3.1148513368337034</c:v>
                </c:pt>
                <c:pt idx="862">
                  <c:v>3.1704454163304931</c:v>
                </c:pt>
                <c:pt idx="863">
                  <c:v>3.1964419874776935</c:v>
                </c:pt>
                <c:pt idx="864">
                  <c:v>3.2322014845584133</c:v>
                </c:pt>
                <c:pt idx="865">
                  <c:v>3.2412570287523912</c:v>
                </c:pt>
                <c:pt idx="866">
                  <c:v>3.2428524409881785</c:v>
                </c:pt>
                <c:pt idx="867">
                  <c:v>3.0820205344404572</c:v>
                </c:pt>
                <c:pt idx="868">
                  <c:v>3.0597498207398006</c:v>
                </c:pt>
                <c:pt idx="869">
                  <c:v>3.158822711001716</c:v>
                </c:pt>
                <c:pt idx="870">
                  <c:v>3.2703825921213827</c:v>
                </c:pt>
                <c:pt idx="871">
                  <c:v>3.2476339751858756</c:v>
                </c:pt>
                <c:pt idx="872">
                  <c:v>3.3500729105121163</c:v>
                </c:pt>
                <c:pt idx="873">
                  <c:v>3.2955909242850341</c:v>
                </c:pt>
                <c:pt idx="874">
                  <c:v>3.2955909242850341</c:v>
                </c:pt>
                <c:pt idx="875">
                  <c:v>3.3044727612563332</c:v>
                </c:pt>
                <c:pt idx="876">
                  <c:v>3.2455097185701551</c:v>
                </c:pt>
                <c:pt idx="877">
                  <c:v>3.2767028564084661</c:v>
                </c:pt>
                <c:pt idx="878">
                  <c:v>3.268800616627507</c:v>
                </c:pt>
                <c:pt idx="879">
                  <c:v>3.3680377315166088</c:v>
                </c:pt>
                <c:pt idx="880">
                  <c:v>3.3392476267332554</c:v>
                </c:pt>
                <c:pt idx="881">
                  <c:v>3.2263284709246292</c:v>
                </c:pt>
                <c:pt idx="882">
                  <c:v>3.360350282781321</c:v>
                </c:pt>
                <c:pt idx="883">
                  <c:v>3.3782604514988064</c:v>
                </c:pt>
                <c:pt idx="884">
                  <c:v>3.3500729105121163</c:v>
                </c:pt>
                <c:pt idx="885">
                  <c:v>3.3945527696218143</c:v>
                </c:pt>
                <c:pt idx="886">
                  <c:v>3.4799920729200249</c:v>
                </c:pt>
                <c:pt idx="887">
                  <c:v>3.5475424551743382</c:v>
                </c:pt>
                <c:pt idx="888">
                  <c:v>3.5862124226305787</c:v>
                </c:pt>
                <c:pt idx="889">
                  <c:v>3.4713937709000504</c:v>
                </c:pt>
                <c:pt idx="890">
                  <c:v>3.4708970651377156</c:v>
                </c:pt>
                <c:pt idx="891">
                  <c:v>3.4708970651377156</c:v>
                </c:pt>
                <c:pt idx="892">
                  <c:v>3.3164515034465141</c:v>
                </c:pt>
                <c:pt idx="893">
                  <c:v>3.2064948456846611</c:v>
                </c:pt>
                <c:pt idx="894">
                  <c:v>3.2021903423290983</c:v>
                </c:pt>
                <c:pt idx="895">
                  <c:v>3.3356313917471745</c:v>
                </c:pt>
                <c:pt idx="896">
                  <c:v>3.2767028564084661</c:v>
                </c:pt>
                <c:pt idx="897">
                  <c:v>3.2767028564084661</c:v>
                </c:pt>
                <c:pt idx="898">
                  <c:v>3.2428524409881789</c:v>
                </c:pt>
                <c:pt idx="899">
                  <c:v>3.1374636509319966</c:v>
                </c:pt>
                <c:pt idx="900">
                  <c:v>3.0782888215639406</c:v>
                </c:pt>
                <c:pt idx="901">
                  <c:v>3.1660919018617388</c:v>
                </c:pt>
                <c:pt idx="902">
                  <c:v>3.1154048094006623</c:v>
                </c:pt>
                <c:pt idx="903">
                  <c:v>3.1832897030168854</c:v>
                </c:pt>
                <c:pt idx="904">
                  <c:v>3.0926312124293052</c:v>
                </c:pt>
                <c:pt idx="905">
                  <c:v>3.0663168216240657</c:v>
                </c:pt>
                <c:pt idx="906">
                  <c:v>3.1037611591959409</c:v>
                </c:pt>
                <c:pt idx="907">
                  <c:v>3.2027287216321976</c:v>
                </c:pt>
                <c:pt idx="908">
                  <c:v>3.0437424030446394</c:v>
                </c:pt>
                <c:pt idx="909">
                  <c:v>2.9913668885760178</c:v>
                </c:pt>
                <c:pt idx="910">
                  <c:v>3.0437424030446389</c:v>
                </c:pt>
                <c:pt idx="911">
                  <c:v>3.1957227160942669</c:v>
                </c:pt>
                <c:pt idx="912">
                  <c:v>3.0842573949268433</c:v>
                </c:pt>
                <c:pt idx="913">
                  <c:v>3.1484351157616248</c:v>
                </c:pt>
                <c:pt idx="914">
                  <c:v>3.139661011059605</c:v>
                </c:pt>
                <c:pt idx="915">
                  <c:v>3.139661011059605</c:v>
                </c:pt>
                <c:pt idx="916">
                  <c:v>3.1396610110596046</c:v>
                </c:pt>
                <c:pt idx="917">
                  <c:v>3.0112814700645343</c:v>
                </c:pt>
                <c:pt idx="918">
                  <c:v>3.0325816929042375</c:v>
                </c:pt>
                <c:pt idx="919">
                  <c:v>3.0171921178244632</c:v>
                </c:pt>
                <c:pt idx="920">
                  <c:v>3.0171921178244632</c:v>
                </c:pt>
                <c:pt idx="921">
                  <c:v>2.9836720413903928</c:v>
                </c:pt>
                <c:pt idx="922">
                  <c:v>2.9934795038934023</c:v>
                </c:pt>
                <c:pt idx="923">
                  <c:v>2.9728657948993864</c:v>
                </c:pt>
                <c:pt idx="924">
                  <c:v>3.0931886609054451</c:v>
                </c:pt>
                <c:pt idx="925">
                  <c:v>3.0747394992918906</c:v>
                </c:pt>
                <c:pt idx="926">
                  <c:v>3.0931886609054451</c:v>
                </c:pt>
                <c:pt idx="927">
                  <c:v>3.1117131327758436</c:v>
                </c:pt>
                <c:pt idx="928">
                  <c:v>3.1529952918367683</c:v>
                </c:pt>
                <c:pt idx="929">
                  <c:v>3.1905031491643423</c:v>
                </c:pt>
                <c:pt idx="930">
                  <c:v>3.2492262562597602</c:v>
                </c:pt>
                <c:pt idx="931">
                  <c:v>3.1724387805112886</c:v>
                </c:pt>
                <c:pt idx="932">
                  <c:v>3.1303115778964625</c:v>
                </c:pt>
                <c:pt idx="933">
                  <c:v>3.0323921743156137</c:v>
                </c:pt>
                <c:pt idx="934">
                  <c:v>3.1303115778964625</c:v>
                </c:pt>
                <c:pt idx="935">
                  <c:v>3.1447822138287713</c:v>
                </c:pt>
                <c:pt idx="936">
                  <c:v>3.2263284709246292</c:v>
                </c:pt>
                <c:pt idx="937">
                  <c:v>3.2369987518595416</c:v>
                </c:pt>
                <c:pt idx="938">
                  <c:v>3.2793327047595739</c:v>
                </c:pt>
                <c:pt idx="939">
                  <c:v>3.3930286880839842</c:v>
                </c:pt>
                <c:pt idx="940">
                  <c:v>3.430927624974927</c:v>
                </c:pt>
                <c:pt idx="941">
                  <c:v>3.28720962617792</c:v>
                </c:pt>
                <c:pt idx="942">
                  <c:v>3.2835360810264129</c:v>
                </c:pt>
                <c:pt idx="943">
                  <c:v>3.1813031378937175</c:v>
                </c:pt>
                <c:pt idx="944">
                  <c:v>3.1566386895069187</c:v>
                </c:pt>
                <c:pt idx="945">
                  <c:v>3.1139286639449422</c:v>
                </c:pt>
                <c:pt idx="946">
                  <c:v>3.0369373562434778</c:v>
                </c:pt>
                <c:pt idx="947">
                  <c:v>3.0363695805822215</c:v>
                </c:pt>
                <c:pt idx="948">
                  <c:v>2.9905982948098426</c:v>
                </c:pt>
                <c:pt idx="949">
                  <c:v>3.1347147847306926</c:v>
                </c:pt>
                <c:pt idx="950">
                  <c:v>3.2172309075731071</c:v>
                </c:pt>
                <c:pt idx="951">
                  <c:v>3.3072543044771687</c:v>
                </c:pt>
                <c:pt idx="952">
                  <c:v>3.308123057100437</c:v>
                </c:pt>
                <c:pt idx="953">
                  <c:v>3.337181686572579</c:v>
                </c:pt>
                <c:pt idx="954">
                  <c:v>3.16318623012253</c:v>
                </c:pt>
                <c:pt idx="955">
                  <c:v>3.1456958369891033</c:v>
                </c:pt>
                <c:pt idx="956">
                  <c:v>3.196441987477693</c:v>
                </c:pt>
                <c:pt idx="957">
                  <c:v>3.230600812417932</c:v>
                </c:pt>
                <c:pt idx="958">
                  <c:v>3.2476339751858743</c:v>
                </c:pt>
                <c:pt idx="959">
                  <c:v>3.2941955221162926</c:v>
                </c:pt>
                <c:pt idx="960">
                  <c:v>3.258234484198919</c:v>
                </c:pt>
                <c:pt idx="961">
                  <c:v>3.2816102019041478</c:v>
                </c:pt>
                <c:pt idx="962">
                  <c:v>3.4107672646097291</c:v>
                </c:pt>
                <c:pt idx="963">
                  <c:v>3.4416315296973465</c:v>
                </c:pt>
                <c:pt idx="964">
                  <c:v>3.337181686572579</c:v>
                </c:pt>
                <c:pt idx="965">
                  <c:v>3.328905104595548</c:v>
                </c:pt>
                <c:pt idx="966">
                  <c:v>3.2877340832705504</c:v>
                </c:pt>
                <c:pt idx="967">
                  <c:v>3.1566386895069183</c:v>
                </c:pt>
                <c:pt idx="968">
                  <c:v>3.1566386895069183</c:v>
                </c:pt>
                <c:pt idx="969">
                  <c:v>3.0595619850282296</c:v>
                </c:pt>
                <c:pt idx="970">
                  <c:v>2.9400132926433407</c:v>
                </c:pt>
                <c:pt idx="971">
                  <c:v>3.0597498207398006</c:v>
                </c:pt>
                <c:pt idx="972">
                  <c:v>3.2107935782760704</c:v>
                </c:pt>
                <c:pt idx="973">
                  <c:v>3.2091822283430154</c:v>
                </c:pt>
                <c:pt idx="974">
                  <c:v>3.335803682307541</c:v>
                </c:pt>
                <c:pt idx="975">
                  <c:v>3.2534685293182668</c:v>
                </c:pt>
                <c:pt idx="976">
                  <c:v>3.2027287216321985</c:v>
                </c:pt>
                <c:pt idx="977">
                  <c:v>3.2027287216321985</c:v>
                </c:pt>
                <c:pt idx="978">
                  <c:v>3.3081230571004374</c:v>
                </c:pt>
                <c:pt idx="979">
                  <c:v>3.315064882082067</c:v>
                </c:pt>
                <c:pt idx="980">
                  <c:v>3.3569279880928899</c:v>
                </c:pt>
                <c:pt idx="981">
                  <c:v>3.2455097185701551</c:v>
                </c:pt>
                <c:pt idx="982">
                  <c:v>3.28720962617792</c:v>
                </c:pt>
                <c:pt idx="983">
                  <c:v>3.3233759321218685</c:v>
                </c:pt>
                <c:pt idx="984">
                  <c:v>3.3107279471786701</c:v>
                </c:pt>
                <c:pt idx="985">
                  <c:v>3.3569279880928899</c:v>
                </c:pt>
                <c:pt idx="986">
                  <c:v>3.3122898979129363</c:v>
                </c:pt>
                <c:pt idx="987">
                  <c:v>3.3252776221494371</c:v>
                </c:pt>
                <c:pt idx="988">
                  <c:v>3.1551818352977854</c:v>
                </c:pt>
                <c:pt idx="989">
                  <c:v>3.1941037632761264</c:v>
                </c:pt>
                <c:pt idx="990">
                  <c:v>3.2000359193386361</c:v>
                </c:pt>
                <c:pt idx="991">
                  <c:v>3.2737198076974061</c:v>
                </c:pt>
                <c:pt idx="992">
                  <c:v>3.2048813344359717</c:v>
                </c:pt>
                <c:pt idx="993">
                  <c:v>3.1506248240006611</c:v>
                </c:pt>
                <c:pt idx="994">
                  <c:v>3.1919438822019468</c:v>
                </c:pt>
                <c:pt idx="995">
                  <c:v>3.3107279471786697</c:v>
                </c:pt>
                <c:pt idx="996">
                  <c:v>3.3107279471786697</c:v>
                </c:pt>
                <c:pt idx="997">
                  <c:v>3.3569279880928899</c:v>
                </c:pt>
                <c:pt idx="998">
                  <c:v>3.4534673563838991</c:v>
                </c:pt>
                <c:pt idx="999">
                  <c:v>3.4854376858680123</c:v>
                </c:pt>
                <c:pt idx="1000">
                  <c:v>3.5076271574758437</c:v>
                </c:pt>
                <c:pt idx="1001">
                  <c:v>3.5202207349807635</c:v>
                </c:pt>
                <c:pt idx="1002">
                  <c:v>3.4813130037221662</c:v>
                </c:pt>
                <c:pt idx="1003">
                  <c:v>3.5109025594010994</c:v>
                </c:pt>
                <c:pt idx="1004">
                  <c:v>3.5109025594010994</c:v>
                </c:pt>
                <c:pt idx="1005">
                  <c:v>3.5207104821116104</c:v>
                </c:pt>
                <c:pt idx="1006">
                  <c:v>3.6160561484807618</c:v>
                </c:pt>
                <c:pt idx="1007">
                  <c:v>3.7016616337227148</c:v>
                </c:pt>
                <c:pt idx="1008">
                  <c:v>3.6339712610912027</c:v>
                </c:pt>
                <c:pt idx="1009">
                  <c:v>3.5494859592217924</c:v>
                </c:pt>
                <c:pt idx="1010">
                  <c:v>3.4514697852017937</c:v>
                </c:pt>
                <c:pt idx="1011">
                  <c:v>3.5272339460751434</c:v>
                </c:pt>
                <c:pt idx="1012">
                  <c:v>3.4456369212532314</c:v>
                </c:pt>
                <c:pt idx="1013">
                  <c:v>3.3700847562587826</c:v>
                </c:pt>
                <c:pt idx="1014">
                  <c:v>3.4576252564141621</c:v>
                </c:pt>
                <c:pt idx="1015">
                  <c:v>3.501067160790809</c:v>
                </c:pt>
                <c:pt idx="1016">
                  <c:v>3.4872510004629556</c:v>
                </c:pt>
                <c:pt idx="1017">
                  <c:v>3.5519138438344742</c:v>
                </c:pt>
                <c:pt idx="1018">
                  <c:v>3.643447905992093</c:v>
                </c:pt>
                <c:pt idx="1019">
                  <c:v>3.5849301440796628</c:v>
                </c:pt>
                <c:pt idx="1020">
                  <c:v>3.6834516546242364</c:v>
                </c:pt>
                <c:pt idx="1021">
                  <c:v>3.7545374847160504</c:v>
                </c:pt>
                <c:pt idx="1022">
                  <c:v>3.7882152410658607</c:v>
                </c:pt>
                <c:pt idx="1023">
                  <c:v>3.7882152410658607</c:v>
                </c:pt>
                <c:pt idx="1024">
                  <c:v>3.7918545488375783</c:v>
                </c:pt>
                <c:pt idx="1025">
                  <c:v>3.7207093625973449</c:v>
                </c:pt>
                <c:pt idx="1026">
                  <c:v>3.7632524450954974</c:v>
                </c:pt>
                <c:pt idx="1027">
                  <c:v>3.7299656403458887</c:v>
                </c:pt>
                <c:pt idx="1028">
                  <c:v>3.689220083918308</c:v>
                </c:pt>
                <c:pt idx="1029">
                  <c:v>3.689220083918308</c:v>
                </c:pt>
                <c:pt idx="1030">
                  <c:v>3.6453402786470344</c:v>
                </c:pt>
                <c:pt idx="1031">
                  <c:v>3.6287485572789451</c:v>
                </c:pt>
                <c:pt idx="1032">
                  <c:v>3.549485959221792</c:v>
                </c:pt>
                <c:pt idx="1033">
                  <c:v>3.5369965829197807</c:v>
                </c:pt>
                <c:pt idx="1034">
                  <c:v>3.5010671607908082</c:v>
                </c:pt>
                <c:pt idx="1035">
                  <c:v>3.5693458623475345</c:v>
                </c:pt>
                <c:pt idx="1036">
                  <c:v>3.6396602089730314</c:v>
                </c:pt>
                <c:pt idx="1037">
                  <c:v>3.6396602089730314</c:v>
                </c:pt>
                <c:pt idx="1038">
                  <c:v>3.6001277116555022</c:v>
                </c:pt>
                <c:pt idx="1039">
                  <c:v>3.5564414605148449</c:v>
                </c:pt>
                <c:pt idx="1040">
                  <c:v>3.5823642100341133</c:v>
                </c:pt>
                <c:pt idx="1041">
                  <c:v>3.5501335574682353</c:v>
                </c:pt>
                <c:pt idx="1042">
                  <c:v>3.5785118592002432</c:v>
                </c:pt>
                <c:pt idx="1043">
                  <c:v>3.6015641557267992</c:v>
                </c:pt>
                <c:pt idx="1044">
                  <c:v>3.5757805996106256</c:v>
                </c:pt>
                <c:pt idx="1045">
                  <c:v>3.4476378720149423</c:v>
                </c:pt>
                <c:pt idx="1046">
                  <c:v>3.3624019876327678</c:v>
                </c:pt>
                <c:pt idx="1047">
                  <c:v>3.3392476267332558</c:v>
                </c:pt>
                <c:pt idx="1048">
                  <c:v>3.1264536848765494</c:v>
                </c:pt>
                <c:pt idx="1049">
                  <c:v>3.1486176496120128</c:v>
                </c:pt>
                <c:pt idx="1050">
                  <c:v>3.0926312124293047</c:v>
                </c:pt>
                <c:pt idx="1051">
                  <c:v>3.0580588839868721</c:v>
                </c:pt>
                <c:pt idx="1052">
                  <c:v>2.8945052978946562</c:v>
                </c:pt>
                <c:pt idx="1053">
                  <c:v>2.7678366173294782</c:v>
                </c:pt>
                <c:pt idx="1054">
                  <c:v>2.6714755490543789</c:v>
                </c:pt>
                <c:pt idx="1055">
                  <c:v>2.6357402066177928</c:v>
                </c:pt>
                <c:pt idx="1056">
                  <c:v>2.5855478087369348</c:v>
                </c:pt>
                <c:pt idx="1057">
                  <c:v>2.5855478087369348</c:v>
                </c:pt>
                <c:pt idx="1058">
                  <c:v>2.5596335944683637</c:v>
                </c:pt>
                <c:pt idx="1059">
                  <c:v>2.5596335944683637</c:v>
                </c:pt>
                <c:pt idx="1060">
                  <c:v>2.5777563085378912</c:v>
                </c:pt>
                <c:pt idx="1061">
                  <c:v>2.4590905710814326</c:v>
                </c:pt>
                <c:pt idx="1062">
                  <c:v>2.4681884091350281</c:v>
                </c:pt>
                <c:pt idx="1063">
                  <c:v>2.4730733822559707</c:v>
                </c:pt>
                <c:pt idx="1064">
                  <c:v>2.4259137394524899</c:v>
                </c:pt>
                <c:pt idx="1065">
                  <c:v>2.1573184717388725</c:v>
                </c:pt>
                <c:pt idx="1066">
                  <c:v>1.6049492418657725</c:v>
                </c:pt>
                <c:pt idx="1067">
                  <c:v>1.5916448515084438</c:v>
                </c:pt>
                <c:pt idx="1068">
                  <c:v>1.5085960589122316</c:v>
                </c:pt>
                <c:pt idx="1069">
                  <c:v>1.4735210781716319</c:v>
                </c:pt>
                <c:pt idx="1070">
                  <c:v>0.94443317550184869</c:v>
                </c:pt>
                <c:pt idx="1071">
                  <c:v>0.9128709291752769</c:v>
                </c:pt>
                <c:pt idx="1072">
                  <c:v>0.97143098618457724</c:v>
                </c:pt>
                <c:pt idx="1073">
                  <c:v>0.93710240611164242</c:v>
                </c:pt>
                <c:pt idx="1074">
                  <c:v>0.93710240611164242</c:v>
                </c:pt>
                <c:pt idx="1075">
                  <c:v>0.92288901712558846</c:v>
                </c:pt>
                <c:pt idx="1076">
                  <c:v>0.89955289021760709</c:v>
                </c:pt>
                <c:pt idx="1077">
                  <c:v>0.92288901712558846</c:v>
                </c:pt>
                <c:pt idx="1078">
                  <c:v>0.96132093030084542</c:v>
                </c:pt>
                <c:pt idx="1079">
                  <c:v>0.9732042112432564</c:v>
                </c:pt>
                <c:pt idx="1080">
                  <c:v>0.99481413963302379</c:v>
                </c:pt>
                <c:pt idx="1081">
                  <c:v>0.98026503570712209</c:v>
                </c:pt>
                <c:pt idx="1082">
                  <c:v>0.99481413963302379</c:v>
                </c:pt>
                <c:pt idx="1083">
                  <c:v>1.0080138659874616</c:v>
                </c:pt>
                <c:pt idx="1084">
                  <c:v>0.9855274566525748</c:v>
                </c:pt>
                <c:pt idx="1085">
                  <c:v>1.6262925893598903</c:v>
                </c:pt>
                <c:pt idx="1086">
                  <c:v>1.6262925893598903</c:v>
                </c:pt>
                <c:pt idx="1087">
                  <c:v>2.0566684364455212</c:v>
                </c:pt>
                <c:pt idx="1088">
                  <c:v>2.1605129233480698</c:v>
                </c:pt>
                <c:pt idx="1089">
                  <c:v>2.3850588561137096</c:v>
                </c:pt>
                <c:pt idx="1090">
                  <c:v>2.4023455970813381</c:v>
                </c:pt>
                <c:pt idx="1091">
                  <c:v>2.4059313679168901</c:v>
                </c:pt>
                <c:pt idx="1092">
                  <c:v>2.4374944739106241</c:v>
                </c:pt>
                <c:pt idx="1093">
                  <c:v>2.6714755490543798</c:v>
                </c:pt>
                <c:pt idx="1094">
                  <c:v>2.6714755490543798</c:v>
                </c:pt>
                <c:pt idx="1095">
                  <c:v>2.6193357059051983</c:v>
                </c:pt>
                <c:pt idx="1096">
                  <c:v>2.6120850877693713</c:v>
                </c:pt>
                <c:pt idx="1097">
                  <c:v>2.6997232723237459</c:v>
                </c:pt>
                <c:pt idx="1098">
                  <c:v>2.6843522731632641</c:v>
                </c:pt>
                <c:pt idx="1099">
                  <c:v>2.7636807041485016</c:v>
                </c:pt>
                <c:pt idx="1100">
                  <c:v>2.7584770077524388</c:v>
                </c:pt>
                <c:pt idx="1101">
                  <c:v>2.8657710442673054</c:v>
                </c:pt>
                <c:pt idx="1102">
                  <c:v>2.865771044267305</c:v>
                </c:pt>
                <c:pt idx="1103">
                  <c:v>2.9594966953276316</c:v>
                </c:pt>
                <c:pt idx="1104">
                  <c:v>2.9836720413903928</c:v>
                </c:pt>
                <c:pt idx="1105">
                  <c:v>3.0141429082351698</c:v>
                </c:pt>
                <c:pt idx="1106">
                  <c:v>2.9873295651860179</c:v>
                </c:pt>
                <c:pt idx="1107">
                  <c:v>2.9819379643092025</c:v>
                </c:pt>
                <c:pt idx="1108">
                  <c:v>2.937862230050726</c:v>
                </c:pt>
                <c:pt idx="1109">
                  <c:v>3.1043166090454428</c:v>
                </c:pt>
                <c:pt idx="1110">
                  <c:v>3.2449784371350239</c:v>
                </c:pt>
                <c:pt idx="1111">
                  <c:v>3.2449784371350239</c:v>
                </c:pt>
                <c:pt idx="1112">
                  <c:v>3.2898310755640829</c:v>
                </c:pt>
                <c:pt idx="1113">
                  <c:v>3.231312320148708</c:v>
                </c:pt>
                <c:pt idx="1114">
                  <c:v>3.194103763276126</c:v>
                </c:pt>
                <c:pt idx="1115">
                  <c:v>3.1037611591959413</c:v>
                </c:pt>
                <c:pt idx="1116">
                  <c:v>3.1856358646381677</c:v>
                </c:pt>
                <c:pt idx="1117">
                  <c:v>3.0933744547405473</c:v>
                </c:pt>
                <c:pt idx="1118">
                  <c:v>3.1440511241492821</c:v>
                </c:pt>
                <c:pt idx="1119">
                  <c:v>3.0931886609054451</c:v>
                </c:pt>
                <c:pt idx="1120">
                  <c:v>3.1403931227661994</c:v>
                </c:pt>
                <c:pt idx="1121">
                  <c:v>3.1403931227661994</c:v>
                </c:pt>
                <c:pt idx="1122">
                  <c:v>3.1286587776755779</c:v>
                </c:pt>
                <c:pt idx="1123">
                  <c:v>3.0904004129956486</c:v>
                </c:pt>
                <c:pt idx="1124">
                  <c:v>3.1065374152975656</c:v>
                </c:pt>
                <c:pt idx="1125">
                  <c:v>3.1065374152975656</c:v>
                </c:pt>
                <c:pt idx="1126">
                  <c:v>3.1236951298690809</c:v>
                </c:pt>
                <c:pt idx="1127">
                  <c:v>3.0730568105584282</c:v>
                </c:pt>
                <c:pt idx="1128">
                  <c:v>3.0859339762456242</c:v>
                </c:pt>
                <c:pt idx="1129">
                  <c:v>3.0278401694861685</c:v>
                </c:pt>
                <c:pt idx="1130">
                  <c:v>3.0708117912811357</c:v>
                </c:pt>
                <c:pt idx="1131">
                  <c:v>3.1259021686252577</c:v>
                </c:pt>
                <c:pt idx="1132">
                  <c:v>3.0680032069997782</c:v>
                </c:pt>
                <c:pt idx="1133">
                  <c:v>2.9905982948098426</c:v>
                </c:pt>
                <c:pt idx="1134">
                  <c:v>3.1549996812211796</c:v>
                </c:pt>
                <c:pt idx="1135">
                  <c:v>3.15499968122118</c:v>
                </c:pt>
                <c:pt idx="1136">
                  <c:v>3.1549996812211796</c:v>
                </c:pt>
                <c:pt idx="1137">
                  <c:v>3.1469744638083843</c:v>
                </c:pt>
                <c:pt idx="1138">
                  <c:v>3.1369140703974456</c:v>
                </c:pt>
                <c:pt idx="1139">
                  <c:v>2.9790455927491548</c:v>
                </c:pt>
                <c:pt idx="1140">
                  <c:v>2.8464537323790653</c:v>
                </c:pt>
                <c:pt idx="1141">
                  <c:v>2.9024365507336225</c:v>
                </c:pt>
                <c:pt idx="1142">
                  <c:v>2.955804731235709</c:v>
                </c:pt>
                <c:pt idx="1143">
                  <c:v>2.9548323950367505</c:v>
                </c:pt>
                <c:pt idx="1144">
                  <c:v>2.9896372747346391</c:v>
                </c:pt>
                <c:pt idx="1145">
                  <c:v>3.1588227110017151</c:v>
                </c:pt>
                <c:pt idx="1146">
                  <c:v>3.2941955221162926</c:v>
                </c:pt>
                <c:pt idx="1147">
                  <c:v>3.308644199182138</c:v>
                </c:pt>
                <c:pt idx="1148">
                  <c:v>3.2688006166275065</c:v>
                </c:pt>
                <c:pt idx="1149">
                  <c:v>3.428078782340195</c:v>
                </c:pt>
                <c:pt idx="1150">
                  <c:v>3.5306539396235523</c:v>
                </c:pt>
                <c:pt idx="1151">
                  <c:v>3.4997536859140483</c:v>
                </c:pt>
                <c:pt idx="1152">
                  <c:v>3.4997536859140483</c:v>
                </c:pt>
                <c:pt idx="1153">
                  <c:v>3.4589547288294993</c:v>
                </c:pt>
                <c:pt idx="1154">
                  <c:v>3.4589547288294993</c:v>
                </c:pt>
                <c:pt idx="1155">
                  <c:v>3.4748687232294349</c:v>
                </c:pt>
                <c:pt idx="1156">
                  <c:v>3.4748687232294344</c:v>
                </c:pt>
                <c:pt idx="1157">
                  <c:v>3.5525609995005594</c:v>
                </c:pt>
                <c:pt idx="1158">
                  <c:v>3.512866334641481</c:v>
                </c:pt>
                <c:pt idx="1159">
                  <c:v>3.6287485572789446</c:v>
                </c:pt>
                <c:pt idx="1160">
                  <c:v>3.5109025594010999</c:v>
                </c:pt>
                <c:pt idx="1161">
                  <c:v>3.4389586769266649</c:v>
                </c:pt>
                <c:pt idx="1162">
                  <c:v>3.4389586769266649</c:v>
                </c:pt>
                <c:pt idx="1163">
                  <c:v>3.4389586769266649</c:v>
                </c:pt>
                <c:pt idx="1164">
                  <c:v>3.3564143429230113</c:v>
                </c:pt>
                <c:pt idx="1165">
                  <c:v>3.3977680300760515</c:v>
                </c:pt>
                <c:pt idx="1166">
                  <c:v>3.4053710112318059</c:v>
                </c:pt>
                <c:pt idx="1167">
                  <c:v>3.4708970651377156</c:v>
                </c:pt>
                <c:pt idx="1168">
                  <c:v>3.4680810554104049</c:v>
                </c:pt>
                <c:pt idx="1169">
                  <c:v>3.4314301163914376</c:v>
                </c:pt>
                <c:pt idx="1170">
                  <c:v>3.4574590364176037</c:v>
                </c:pt>
                <c:pt idx="1171">
                  <c:v>3.3086441991821367</c:v>
                </c:pt>
                <c:pt idx="1172">
                  <c:v>3.2879088837110748</c:v>
                </c:pt>
                <c:pt idx="1173">
                  <c:v>3.3356313917471754</c:v>
                </c:pt>
                <c:pt idx="1174">
                  <c:v>3.2107935782760699</c:v>
                </c:pt>
                <c:pt idx="1175">
                  <c:v>3.2816102019041478</c:v>
                </c:pt>
                <c:pt idx="1176">
                  <c:v>3.2107935782760704</c:v>
                </c:pt>
                <c:pt idx="1177">
                  <c:v>3.2107935782760704</c:v>
                </c:pt>
                <c:pt idx="1178">
                  <c:v>3.1724387805112899</c:v>
                </c:pt>
                <c:pt idx="1179">
                  <c:v>3.0792221737643906</c:v>
                </c:pt>
                <c:pt idx="1180">
                  <c:v>3.0011492051752673</c:v>
                </c:pt>
                <c:pt idx="1181">
                  <c:v>3.0141429082351694</c:v>
                </c:pt>
                <c:pt idx="1182">
                  <c:v>2.9767296720108609</c:v>
                </c:pt>
                <c:pt idx="1183">
                  <c:v>2.9767296720108609</c:v>
                </c:pt>
                <c:pt idx="1184">
                  <c:v>3.0782888215639406</c:v>
                </c:pt>
                <c:pt idx="1185">
                  <c:v>3.1148513368337043</c:v>
                </c:pt>
                <c:pt idx="1186">
                  <c:v>3.0567430642629327</c:v>
                </c:pt>
                <c:pt idx="1187">
                  <c:v>3.1028351884843244</c:v>
                </c:pt>
                <c:pt idx="1188">
                  <c:v>3.2012928422855929</c:v>
                </c:pt>
                <c:pt idx="1189">
                  <c:v>3.0642544235774212</c:v>
                </c:pt>
                <c:pt idx="1190">
                  <c:v>3.1227750700188177</c:v>
                </c:pt>
                <c:pt idx="1191">
                  <c:v>3.139661011059605</c:v>
                </c:pt>
                <c:pt idx="1192">
                  <c:v>3.139661011059605</c:v>
                </c:pt>
                <c:pt idx="1193">
                  <c:v>3.2968114166936182</c:v>
                </c:pt>
                <c:pt idx="1194">
                  <c:v>3.2968114166936182</c:v>
                </c:pt>
                <c:pt idx="1195">
                  <c:v>3.2215153141868242</c:v>
                </c:pt>
                <c:pt idx="1196">
                  <c:v>3.215622783390097</c:v>
                </c:pt>
                <c:pt idx="1197">
                  <c:v>3.1811224795479118</c:v>
                </c:pt>
                <c:pt idx="1198">
                  <c:v>3.3371816865725794</c:v>
                </c:pt>
                <c:pt idx="1199">
                  <c:v>3.2731931051265941</c:v>
                </c:pt>
                <c:pt idx="1200">
                  <c:v>3.2236553821692082</c:v>
                </c:pt>
                <c:pt idx="1201">
                  <c:v>3.2731931051265946</c:v>
                </c:pt>
                <c:pt idx="1202">
                  <c:v>3.3002960508094579</c:v>
                </c:pt>
                <c:pt idx="1203">
                  <c:v>3.2348675113661072</c:v>
                </c:pt>
                <c:pt idx="1204">
                  <c:v>3.1666364184883227</c:v>
                </c:pt>
                <c:pt idx="1205">
                  <c:v>3.1043166090454428</c:v>
                </c:pt>
                <c:pt idx="1206">
                  <c:v>3.1941037632761264</c:v>
                </c:pt>
                <c:pt idx="1207">
                  <c:v>3.1513543886333415</c:v>
                </c:pt>
                <c:pt idx="1208">
                  <c:v>3.1506248240006607</c:v>
                </c:pt>
                <c:pt idx="1209">
                  <c:v>3.1332477366640425</c:v>
                </c:pt>
                <c:pt idx="1210">
                  <c:v>3.1957227160942669</c:v>
                </c:pt>
                <c:pt idx="1211">
                  <c:v>3.1957227160942669</c:v>
                </c:pt>
                <c:pt idx="1212">
                  <c:v>3.2476339751858743</c:v>
                </c:pt>
                <c:pt idx="1213">
                  <c:v>3.2941955221162926</c:v>
                </c:pt>
                <c:pt idx="1214">
                  <c:v>3.2941955221162931</c:v>
                </c:pt>
                <c:pt idx="1215">
                  <c:v>3.2412570287523912</c:v>
                </c:pt>
                <c:pt idx="1216">
                  <c:v>3.3397639120910543</c:v>
                </c:pt>
                <c:pt idx="1217">
                  <c:v>3.1805804429416638</c:v>
                </c:pt>
                <c:pt idx="1218">
                  <c:v>3.00975425735311</c:v>
                </c:pt>
                <c:pt idx="1219">
                  <c:v>3.0567430642629319</c:v>
                </c:pt>
                <c:pt idx="1220">
                  <c:v>2.9290459786127605</c:v>
                </c:pt>
                <c:pt idx="1221">
                  <c:v>2.9323796777894642</c:v>
                </c:pt>
                <c:pt idx="1222">
                  <c:v>2.9959743104648817</c:v>
                </c:pt>
                <c:pt idx="1223">
                  <c:v>2.9323796777894642</c:v>
                </c:pt>
                <c:pt idx="1224">
                  <c:v>2.8879456167070523</c:v>
                </c:pt>
                <c:pt idx="1225">
                  <c:v>2.9282610272443539</c:v>
                </c:pt>
                <c:pt idx="1226">
                  <c:v>2.9674479146965296</c:v>
                </c:pt>
                <c:pt idx="1227">
                  <c:v>2.7866677665949546</c:v>
                </c:pt>
                <c:pt idx="1228">
                  <c:v>2.7866677665949546</c:v>
                </c:pt>
                <c:pt idx="1229">
                  <c:v>2.8488755595889033</c:v>
                </c:pt>
                <c:pt idx="1230">
                  <c:v>2.8839627909025367</c:v>
                </c:pt>
                <c:pt idx="1231">
                  <c:v>2.944701065951532</c:v>
                </c:pt>
                <c:pt idx="1232">
                  <c:v>2.9447010659515316</c:v>
                </c:pt>
                <c:pt idx="1233">
                  <c:v>2.8719811736968204</c:v>
                </c:pt>
                <c:pt idx="1234">
                  <c:v>2.8000410506021995</c:v>
                </c:pt>
                <c:pt idx="1235">
                  <c:v>2.8615565252369968</c:v>
                </c:pt>
                <c:pt idx="1236">
                  <c:v>2.556038601690775</c:v>
                </c:pt>
                <c:pt idx="1237">
                  <c:v>2.5515377378330517</c:v>
                </c:pt>
                <c:pt idx="1238">
                  <c:v>2.5452231571200654</c:v>
                </c:pt>
                <c:pt idx="1239">
                  <c:v>2.4719111690322144</c:v>
                </c:pt>
                <c:pt idx="1240">
                  <c:v>2.5008044682673107</c:v>
                </c:pt>
                <c:pt idx="1241">
                  <c:v>2.3588912259983399</c:v>
                </c:pt>
                <c:pt idx="1242">
                  <c:v>2.1237572430921121</c:v>
                </c:pt>
                <c:pt idx="1243">
                  <c:v>2.0956989342433001</c:v>
                </c:pt>
                <c:pt idx="1244">
                  <c:v>2.0869049843711394</c:v>
                </c:pt>
                <c:pt idx="1245">
                  <c:v>2.1283526628524849</c:v>
                </c:pt>
                <c:pt idx="1246">
                  <c:v>2.0998084203800231</c:v>
                </c:pt>
                <c:pt idx="1247">
                  <c:v>2.0956989342433001</c:v>
                </c:pt>
                <c:pt idx="1248">
                  <c:v>2.0083160441856096</c:v>
                </c:pt>
                <c:pt idx="1249">
                  <c:v>2.0060254063781162</c:v>
                </c:pt>
                <c:pt idx="1250">
                  <c:v>2.0423673439947319</c:v>
                </c:pt>
                <c:pt idx="1251">
                  <c:v>2.0423673439947319</c:v>
                </c:pt>
                <c:pt idx="1252">
                  <c:v>2.0160277319749236</c:v>
                </c:pt>
                <c:pt idx="1253">
                  <c:v>2.0231419743250512</c:v>
                </c:pt>
                <c:pt idx="1254">
                  <c:v>1.8096167118144559</c:v>
                </c:pt>
                <c:pt idx="1255">
                  <c:v>1.8096167118144559</c:v>
                </c:pt>
                <c:pt idx="1256">
                  <c:v>1.837039096937831</c:v>
                </c:pt>
                <c:pt idx="1257">
                  <c:v>1.795268365940627</c:v>
                </c:pt>
                <c:pt idx="1258">
                  <c:v>1.7603552410558057</c:v>
                </c:pt>
                <c:pt idx="1259">
                  <c:v>1.4840144374549429</c:v>
                </c:pt>
                <c:pt idx="1260">
                  <c:v>1.1371470653683551</c:v>
                </c:pt>
                <c:pt idx="1261">
                  <c:v>1.1043279539543756</c:v>
                </c:pt>
                <c:pt idx="1262">
                  <c:v>1.132589343358684</c:v>
                </c:pt>
                <c:pt idx="1263">
                  <c:v>1.1043279539543756</c:v>
                </c:pt>
                <c:pt idx="1264">
                  <c:v>1.1058881072455413</c:v>
                </c:pt>
                <c:pt idx="1265">
                  <c:v>1.0699661612438482</c:v>
                </c:pt>
                <c:pt idx="1266">
                  <c:v>1.1058881072455413</c:v>
                </c:pt>
                <c:pt idx="1267">
                  <c:v>1.1366415543118706</c:v>
                </c:pt>
                <c:pt idx="1268">
                  <c:v>1.1366415543118706</c:v>
                </c:pt>
                <c:pt idx="1269">
                  <c:v>1.1366415543118706</c:v>
                </c:pt>
                <c:pt idx="1270">
                  <c:v>1.1058881072455413</c:v>
                </c:pt>
                <c:pt idx="1271">
                  <c:v>1.0742546199601595</c:v>
                </c:pt>
                <c:pt idx="1272">
                  <c:v>1.1058881072455413</c:v>
                </c:pt>
                <c:pt idx="1273">
                  <c:v>1.1058881072455413</c:v>
                </c:pt>
                <c:pt idx="1274">
                  <c:v>1.0747894741730137</c:v>
                </c:pt>
                <c:pt idx="1275">
                  <c:v>1.0416609195243758</c:v>
                </c:pt>
                <c:pt idx="1276">
                  <c:v>1.0699661612438485</c:v>
                </c:pt>
                <c:pt idx="1277">
                  <c:v>1.5844067746592754</c:v>
                </c:pt>
                <c:pt idx="1278">
                  <c:v>1.5613875350094093</c:v>
                </c:pt>
                <c:pt idx="1279">
                  <c:v>1.5554871358790012</c:v>
                </c:pt>
                <c:pt idx="1280">
                  <c:v>1.6914252984479941</c:v>
                </c:pt>
                <c:pt idx="1281">
                  <c:v>1.6887048699909157</c:v>
                </c:pt>
                <c:pt idx="1282">
                  <c:v>2.2180036586726044</c:v>
                </c:pt>
                <c:pt idx="1283">
                  <c:v>2.2151515866242968</c:v>
                </c:pt>
                <c:pt idx="1284">
                  <c:v>2.2334963055994606</c:v>
                </c:pt>
                <c:pt idx="1285">
                  <c:v>2.5270945563139748</c:v>
                </c:pt>
                <c:pt idx="1286">
                  <c:v>2.4795717094024456</c:v>
                </c:pt>
                <c:pt idx="1287">
                  <c:v>2.5106668986271492</c:v>
                </c:pt>
                <c:pt idx="1288">
                  <c:v>2.7478309104898857</c:v>
                </c:pt>
                <c:pt idx="1289">
                  <c:v>2.8639655812482654</c:v>
                </c:pt>
                <c:pt idx="1290">
                  <c:v>3.0467619895045392</c:v>
                </c:pt>
                <c:pt idx="1291">
                  <c:v>3.1337979601710786</c:v>
                </c:pt>
                <c:pt idx="1292">
                  <c:v>3.1374636509319975</c:v>
                </c:pt>
                <c:pt idx="1293">
                  <c:v>3.308644199182138</c:v>
                </c:pt>
                <c:pt idx="1294">
                  <c:v>3.308644199182138</c:v>
                </c:pt>
                <c:pt idx="1295">
                  <c:v>3.3986136456860874</c:v>
                </c:pt>
                <c:pt idx="1296">
                  <c:v>3.3577838887692226</c:v>
                </c:pt>
                <c:pt idx="1297">
                  <c:v>3.2666901242413688</c:v>
                </c:pt>
                <c:pt idx="1298">
                  <c:v>3.2263284709246283</c:v>
                </c:pt>
                <c:pt idx="1299">
                  <c:v>3.1784113721440646</c:v>
                </c:pt>
                <c:pt idx="1300">
                  <c:v>3.130311577896463</c:v>
                </c:pt>
                <c:pt idx="1301">
                  <c:v>3.1303115778964625</c:v>
                </c:pt>
                <c:pt idx="1302">
                  <c:v>3.1200132625712809</c:v>
                </c:pt>
                <c:pt idx="1303">
                  <c:v>3.1724387805112895</c:v>
                </c:pt>
                <c:pt idx="1304">
                  <c:v>3.1220388269176937</c:v>
                </c:pt>
                <c:pt idx="1305">
                  <c:v>3.1747929609389631</c:v>
                </c:pt>
                <c:pt idx="1306">
                  <c:v>3.1588227110017155</c:v>
                </c:pt>
                <c:pt idx="1307">
                  <c:v>3.1805804429416638</c:v>
                </c:pt>
                <c:pt idx="1308">
                  <c:v>3.2982057121320114</c:v>
                </c:pt>
                <c:pt idx="1309">
                  <c:v>3.3461248817307956</c:v>
                </c:pt>
                <c:pt idx="1310">
                  <c:v>3.4675838751260919</c:v>
                </c:pt>
                <c:pt idx="1311">
                  <c:v>3.5267451048357263</c:v>
                </c:pt>
                <c:pt idx="1312">
                  <c:v>3.444969679395455</c:v>
                </c:pt>
                <c:pt idx="1313">
                  <c:v>3.4087446706793774</c:v>
                </c:pt>
                <c:pt idx="1314">
                  <c:v>3.524136806352026</c:v>
                </c:pt>
                <c:pt idx="1315">
                  <c:v>3.5005746654664782</c:v>
                </c:pt>
                <c:pt idx="1316">
                  <c:v>3.4971252561884687</c:v>
                </c:pt>
                <c:pt idx="1317">
                  <c:v>3.6301736762226997</c:v>
                </c:pt>
                <c:pt idx="1318">
                  <c:v>3.6301736762226993</c:v>
                </c:pt>
                <c:pt idx="1319">
                  <c:v>3.6301736762226997</c:v>
                </c:pt>
                <c:pt idx="1320">
                  <c:v>3.5854110522774238</c:v>
                </c:pt>
                <c:pt idx="1321">
                  <c:v>3.5977323637146137</c:v>
                </c:pt>
                <c:pt idx="1322">
                  <c:v>3.6915560685023538</c:v>
                </c:pt>
                <c:pt idx="1323">
                  <c:v>3.5397577681913863</c:v>
                </c:pt>
                <c:pt idx="1324">
                  <c:v>3.512866334641481</c:v>
                </c:pt>
                <c:pt idx="1325">
                  <c:v>3.3972605596781689</c:v>
                </c:pt>
                <c:pt idx="1326">
                  <c:v>3.3218191941495987</c:v>
                </c:pt>
                <c:pt idx="1327">
                  <c:v>3.2914029430219163</c:v>
                </c:pt>
                <c:pt idx="1328">
                  <c:v>3.2914029430219163</c:v>
                </c:pt>
                <c:pt idx="1329">
                  <c:v>3.4188456746578133</c:v>
                </c:pt>
                <c:pt idx="1330">
                  <c:v>3.4011492310620568</c:v>
                </c:pt>
                <c:pt idx="1331">
                  <c:v>3.3577838887692231</c:v>
                </c:pt>
                <c:pt idx="1332">
                  <c:v>3.315064882082067</c:v>
                </c:pt>
                <c:pt idx="1333">
                  <c:v>3.2520550531879868</c:v>
                </c:pt>
                <c:pt idx="1334">
                  <c:v>3.3726417900035224</c:v>
                </c:pt>
                <c:pt idx="1335">
                  <c:v>3.3803012856266523</c:v>
                </c:pt>
                <c:pt idx="1336">
                  <c:v>3.4087446706793774</c:v>
                </c:pt>
                <c:pt idx="1337">
                  <c:v>3.4755302249912297</c:v>
                </c:pt>
                <c:pt idx="1338">
                  <c:v>3.3911649915626341</c:v>
                </c:pt>
                <c:pt idx="1339">
                  <c:v>3.4248919774894016</c:v>
                </c:pt>
                <c:pt idx="1340">
                  <c:v>3.3808113016658092</c:v>
                </c:pt>
                <c:pt idx="1341">
                  <c:v>3.3268327418062404</c:v>
                </c:pt>
                <c:pt idx="1342">
                  <c:v>3.4275757996095377</c:v>
                </c:pt>
                <c:pt idx="1343">
                  <c:v>3.5036926333463554</c:v>
                </c:pt>
                <c:pt idx="1344">
                  <c:v>3.413293821610393</c:v>
                </c:pt>
                <c:pt idx="1345">
                  <c:v>3.3808113016658088</c:v>
                </c:pt>
                <c:pt idx="1346">
                  <c:v>3.3808113016658088</c:v>
                </c:pt>
                <c:pt idx="1347">
                  <c:v>3.2835360810264129</c:v>
                </c:pt>
                <c:pt idx="1348">
                  <c:v>3.2172309075731067</c:v>
                </c:pt>
                <c:pt idx="1349">
                  <c:v>3.2582344841989177</c:v>
                </c:pt>
                <c:pt idx="1350">
                  <c:v>3.3060376672795586</c:v>
                </c:pt>
                <c:pt idx="1351">
                  <c:v>3.2428524409881789</c:v>
                </c:pt>
                <c:pt idx="1352">
                  <c:v>3.1176177170854449</c:v>
                </c:pt>
                <c:pt idx="1353">
                  <c:v>3.1447822138287718</c:v>
                </c:pt>
                <c:pt idx="1354">
                  <c:v>3.2027287216321976</c:v>
                </c:pt>
                <c:pt idx="1355">
                  <c:v>3.2021903423290978</c:v>
                </c:pt>
                <c:pt idx="1356">
                  <c:v>3.2134773659711984</c:v>
                </c:pt>
                <c:pt idx="1357">
                  <c:v>3.1724387805112895</c:v>
                </c:pt>
                <c:pt idx="1358">
                  <c:v>3.158822711001716</c:v>
                </c:pt>
                <c:pt idx="1359">
                  <c:v>3.1015383650512947</c:v>
                </c:pt>
                <c:pt idx="1360">
                  <c:v>3.0642544235774212</c:v>
                </c:pt>
                <c:pt idx="1361">
                  <c:v>3.1442339125058307</c:v>
                </c:pt>
                <c:pt idx="1362">
                  <c:v>3.1849141528335645</c:v>
                </c:pt>
                <c:pt idx="1363">
                  <c:v>3.2093613071762421</c:v>
                </c:pt>
                <c:pt idx="1364">
                  <c:v>3.16318623012253</c:v>
                </c:pt>
                <c:pt idx="1365">
                  <c:v>3.1089414985456565</c:v>
                </c:pt>
                <c:pt idx="1366">
                  <c:v>2.9867523591975971</c:v>
                </c:pt>
                <c:pt idx="1367">
                  <c:v>2.7975769482910011</c:v>
                </c:pt>
                <c:pt idx="1368">
                  <c:v>2.8221211554594796</c:v>
                </c:pt>
                <c:pt idx="1369">
                  <c:v>2.725781549844239</c:v>
                </c:pt>
                <c:pt idx="1370">
                  <c:v>2.6663074470696082</c:v>
                </c:pt>
                <c:pt idx="1371">
                  <c:v>2.558735319797969</c:v>
                </c:pt>
                <c:pt idx="1372">
                  <c:v>2.5730700836107077</c:v>
                </c:pt>
                <c:pt idx="1373">
                  <c:v>2.6087826905353344</c:v>
                </c:pt>
                <c:pt idx="1374">
                  <c:v>2.6611293082829137</c:v>
                </c:pt>
                <c:pt idx="1375">
                  <c:v>2.6226248148639613</c:v>
                </c:pt>
                <c:pt idx="1376">
                  <c:v>2.6228439421413516</c:v>
                </c:pt>
                <c:pt idx="1377">
                  <c:v>2.6208711370918985</c:v>
                </c:pt>
                <c:pt idx="1378">
                  <c:v>2.6740558544360429</c:v>
                </c:pt>
                <c:pt idx="1379">
                  <c:v>2.5461261988930666</c:v>
                </c:pt>
                <c:pt idx="1380">
                  <c:v>2.440322194668791</c:v>
                </c:pt>
                <c:pt idx="1381">
                  <c:v>2.3850588561137092</c:v>
                </c:pt>
                <c:pt idx="1382">
                  <c:v>2.3831303667293544</c:v>
                </c:pt>
                <c:pt idx="1383">
                  <c:v>2.3831303667293544</c:v>
                </c:pt>
                <c:pt idx="1384">
                  <c:v>2.2742941307367102</c:v>
                </c:pt>
                <c:pt idx="1385">
                  <c:v>2.5145553296253245</c:v>
                </c:pt>
                <c:pt idx="1386">
                  <c:v>2.7099221687936983</c:v>
                </c:pt>
                <c:pt idx="1387">
                  <c:v>2.7934652809480327</c:v>
                </c:pt>
                <c:pt idx="1388">
                  <c:v>2.7907894487270872</c:v>
                </c:pt>
                <c:pt idx="1389">
                  <c:v>2.8494806947731823</c:v>
                </c:pt>
                <c:pt idx="1390">
                  <c:v>2.9323796777894642</c:v>
                </c:pt>
                <c:pt idx="1391">
                  <c:v>2.8235463150271589</c:v>
                </c:pt>
                <c:pt idx="1392">
                  <c:v>2.797576948291002</c:v>
                </c:pt>
                <c:pt idx="1393">
                  <c:v>2.8367457476449327</c:v>
                </c:pt>
                <c:pt idx="1394">
                  <c:v>2.8235463150271594</c:v>
                </c:pt>
                <c:pt idx="1395">
                  <c:v>2.8343135559308417</c:v>
                </c:pt>
                <c:pt idx="1396">
                  <c:v>2.8180452995551422</c:v>
                </c:pt>
                <c:pt idx="1397">
                  <c:v>2.8729815503246354</c:v>
                </c:pt>
                <c:pt idx="1398">
                  <c:v>2.9680288749098871</c:v>
                </c:pt>
                <c:pt idx="1399">
                  <c:v>2.9711254108328298</c:v>
                </c:pt>
                <c:pt idx="1400">
                  <c:v>2.8639655812482658</c:v>
                </c:pt>
                <c:pt idx="1401">
                  <c:v>2.9063940608220369</c:v>
                </c:pt>
                <c:pt idx="1402">
                  <c:v>2.9063940608220369</c:v>
                </c:pt>
                <c:pt idx="1403">
                  <c:v>2.8665731072676914</c:v>
                </c:pt>
                <c:pt idx="1404">
                  <c:v>2.9046138485511976</c:v>
                </c:pt>
                <c:pt idx="1405">
                  <c:v>2.954832395036751</c:v>
                </c:pt>
                <c:pt idx="1406">
                  <c:v>2.954832395036751</c:v>
                </c:pt>
                <c:pt idx="1407">
                  <c:v>3.0181443640586267</c:v>
                </c:pt>
                <c:pt idx="1408">
                  <c:v>2.9284572848114951</c:v>
                </c:pt>
                <c:pt idx="1409">
                  <c:v>2.8687776242628602</c:v>
                </c:pt>
                <c:pt idx="1410">
                  <c:v>2.8373534698101452</c:v>
                </c:pt>
                <c:pt idx="1411">
                  <c:v>3.0680032069997778</c:v>
                </c:pt>
                <c:pt idx="1412">
                  <c:v>3.2129407877748268</c:v>
                </c:pt>
                <c:pt idx="1413">
                  <c:v>3.0680032069997778</c:v>
                </c:pt>
                <c:pt idx="1414">
                  <c:v>3.0354230518081455</c:v>
                </c:pt>
                <c:pt idx="1415">
                  <c:v>2.9674479146965291</c:v>
                </c:pt>
                <c:pt idx="1416">
                  <c:v>2.9361010975735176</c:v>
                </c:pt>
                <c:pt idx="1417">
                  <c:v>2.8153928290043635</c:v>
                </c:pt>
                <c:pt idx="1418">
                  <c:v>2.8464537323790653</c:v>
                </c:pt>
                <c:pt idx="1419">
                  <c:v>2.731047544378379</c:v>
                </c:pt>
                <c:pt idx="1420">
                  <c:v>2.721561417959208</c:v>
                </c:pt>
                <c:pt idx="1421">
                  <c:v>2.8759805923921133</c:v>
                </c:pt>
                <c:pt idx="1422">
                  <c:v>2.882567501776645</c:v>
                </c:pt>
                <c:pt idx="1423">
                  <c:v>2.9519134647628604</c:v>
                </c:pt>
                <c:pt idx="1424">
                  <c:v>2.944115502481861</c:v>
                </c:pt>
                <c:pt idx="1425">
                  <c:v>3.1566386895069174</c:v>
                </c:pt>
                <c:pt idx="1426">
                  <c:v>3.3397639120910543</c:v>
                </c:pt>
                <c:pt idx="1427">
                  <c:v>3.3543589757107148</c:v>
                </c:pt>
                <c:pt idx="1428">
                  <c:v>3.3252776221494367</c:v>
                </c:pt>
                <c:pt idx="1429">
                  <c:v>3.3252776221494367</c:v>
                </c:pt>
                <c:pt idx="1430">
                  <c:v>3.3543589757107148</c:v>
                </c:pt>
                <c:pt idx="1431">
                  <c:v>3.328041776926113</c:v>
                </c:pt>
                <c:pt idx="1432">
                  <c:v>3.3589817833220912</c:v>
                </c:pt>
                <c:pt idx="1433">
                  <c:v>3.4215342394493349</c:v>
                </c:pt>
                <c:pt idx="1434">
                  <c:v>3.4132938216103934</c:v>
                </c:pt>
                <c:pt idx="1435">
                  <c:v>3.2941955221162926</c:v>
                </c:pt>
                <c:pt idx="1436">
                  <c:v>3.413293821610393</c:v>
                </c:pt>
                <c:pt idx="1437">
                  <c:v>3.336320500605213</c:v>
                </c:pt>
                <c:pt idx="1438">
                  <c:v>3.2626411978957934</c:v>
                </c:pt>
                <c:pt idx="1439">
                  <c:v>3.1832897030168854</c:v>
                </c:pt>
                <c:pt idx="1440">
                  <c:v>3.0970879908372808</c:v>
                </c:pt>
                <c:pt idx="1441">
                  <c:v>3.0970879908372813</c:v>
                </c:pt>
                <c:pt idx="1442">
                  <c:v>3.0970879908372813</c:v>
                </c:pt>
                <c:pt idx="1443">
                  <c:v>3.1747929609389627</c:v>
                </c:pt>
                <c:pt idx="1444">
                  <c:v>3.1724387805112899</c:v>
                </c:pt>
                <c:pt idx="1445">
                  <c:v>3.2666901242413688</c:v>
                </c:pt>
                <c:pt idx="1446">
                  <c:v>3.2955909242850341</c:v>
                </c:pt>
                <c:pt idx="1447">
                  <c:v>3.2455097185701556</c:v>
                </c:pt>
                <c:pt idx="1448">
                  <c:v>3.2455097185701556</c:v>
                </c:pt>
                <c:pt idx="1449">
                  <c:v>3.1832897030168859</c:v>
                </c:pt>
                <c:pt idx="1450">
                  <c:v>3.3081230571004374</c:v>
                </c:pt>
                <c:pt idx="1451">
                  <c:v>3.3569279880928899</c:v>
                </c:pt>
                <c:pt idx="1452">
                  <c:v>3.4274081222961477</c:v>
                </c:pt>
                <c:pt idx="1453">
                  <c:v>3.3289051045955484</c:v>
                </c:pt>
                <c:pt idx="1454">
                  <c:v>3.3107279471786688</c:v>
                </c:pt>
                <c:pt idx="1455">
                  <c:v>3.1724387805112895</c:v>
                </c:pt>
                <c:pt idx="1456">
                  <c:v>3.0775419359963387</c:v>
                </c:pt>
                <c:pt idx="1457">
                  <c:v>3.0567430642629327</c:v>
                </c:pt>
                <c:pt idx="1458">
                  <c:v>3.0567430642629327</c:v>
                </c:pt>
                <c:pt idx="1459">
                  <c:v>3.0505322693649353</c:v>
                </c:pt>
                <c:pt idx="1460">
                  <c:v>3.022710970171544</c:v>
                </c:pt>
                <c:pt idx="1461">
                  <c:v>3.1111590034627907</c:v>
                </c:pt>
                <c:pt idx="1462">
                  <c:v>3.1484351157616248</c:v>
                </c:pt>
                <c:pt idx="1463">
                  <c:v>3.0625659739551057</c:v>
                </c:pt>
                <c:pt idx="1464">
                  <c:v>3.1506248240006611</c:v>
                </c:pt>
                <c:pt idx="1465">
                  <c:v>3.1731633297454733</c:v>
                </c:pt>
                <c:pt idx="1466">
                  <c:v>3.108941498545656</c:v>
                </c:pt>
                <c:pt idx="1467">
                  <c:v>3.0595619850282296</c:v>
                </c:pt>
                <c:pt idx="1468">
                  <c:v>3.0814610656067969</c:v>
                </c:pt>
                <c:pt idx="1469">
                  <c:v>3.1109742717580016</c:v>
                </c:pt>
                <c:pt idx="1470">
                  <c:v>3.2525851787197801</c:v>
                </c:pt>
                <c:pt idx="1471">
                  <c:v>3.1724387805112881</c:v>
                </c:pt>
                <c:pt idx="1472">
                  <c:v>3.2000359193386365</c:v>
                </c:pt>
                <c:pt idx="1473">
                  <c:v>3.1037611591959413</c:v>
                </c:pt>
                <c:pt idx="1474">
                  <c:v>3.1330643073551787</c:v>
                </c:pt>
                <c:pt idx="1475">
                  <c:v>3.1747929609389631</c:v>
                </c:pt>
                <c:pt idx="1476">
                  <c:v>3.2449784371350248</c:v>
                </c:pt>
                <c:pt idx="1477">
                  <c:v>3.3314937452609219</c:v>
                </c:pt>
                <c:pt idx="1478">
                  <c:v>3.3294229937429645</c:v>
                </c:pt>
                <c:pt idx="1479">
                  <c:v>3.4006422652334303</c:v>
                </c:pt>
                <c:pt idx="1480">
                  <c:v>3.3671844372535871</c:v>
                </c:pt>
                <c:pt idx="1481">
                  <c:v>3.158822711001716</c:v>
                </c:pt>
                <c:pt idx="1482">
                  <c:v>3.2703825921213827</c:v>
                </c:pt>
                <c:pt idx="1483">
                  <c:v>3.308123057100437</c:v>
                </c:pt>
                <c:pt idx="1484">
                  <c:v>3.2605267186083027</c:v>
                </c:pt>
                <c:pt idx="1485">
                  <c:v>3.2624650436318148</c:v>
                </c:pt>
                <c:pt idx="1486">
                  <c:v>3.2227638598804798</c:v>
                </c:pt>
                <c:pt idx="1487">
                  <c:v>3.1876197295521127</c:v>
                </c:pt>
                <c:pt idx="1488">
                  <c:v>3.2877340832705499</c:v>
                </c:pt>
                <c:pt idx="1489">
                  <c:v>3.4674181325226878</c:v>
                </c:pt>
                <c:pt idx="1490">
                  <c:v>3.3808113016658083</c:v>
                </c:pt>
                <c:pt idx="1491">
                  <c:v>3.2179453714743369</c:v>
                </c:pt>
                <c:pt idx="1492">
                  <c:v>3.2476339751858756</c:v>
                </c:pt>
                <c:pt idx="1493">
                  <c:v>3.231312320148708</c:v>
                </c:pt>
                <c:pt idx="1494">
                  <c:v>3.0141429082351703</c:v>
                </c:pt>
                <c:pt idx="1495">
                  <c:v>3.0680032069997769</c:v>
                </c:pt>
                <c:pt idx="1496">
                  <c:v>3.1403931227661994</c:v>
                </c:pt>
                <c:pt idx="1497">
                  <c:v>3.1015383650512947</c:v>
                </c:pt>
                <c:pt idx="1498">
                  <c:v>3.2348675113661072</c:v>
                </c:pt>
                <c:pt idx="1499">
                  <c:v>3.2525851787197801</c:v>
                </c:pt>
                <c:pt idx="1500">
                  <c:v>3.2107935782760699</c:v>
                </c:pt>
                <c:pt idx="1501">
                  <c:v>3.2605267186083018</c:v>
                </c:pt>
                <c:pt idx="1502">
                  <c:v>3.230600812417932</c:v>
                </c:pt>
                <c:pt idx="1503">
                  <c:v>3.3399359894754124</c:v>
                </c:pt>
                <c:pt idx="1504">
                  <c:v>3.5300027677368591</c:v>
                </c:pt>
                <c:pt idx="1505">
                  <c:v>3.4614461133177126</c:v>
                </c:pt>
                <c:pt idx="1506">
                  <c:v>3.3884523304013436</c:v>
                </c:pt>
                <c:pt idx="1507">
                  <c:v>3.3884523304013436</c:v>
                </c:pt>
                <c:pt idx="1508">
                  <c:v>3.343375677296859</c:v>
                </c:pt>
                <c:pt idx="1509">
                  <c:v>3.411441196105065</c:v>
                </c:pt>
                <c:pt idx="1510">
                  <c:v>3.4409635111487993</c:v>
                </c:pt>
                <c:pt idx="1511">
                  <c:v>3.431430116391438</c:v>
                </c:pt>
                <c:pt idx="1512">
                  <c:v>3.431430116391438</c:v>
                </c:pt>
                <c:pt idx="1513">
                  <c:v>3.4748687232294349</c:v>
                </c:pt>
                <c:pt idx="1514">
                  <c:v>3.4907101671815108</c:v>
                </c:pt>
                <c:pt idx="1515">
                  <c:v>3.4907101671815108</c:v>
                </c:pt>
                <c:pt idx="1516">
                  <c:v>3.3487002110443211</c:v>
                </c:pt>
                <c:pt idx="1517">
                  <c:v>3.3392476267332554</c:v>
                </c:pt>
                <c:pt idx="1518">
                  <c:v>3.3129838618631267</c:v>
                </c:pt>
                <c:pt idx="1519">
                  <c:v>3.2343344818107309</c:v>
                </c:pt>
                <c:pt idx="1520">
                  <c:v>3.1856358646381677</c:v>
                </c:pt>
                <c:pt idx="1521">
                  <c:v>3.2879088837110748</c:v>
                </c:pt>
                <c:pt idx="1522">
                  <c:v>3.1220388269176937</c:v>
                </c:pt>
                <c:pt idx="1523">
                  <c:v>3.1220388269176929</c:v>
                </c:pt>
                <c:pt idx="1524">
                  <c:v>3.0642544235774221</c:v>
                </c:pt>
                <c:pt idx="1525">
                  <c:v>3.0642544235774212</c:v>
                </c:pt>
                <c:pt idx="1526">
                  <c:v>3.0249916880288579</c:v>
                </c:pt>
                <c:pt idx="1527">
                  <c:v>3.1369140703974461</c:v>
                </c:pt>
                <c:pt idx="1528">
                  <c:v>3.1148513368337034</c:v>
                </c:pt>
                <c:pt idx="1529">
                  <c:v>3.1805804429416638</c:v>
                </c:pt>
                <c:pt idx="1530">
                  <c:v>3.2091822283430154</c:v>
                </c:pt>
                <c:pt idx="1531">
                  <c:v>3.2091822283430154</c:v>
                </c:pt>
                <c:pt idx="1532">
                  <c:v>3.2091822283430154</c:v>
                </c:pt>
                <c:pt idx="1533">
                  <c:v>3.2455097185701551</c:v>
                </c:pt>
                <c:pt idx="1534">
                  <c:v>3.1330643073551792</c:v>
                </c:pt>
                <c:pt idx="1535">
                  <c:v>3.1639128982300084</c:v>
                </c:pt>
                <c:pt idx="1536">
                  <c:v>3.23433448181073</c:v>
                </c:pt>
                <c:pt idx="1537">
                  <c:v>3.1376468230517749</c:v>
                </c:pt>
                <c:pt idx="1538">
                  <c:v>3.2940210552823852</c:v>
                </c:pt>
                <c:pt idx="1539">
                  <c:v>3.2640500897666609</c:v>
                </c:pt>
                <c:pt idx="1540">
                  <c:v>3.1769645022058182</c:v>
                </c:pt>
                <c:pt idx="1541">
                  <c:v>3.1769645022058182</c:v>
                </c:pt>
                <c:pt idx="1542">
                  <c:v>3.2263284709246283</c:v>
                </c:pt>
                <c:pt idx="1543">
                  <c:v>3.2012928422855929</c:v>
                </c:pt>
                <c:pt idx="1544">
                  <c:v>3.3233759321218685</c:v>
                </c:pt>
                <c:pt idx="1545">
                  <c:v>3.3782604514988064</c:v>
                </c:pt>
                <c:pt idx="1546">
                  <c:v>3.4112727257132929</c:v>
                </c:pt>
                <c:pt idx="1547">
                  <c:v>3.411441196105065</c:v>
                </c:pt>
                <c:pt idx="1548">
                  <c:v>3.5084462946294122</c:v>
                </c:pt>
                <c:pt idx="1549">
                  <c:v>3.4649310420896957</c:v>
                </c:pt>
                <c:pt idx="1550">
                  <c:v>3.5751376470567258</c:v>
                </c:pt>
                <c:pt idx="1551">
                  <c:v>3.524789061920512</c:v>
                </c:pt>
                <c:pt idx="1552">
                  <c:v>3.5300027677368595</c:v>
                </c:pt>
                <c:pt idx="1553">
                  <c:v>3.5727255444676902</c:v>
                </c:pt>
                <c:pt idx="1554">
                  <c:v>3.5727255444676902</c:v>
                </c:pt>
                <c:pt idx="1555">
                  <c:v>3.6665621719697516</c:v>
                </c:pt>
                <c:pt idx="1556">
                  <c:v>3.7268827688047543</c:v>
                </c:pt>
                <c:pt idx="1557">
                  <c:v>3.5669298431209899</c:v>
                </c:pt>
                <c:pt idx="1558">
                  <c:v>3.5862124226305792</c:v>
                </c:pt>
                <c:pt idx="1559">
                  <c:v>3.5084462946294122</c:v>
                </c:pt>
                <c:pt idx="1560">
                  <c:v>3.4634379305612759</c:v>
                </c:pt>
                <c:pt idx="1561">
                  <c:v>3.3945527696218138</c:v>
                </c:pt>
                <c:pt idx="1562">
                  <c:v>3.3564143429230113</c:v>
                </c:pt>
                <c:pt idx="1563">
                  <c:v>3.4148088585204714</c:v>
                </c:pt>
                <c:pt idx="1564">
                  <c:v>3.4775139752811723</c:v>
                </c:pt>
                <c:pt idx="1565">
                  <c:v>3.4775139752811723</c:v>
                </c:pt>
                <c:pt idx="1566">
                  <c:v>3.4775139752811723</c:v>
                </c:pt>
                <c:pt idx="1567">
                  <c:v>3.5010671607908086</c:v>
                </c:pt>
                <c:pt idx="1568">
                  <c:v>3.4289169229317613</c:v>
                </c:pt>
                <c:pt idx="1569">
                  <c:v>3.4641016151377544</c:v>
                </c:pt>
                <c:pt idx="1570">
                  <c:v>3.4634379305612759</c:v>
                </c:pt>
                <c:pt idx="1571">
                  <c:v>3.5233213170882207</c:v>
                </c:pt>
                <c:pt idx="1572">
                  <c:v>3.3392476267332554</c:v>
                </c:pt>
                <c:pt idx="1573">
                  <c:v>3.4476378720149428</c:v>
                </c:pt>
                <c:pt idx="1574">
                  <c:v>3.2626411978957934</c:v>
                </c:pt>
                <c:pt idx="1575">
                  <c:v>3.2215153141868234</c:v>
                </c:pt>
                <c:pt idx="1576">
                  <c:v>3.2048813344359712</c:v>
                </c:pt>
                <c:pt idx="1577">
                  <c:v>3.224190177215136</c:v>
                </c:pt>
                <c:pt idx="1578">
                  <c:v>3.2449784371350243</c:v>
                </c:pt>
                <c:pt idx="1579">
                  <c:v>3.2758257711237673</c:v>
                </c:pt>
                <c:pt idx="1580">
                  <c:v>3.158822711001716</c:v>
                </c:pt>
                <c:pt idx="1581">
                  <c:v>3.0792221737643906</c:v>
                </c:pt>
                <c:pt idx="1582">
                  <c:v>3.2631696036321745</c:v>
                </c:pt>
                <c:pt idx="1583">
                  <c:v>3.215622783390097</c:v>
                </c:pt>
                <c:pt idx="1584">
                  <c:v>3.2243684225190412</c:v>
                </c:pt>
                <c:pt idx="1585">
                  <c:v>3.1249827585731276</c:v>
                </c:pt>
                <c:pt idx="1586">
                  <c:v>3.013570837959894</c:v>
                </c:pt>
                <c:pt idx="1587">
                  <c:v>3.1154048094006623</c:v>
                </c:pt>
                <c:pt idx="1588">
                  <c:v>3.170264139254594</c:v>
                </c:pt>
                <c:pt idx="1589">
                  <c:v>3.170264139254594</c:v>
                </c:pt>
                <c:pt idx="1590">
                  <c:v>3.2136562054607758</c:v>
                </c:pt>
                <c:pt idx="1591">
                  <c:v>3.2322014845584128</c:v>
                </c:pt>
                <c:pt idx="1592">
                  <c:v>3.2547048173798903</c:v>
                </c:pt>
                <c:pt idx="1593">
                  <c:v>3.2107935782760704</c:v>
                </c:pt>
                <c:pt idx="1594">
                  <c:v>3.1796768432635112</c:v>
                </c:pt>
                <c:pt idx="1595">
                  <c:v>3.1796768432635112</c:v>
                </c:pt>
                <c:pt idx="1596">
                  <c:v>3.1015383650512947</c:v>
                </c:pt>
                <c:pt idx="1597">
                  <c:v>3.1015383650512947</c:v>
                </c:pt>
                <c:pt idx="1598">
                  <c:v>3.1139286639449422</c:v>
                </c:pt>
                <c:pt idx="1599">
                  <c:v>3.002106540108282</c:v>
                </c:pt>
                <c:pt idx="1600">
                  <c:v>3.0597498207398006</c:v>
                </c:pt>
                <c:pt idx="1601">
                  <c:v>2.988291327409573</c:v>
                </c:pt>
                <c:pt idx="1602">
                  <c:v>3.0095633012727632</c:v>
                </c:pt>
                <c:pt idx="1603">
                  <c:v>2.9495762407505257</c:v>
                </c:pt>
                <c:pt idx="1604">
                  <c:v>3.0103270529158852</c:v>
                </c:pt>
                <c:pt idx="1605">
                  <c:v>3.0618152530285303</c:v>
                </c:pt>
                <c:pt idx="1606">
                  <c:v>3.0552385763833056</c:v>
                </c:pt>
                <c:pt idx="1607">
                  <c:v>3.0820205344404576</c:v>
                </c:pt>
                <c:pt idx="1608">
                  <c:v>3.0295479728072028</c:v>
                </c:pt>
                <c:pt idx="1609">
                  <c:v>3.1811224795479118</c:v>
                </c:pt>
                <c:pt idx="1610">
                  <c:v>3.1878000196871259</c:v>
                </c:pt>
                <c:pt idx="1611">
                  <c:v>3.2091822283430149</c:v>
                </c:pt>
                <c:pt idx="1612">
                  <c:v>3.106537415297566</c:v>
                </c:pt>
                <c:pt idx="1613">
                  <c:v>3.1065374152975656</c:v>
                </c:pt>
                <c:pt idx="1614">
                  <c:v>3.1529952918367692</c:v>
                </c:pt>
                <c:pt idx="1615">
                  <c:v>3.1767835971291003</c:v>
                </c:pt>
                <c:pt idx="1616">
                  <c:v>3.1747929609389631</c:v>
                </c:pt>
                <c:pt idx="1617">
                  <c:v>3.1747929609389627</c:v>
                </c:pt>
                <c:pt idx="1618">
                  <c:v>3.1506248240006611</c:v>
                </c:pt>
                <c:pt idx="1619">
                  <c:v>3.1484351157616253</c:v>
                </c:pt>
                <c:pt idx="1620">
                  <c:v>3.0680032069997774</c:v>
                </c:pt>
                <c:pt idx="1621">
                  <c:v>3.0680032069997774</c:v>
                </c:pt>
                <c:pt idx="1622">
                  <c:v>3.1347147847306931</c:v>
                </c:pt>
                <c:pt idx="1623">
                  <c:v>3.0842573949268441</c:v>
                </c:pt>
                <c:pt idx="1624">
                  <c:v>3.2279312616418987</c:v>
                </c:pt>
                <c:pt idx="1625">
                  <c:v>3.3176643217366255</c:v>
                </c:pt>
                <c:pt idx="1626">
                  <c:v>3.2976829204273357</c:v>
                </c:pt>
                <c:pt idx="1627">
                  <c:v>3.2976829204273357</c:v>
                </c:pt>
                <c:pt idx="1628">
                  <c:v>3.2976829204273357</c:v>
                </c:pt>
                <c:pt idx="1629">
                  <c:v>3.2976829204273357</c:v>
                </c:pt>
                <c:pt idx="1630">
                  <c:v>3.2940210552823852</c:v>
                </c:pt>
                <c:pt idx="1631">
                  <c:v>3.328041776926113</c:v>
                </c:pt>
                <c:pt idx="1632">
                  <c:v>3.4011492310620564</c:v>
                </c:pt>
                <c:pt idx="1633">
                  <c:v>3.3521309057367379</c:v>
                </c:pt>
                <c:pt idx="1634">
                  <c:v>3.308123057100437</c:v>
                </c:pt>
                <c:pt idx="1635">
                  <c:v>3.3930286880839842</c:v>
                </c:pt>
                <c:pt idx="1636">
                  <c:v>3.3977680300760515</c:v>
                </c:pt>
                <c:pt idx="1637">
                  <c:v>3.4808177134149072</c:v>
                </c:pt>
                <c:pt idx="1638">
                  <c:v>3.3869255037299077</c:v>
                </c:pt>
                <c:pt idx="1639">
                  <c:v>3.2455097185701551</c:v>
                </c:pt>
                <c:pt idx="1640">
                  <c:v>3.2428524409881789</c:v>
                </c:pt>
                <c:pt idx="1641">
                  <c:v>3.2120462915889529</c:v>
                </c:pt>
                <c:pt idx="1642">
                  <c:v>3.2120462915889529</c:v>
                </c:pt>
                <c:pt idx="1643">
                  <c:v>3.2072117012370303</c:v>
                </c:pt>
                <c:pt idx="1644">
                  <c:v>3.2120462915889534</c:v>
                </c:pt>
                <c:pt idx="1645">
                  <c:v>3.1892419738577527</c:v>
                </c:pt>
                <c:pt idx="1646">
                  <c:v>3.1892419738577527</c:v>
                </c:pt>
                <c:pt idx="1647">
                  <c:v>3.1876197295521127</c:v>
                </c:pt>
                <c:pt idx="1648">
                  <c:v>3.1529952918367687</c:v>
                </c:pt>
                <c:pt idx="1649">
                  <c:v>3.1529952918367687</c:v>
                </c:pt>
                <c:pt idx="1650">
                  <c:v>3.2666901242413684</c:v>
                </c:pt>
                <c:pt idx="1651">
                  <c:v>3.2666901242413684</c:v>
                </c:pt>
                <c:pt idx="1652">
                  <c:v>3.2236553821692087</c:v>
                </c:pt>
                <c:pt idx="1653">
                  <c:v>3.2877340832705504</c:v>
                </c:pt>
                <c:pt idx="1654">
                  <c:v>3.2134773659711993</c:v>
                </c:pt>
                <c:pt idx="1655">
                  <c:v>3.1015383650512942</c:v>
                </c:pt>
                <c:pt idx="1656">
                  <c:v>3.1775071556391392</c:v>
                </c:pt>
                <c:pt idx="1657">
                  <c:v>3.1914036835324309</c:v>
                </c:pt>
                <c:pt idx="1658">
                  <c:v>3.2456867930563926</c:v>
                </c:pt>
                <c:pt idx="1659">
                  <c:v>3.3459531226319617</c:v>
                </c:pt>
                <c:pt idx="1660">
                  <c:v>3.2767028564084661</c:v>
                </c:pt>
                <c:pt idx="1661">
                  <c:v>3.3051683665184868</c:v>
                </c:pt>
                <c:pt idx="1662">
                  <c:v>3.2179453714743365</c:v>
                </c:pt>
                <c:pt idx="1663">
                  <c:v>3.1579128856102807</c:v>
                </c:pt>
                <c:pt idx="1664">
                  <c:v>3.3086441991821367</c:v>
                </c:pt>
                <c:pt idx="1665">
                  <c:v>3.1529952918367687</c:v>
                </c:pt>
                <c:pt idx="1666">
                  <c:v>3.2107935782760704</c:v>
                </c:pt>
                <c:pt idx="1667">
                  <c:v>3.1154048094006623</c:v>
                </c:pt>
                <c:pt idx="1668">
                  <c:v>3.2091822283430154</c:v>
                </c:pt>
                <c:pt idx="1669">
                  <c:v>3.3086441991821367</c:v>
                </c:pt>
                <c:pt idx="1670">
                  <c:v>3.3295956055580871</c:v>
                </c:pt>
                <c:pt idx="1671">
                  <c:v>3.3930286880839842</c:v>
                </c:pt>
                <c:pt idx="1672">
                  <c:v>3.3254504491354506</c:v>
                </c:pt>
                <c:pt idx="1673">
                  <c:v>3.3107279471786697</c:v>
                </c:pt>
                <c:pt idx="1674">
                  <c:v>3.2940210552823852</c:v>
                </c:pt>
                <c:pt idx="1675">
                  <c:v>3.3705963181950289</c:v>
                </c:pt>
                <c:pt idx="1676">
                  <c:v>3.3930286880839837</c:v>
                </c:pt>
                <c:pt idx="1677">
                  <c:v>3.4476378720149428</c:v>
                </c:pt>
                <c:pt idx="1678">
                  <c:v>3.4409635111487993</c:v>
                </c:pt>
                <c:pt idx="1679">
                  <c:v>3.4409635111487993</c:v>
                </c:pt>
                <c:pt idx="1680">
                  <c:v>3.5005746654664778</c:v>
                </c:pt>
                <c:pt idx="1681">
                  <c:v>3.5291886339204233</c:v>
                </c:pt>
                <c:pt idx="1682">
                  <c:v>3.4708970651377156</c:v>
                </c:pt>
                <c:pt idx="1683">
                  <c:v>3.3972605596781689</c:v>
                </c:pt>
                <c:pt idx="1684">
                  <c:v>3.268800616627507</c:v>
                </c:pt>
                <c:pt idx="1685">
                  <c:v>3.3461248817307956</c:v>
                </c:pt>
                <c:pt idx="1686">
                  <c:v>3.4087446706793778</c:v>
                </c:pt>
                <c:pt idx="1687">
                  <c:v>3.3603502827813205</c:v>
                </c:pt>
                <c:pt idx="1688">
                  <c:v>3.3025590913296523</c:v>
                </c:pt>
                <c:pt idx="1689">
                  <c:v>3.2136562054607758</c:v>
                </c:pt>
                <c:pt idx="1690">
                  <c:v>3.2745974570543974</c:v>
                </c:pt>
                <c:pt idx="1691">
                  <c:v>3.2136562054607758</c:v>
                </c:pt>
                <c:pt idx="1692">
                  <c:v>3.2136562054607758</c:v>
                </c:pt>
                <c:pt idx="1693">
                  <c:v>3.2758257711237668</c:v>
                </c:pt>
                <c:pt idx="1694">
                  <c:v>3.1082019786735042</c:v>
                </c:pt>
                <c:pt idx="1695">
                  <c:v>3.1264536848765503</c:v>
                </c:pt>
                <c:pt idx="1696">
                  <c:v>3.231312320148708</c:v>
                </c:pt>
                <c:pt idx="1697">
                  <c:v>3.3150648820820674</c:v>
                </c:pt>
                <c:pt idx="1698">
                  <c:v>3.1878000196871263</c:v>
                </c:pt>
                <c:pt idx="1699">
                  <c:v>3.1222229039690559</c:v>
                </c:pt>
                <c:pt idx="1700">
                  <c:v>3.0954174509106678</c:v>
                </c:pt>
                <c:pt idx="1701">
                  <c:v>3.0567430642629314</c:v>
                </c:pt>
                <c:pt idx="1702">
                  <c:v>3.1374636509319971</c:v>
                </c:pt>
                <c:pt idx="1703">
                  <c:v>3.2072117012370303</c:v>
                </c:pt>
                <c:pt idx="1704">
                  <c:v>3.169720245823219</c:v>
                </c:pt>
                <c:pt idx="1705">
                  <c:v>3.1043166090454428</c:v>
                </c:pt>
                <c:pt idx="1706">
                  <c:v>3.1593684804723701</c:v>
                </c:pt>
                <c:pt idx="1707">
                  <c:v>2.9087659823763552</c:v>
                </c:pt>
                <c:pt idx="1708">
                  <c:v>2.9182343898362557</c:v>
                </c:pt>
                <c:pt idx="1709">
                  <c:v>2.9182343898362562</c:v>
                </c:pt>
                <c:pt idx="1710">
                  <c:v>2.6087826905353344</c:v>
                </c:pt>
                <c:pt idx="1711">
                  <c:v>2.4315928273789829</c:v>
                </c:pt>
                <c:pt idx="1712">
                  <c:v>2.3442274417919808</c:v>
                </c:pt>
                <c:pt idx="1713">
                  <c:v>2.3331691239426995</c:v>
                </c:pt>
                <c:pt idx="1714">
                  <c:v>2.2803508501982757</c:v>
                </c:pt>
                <c:pt idx="1715">
                  <c:v>2.2732831086237426</c:v>
                </c:pt>
                <c:pt idx="1716">
                  <c:v>2.2334963055994597</c:v>
                </c:pt>
                <c:pt idx="1717">
                  <c:v>2.2334963055994597</c:v>
                </c:pt>
                <c:pt idx="1718">
                  <c:v>2.2334963055994597</c:v>
                </c:pt>
                <c:pt idx="1719">
                  <c:v>2.1613107985239175</c:v>
                </c:pt>
                <c:pt idx="1720">
                  <c:v>2.1559860533104027</c:v>
                </c:pt>
                <c:pt idx="1721">
                  <c:v>2.0902070512849638</c:v>
                </c:pt>
                <c:pt idx="1722">
                  <c:v>2.0833218390487516</c:v>
                </c:pt>
                <c:pt idx="1723">
                  <c:v>2.0833218390487516</c:v>
                </c:pt>
                <c:pt idx="1724">
                  <c:v>2.1088211011799016</c:v>
                </c:pt>
                <c:pt idx="1725">
                  <c:v>2.1161665623339365</c:v>
                </c:pt>
                <c:pt idx="1726">
                  <c:v>1.4994251772159104</c:v>
                </c:pt>
                <c:pt idx="1727">
                  <c:v>1.4994251772159104</c:v>
                </c:pt>
                <c:pt idx="1728">
                  <c:v>1.4781939897267773</c:v>
                </c:pt>
                <c:pt idx="1729">
                  <c:v>1.2205143065174584</c:v>
                </c:pt>
                <c:pt idx="1730">
                  <c:v>1.2205143065174584</c:v>
                </c:pt>
                <c:pt idx="1731">
                  <c:v>1.2228664272317622</c:v>
                </c:pt>
                <c:pt idx="1732">
                  <c:v>1.1962585350828727</c:v>
                </c:pt>
                <c:pt idx="1733">
                  <c:v>1.1651056880677462</c:v>
                </c:pt>
                <c:pt idx="1734">
                  <c:v>1.1290317283753197</c:v>
                </c:pt>
                <c:pt idx="1735">
                  <c:v>1.1017227888394956</c:v>
                </c:pt>
                <c:pt idx="1736">
                  <c:v>1.0613372610104652</c:v>
                </c:pt>
                <c:pt idx="1737">
                  <c:v>1.0613372610104652</c:v>
                </c:pt>
                <c:pt idx="1738">
                  <c:v>1.0148325268098501</c:v>
                </c:pt>
                <c:pt idx="1739">
                  <c:v>1.0553639672872466</c:v>
                </c:pt>
                <c:pt idx="1740">
                  <c:v>1.0806553992619587</c:v>
                </c:pt>
                <c:pt idx="1741">
                  <c:v>1.0806553992619587</c:v>
                </c:pt>
                <c:pt idx="1742">
                  <c:v>1.0806553992619587</c:v>
                </c:pt>
                <c:pt idx="1743">
                  <c:v>1.0305673027596218</c:v>
                </c:pt>
                <c:pt idx="1744">
                  <c:v>1.6609095970747993</c:v>
                </c:pt>
                <c:pt idx="1745">
                  <c:v>1.984132457573184</c:v>
                </c:pt>
                <c:pt idx="1746">
                  <c:v>2.2511810437976822</c:v>
                </c:pt>
                <c:pt idx="1747">
                  <c:v>2.3449628088122512</c:v>
                </c:pt>
                <c:pt idx="1748">
                  <c:v>2.630501896955229</c:v>
                </c:pt>
                <c:pt idx="1749">
                  <c:v>2.7534722071236346</c:v>
                </c:pt>
                <c:pt idx="1750">
                  <c:v>2.9680288749098871</c:v>
                </c:pt>
                <c:pt idx="1751">
                  <c:v>3.1456958369891028</c:v>
                </c:pt>
                <c:pt idx="1752">
                  <c:v>3.1659103755076718</c:v>
                </c:pt>
                <c:pt idx="1753">
                  <c:v>3.2968114166936173</c:v>
                </c:pt>
                <c:pt idx="1754">
                  <c:v>3.2412570287523916</c:v>
                </c:pt>
                <c:pt idx="1755">
                  <c:v>3.2021903423290983</c:v>
                </c:pt>
                <c:pt idx="1756">
                  <c:v>3.1222229039690559</c:v>
                </c:pt>
                <c:pt idx="1757">
                  <c:v>3.1192763676005475</c:v>
                </c:pt>
                <c:pt idx="1758">
                  <c:v>3.2661622880613304</c:v>
                </c:pt>
                <c:pt idx="1759">
                  <c:v>3.3072543044771687</c:v>
                </c:pt>
                <c:pt idx="1760">
                  <c:v>3.2877340832705504</c:v>
                </c:pt>
                <c:pt idx="1761">
                  <c:v>3.3107279471786697</c:v>
                </c:pt>
                <c:pt idx="1762">
                  <c:v>3.2737198076974061</c:v>
                </c:pt>
                <c:pt idx="1763">
                  <c:v>3.2737198076974061</c:v>
                </c:pt>
                <c:pt idx="1764">
                  <c:v>3.236998751859542</c:v>
                </c:pt>
                <c:pt idx="1765">
                  <c:v>3.236998751859542</c:v>
                </c:pt>
                <c:pt idx="1766">
                  <c:v>3.2348675113661076</c:v>
                </c:pt>
                <c:pt idx="1767">
                  <c:v>3.262641197895793</c:v>
                </c:pt>
                <c:pt idx="1768">
                  <c:v>3.2499336863261141</c:v>
                </c:pt>
                <c:pt idx="1769">
                  <c:v>3.2499336863261137</c:v>
                </c:pt>
                <c:pt idx="1770">
                  <c:v>3.2879088837110748</c:v>
                </c:pt>
                <c:pt idx="1771">
                  <c:v>3.3397639120910543</c:v>
                </c:pt>
                <c:pt idx="1772">
                  <c:v>3.3397639120910543</c:v>
                </c:pt>
                <c:pt idx="1773">
                  <c:v>3.2758257711237664</c:v>
                </c:pt>
                <c:pt idx="1774">
                  <c:v>3.2758257711237664</c:v>
                </c:pt>
                <c:pt idx="1775">
                  <c:v>3.2758257711237664</c:v>
                </c:pt>
                <c:pt idx="1776">
                  <c:v>3.2455097185701551</c:v>
                </c:pt>
                <c:pt idx="1777">
                  <c:v>3.3072543044771692</c:v>
                </c:pt>
                <c:pt idx="1778">
                  <c:v>3.2518783254725503</c:v>
                </c:pt>
                <c:pt idx="1779">
                  <c:v>3.3521309057367374</c:v>
                </c:pt>
                <c:pt idx="1780">
                  <c:v>3.2731931051265946</c:v>
                </c:pt>
                <c:pt idx="1781">
                  <c:v>3.2534685293182672</c:v>
                </c:pt>
                <c:pt idx="1782">
                  <c:v>3.2199093297721939</c:v>
                </c:pt>
                <c:pt idx="1783">
                  <c:v>3.2199093297721944</c:v>
                </c:pt>
                <c:pt idx="1784">
                  <c:v>3.2534685293182672</c:v>
                </c:pt>
                <c:pt idx="1785">
                  <c:v>3.3945527696218138</c:v>
                </c:pt>
                <c:pt idx="1786">
                  <c:v>3.4132938216103925</c:v>
                </c:pt>
                <c:pt idx="1787">
                  <c:v>3.3870951851259581</c:v>
                </c:pt>
                <c:pt idx="1788">
                  <c:v>3.2851109605291122</c:v>
                </c:pt>
                <c:pt idx="1789">
                  <c:v>3.1666364184883227</c:v>
                </c:pt>
                <c:pt idx="1790">
                  <c:v>3.1849141528335645</c:v>
                </c:pt>
                <c:pt idx="1791">
                  <c:v>3.1849141528335645</c:v>
                </c:pt>
                <c:pt idx="1792">
                  <c:v>3.3025590913296519</c:v>
                </c:pt>
                <c:pt idx="1793">
                  <c:v>3.3521309057367379</c:v>
                </c:pt>
                <c:pt idx="1794">
                  <c:v>3.3876041783191724</c:v>
                </c:pt>
                <c:pt idx="1795">
                  <c:v>3.4733798836424379</c:v>
                </c:pt>
                <c:pt idx="1796">
                  <c:v>3.5467323475034851</c:v>
                </c:pt>
                <c:pt idx="1797">
                  <c:v>3.5071355833500362</c:v>
                </c:pt>
                <c:pt idx="1798">
                  <c:v>3.4733798836424383</c:v>
                </c:pt>
                <c:pt idx="1799">
                  <c:v>3.360350282781321</c:v>
                </c:pt>
                <c:pt idx="1800">
                  <c:v>3.322684138623091</c:v>
                </c:pt>
                <c:pt idx="1801">
                  <c:v>3.322684138623091</c:v>
                </c:pt>
                <c:pt idx="1802">
                  <c:v>3.4233814029238778</c:v>
                </c:pt>
                <c:pt idx="1803">
                  <c:v>3.5499716689819811</c:v>
                </c:pt>
                <c:pt idx="1804">
                  <c:v>3.4879101538570785</c:v>
                </c:pt>
                <c:pt idx="1805">
                  <c:v>3.460947979895137</c:v>
                </c:pt>
                <c:pt idx="1806">
                  <c:v>3.4887339204668639</c:v>
                </c:pt>
                <c:pt idx="1807">
                  <c:v>3.5591875606595984</c:v>
                </c:pt>
                <c:pt idx="1808">
                  <c:v>3.5306539396235523</c:v>
                </c:pt>
                <c:pt idx="1809">
                  <c:v>3.5306539396235523</c:v>
                </c:pt>
                <c:pt idx="1810">
                  <c:v>3.5873340403761373</c:v>
                </c:pt>
                <c:pt idx="1811">
                  <c:v>3.5583801041368872</c:v>
                </c:pt>
                <c:pt idx="1812">
                  <c:v>3.6552591618419998</c:v>
                </c:pt>
                <c:pt idx="1813">
                  <c:v>3.5785118592002441</c:v>
                </c:pt>
                <c:pt idx="1814">
                  <c:v>3.5128663346414806</c:v>
                </c:pt>
                <c:pt idx="1815">
                  <c:v>3.4489711942622217</c:v>
                </c:pt>
                <c:pt idx="1816">
                  <c:v>3.4300899756973302</c:v>
                </c:pt>
                <c:pt idx="1817">
                  <c:v>3.4300899756973302</c:v>
                </c:pt>
                <c:pt idx="1818">
                  <c:v>3.4847780648011919</c:v>
                </c:pt>
                <c:pt idx="1819">
                  <c:v>3.6103300068858926</c:v>
                </c:pt>
                <c:pt idx="1820">
                  <c:v>3.7078667535483212</c:v>
                </c:pt>
                <c:pt idx="1821">
                  <c:v>3.6671890954883914</c:v>
                </c:pt>
                <c:pt idx="1822">
                  <c:v>3.6117623933762442</c:v>
                </c:pt>
                <c:pt idx="1823">
                  <c:v>3.5905367318812522</c:v>
                </c:pt>
                <c:pt idx="1824">
                  <c:v>3.5499716689819811</c:v>
                </c:pt>
                <c:pt idx="1825">
                  <c:v>3.4733798836424374</c:v>
                </c:pt>
                <c:pt idx="1826">
                  <c:v>3.4087446706793778</c:v>
                </c:pt>
                <c:pt idx="1827">
                  <c:v>3.4087446706793778</c:v>
                </c:pt>
                <c:pt idx="1828">
                  <c:v>3.4087446706793778</c:v>
                </c:pt>
                <c:pt idx="1829">
                  <c:v>3.4315975971791213</c:v>
                </c:pt>
                <c:pt idx="1830">
                  <c:v>3.5397577681913868</c:v>
                </c:pt>
                <c:pt idx="1831">
                  <c:v>3.4087446706793783</c:v>
                </c:pt>
                <c:pt idx="1832">
                  <c:v>3.4087446706793778</c:v>
                </c:pt>
                <c:pt idx="1833">
                  <c:v>3.3665016461206925</c:v>
                </c:pt>
                <c:pt idx="1834">
                  <c:v>3.4046958781936021</c:v>
                </c:pt>
                <c:pt idx="1835">
                  <c:v>3.4087446706793778</c:v>
                </c:pt>
                <c:pt idx="1836">
                  <c:v>3.3639399450678349</c:v>
                </c:pt>
                <c:pt idx="1837">
                  <c:v>3.2334459039534136</c:v>
                </c:pt>
                <c:pt idx="1838">
                  <c:v>3.298205712132011</c:v>
                </c:pt>
                <c:pt idx="1839">
                  <c:v>3.1286587776755774</c:v>
                </c:pt>
                <c:pt idx="1840">
                  <c:v>3.0227109701715449</c:v>
                </c:pt>
                <c:pt idx="1841">
                  <c:v>3.0164301043970241</c:v>
                </c:pt>
                <c:pt idx="1842">
                  <c:v>2.9980836791401329</c:v>
                </c:pt>
                <c:pt idx="1843">
                  <c:v>3.0708117912811366</c:v>
                </c:pt>
                <c:pt idx="1844">
                  <c:v>3.0814610656067964</c:v>
                </c:pt>
                <c:pt idx="1845">
                  <c:v>2.9998084230018165</c:v>
                </c:pt>
                <c:pt idx="1846">
                  <c:v>3.169720245823219</c:v>
                </c:pt>
                <c:pt idx="1847">
                  <c:v>3.169720245823219</c:v>
                </c:pt>
                <c:pt idx="1848">
                  <c:v>3.1126364624103529</c:v>
                </c:pt>
                <c:pt idx="1849">
                  <c:v>3.0842573949268433</c:v>
                </c:pt>
                <c:pt idx="1850">
                  <c:v>2.9604674995837996</c:v>
                </c:pt>
                <c:pt idx="1851">
                  <c:v>3.0416646984720455</c:v>
                </c:pt>
                <c:pt idx="1852">
                  <c:v>3.0954174509106687</c:v>
                </c:pt>
                <c:pt idx="1853">
                  <c:v>3.0595619850282301</c:v>
                </c:pt>
                <c:pt idx="1854">
                  <c:v>3.1456958369891028</c:v>
                </c:pt>
                <c:pt idx="1855">
                  <c:v>3.2307787040406772</c:v>
                </c:pt>
                <c:pt idx="1856">
                  <c:v>3.1456958369891028</c:v>
                </c:pt>
                <c:pt idx="1857">
                  <c:v>3.2279312616418978</c:v>
                </c:pt>
                <c:pt idx="1858">
                  <c:v>3.2279312616418983</c:v>
                </c:pt>
                <c:pt idx="1859">
                  <c:v>3.28720962617792</c:v>
                </c:pt>
                <c:pt idx="1860">
                  <c:v>3.1724387805112895</c:v>
                </c:pt>
                <c:pt idx="1861">
                  <c:v>3.2091822283430158</c:v>
                </c:pt>
                <c:pt idx="1862">
                  <c:v>3.2091822283430158</c:v>
                </c:pt>
                <c:pt idx="1863">
                  <c:v>3.2605267186083022</c:v>
                </c:pt>
                <c:pt idx="1864">
                  <c:v>3.3577838887692222</c:v>
                </c:pt>
                <c:pt idx="1865">
                  <c:v>3.4148088585204714</c:v>
                </c:pt>
                <c:pt idx="1866">
                  <c:v>3.4334393466502995</c:v>
                </c:pt>
                <c:pt idx="1867">
                  <c:v>3.433439346650299</c:v>
                </c:pt>
                <c:pt idx="1868">
                  <c:v>3.3850584470072556</c:v>
                </c:pt>
                <c:pt idx="1869">
                  <c:v>3.4814780848329945</c:v>
                </c:pt>
                <c:pt idx="1870">
                  <c:v>3.4814780848329945</c:v>
                </c:pt>
                <c:pt idx="1871">
                  <c:v>3.4986039908880047</c:v>
                </c:pt>
                <c:pt idx="1872">
                  <c:v>3.4708970651377156</c:v>
                </c:pt>
                <c:pt idx="1873">
                  <c:v>3.4986039908880047</c:v>
                </c:pt>
                <c:pt idx="1874">
                  <c:v>3.6096932082202313</c:v>
                </c:pt>
                <c:pt idx="1875">
                  <c:v>3.6308068828691034</c:v>
                </c:pt>
                <c:pt idx="1876">
                  <c:v>3.5267451048357263</c:v>
                </c:pt>
                <c:pt idx="1877">
                  <c:v>3.5045126901471333</c:v>
                </c:pt>
                <c:pt idx="1878">
                  <c:v>3.5045126901471333</c:v>
                </c:pt>
                <c:pt idx="1879">
                  <c:v>3.4733798836424374</c:v>
                </c:pt>
                <c:pt idx="1880">
                  <c:v>3.5330947653140661</c:v>
                </c:pt>
                <c:pt idx="1881">
                  <c:v>3.4576252564141621</c:v>
                </c:pt>
                <c:pt idx="1882">
                  <c:v>3.3500729105121163</c:v>
                </c:pt>
                <c:pt idx="1883">
                  <c:v>3.3828505968959881</c:v>
                </c:pt>
                <c:pt idx="1884">
                  <c:v>3.3828505968959881</c:v>
                </c:pt>
                <c:pt idx="1885">
                  <c:v>3.244092774726778</c:v>
                </c:pt>
                <c:pt idx="1886">
                  <c:v>3.2449784371350248</c:v>
                </c:pt>
                <c:pt idx="1887">
                  <c:v>3.1747929609389627</c:v>
                </c:pt>
                <c:pt idx="1888">
                  <c:v>3.1747929609389627</c:v>
                </c:pt>
                <c:pt idx="1889">
                  <c:v>3.1747929609389631</c:v>
                </c:pt>
                <c:pt idx="1890">
                  <c:v>3.2120462915889538</c:v>
                </c:pt>
                <c:pt idx="1891">
                  <c:v>3.2120462915889534</c:v>
                </c:pt>
                <c:pt idx="1892">
                  <c:v>3.1675437381878937</c:v>
                </c:pt>
                <c:pt idx="1893">
                  <c:v>3.1089414985456565</c:v>
                </c:pt>
                <c:pt idx="1894">
                  <c:v>2.9235468932072228</c:v>
                </c:pt>
                <c:pt idx="1895">
                  <c:v>2.8211027435481979</c:v>
                </c:pt>
                <c:pt idx="1896">
                  <c:v>2.8211027435481979</c:v>
                </c:pt>
                <c:pt idx="1897">
                  <c:v>2.8367457476449323</c:v>
                </c:pt>
                <c:pt idx="1898">
                  <c:v>2.8639655812482663</c:v>
                </c:pt>
                <c:pt idx="1899">
                  <c:v>2.7802670838376775</c:v>
                </c:pt>
                <c:pt idx="1900">
                  <c:v>2.6695386832951482</c:v>
                </c:pt>
                <c:pt idx="1901">
                  <c:v>2.6971675223608491</c:v>
                </c:pt>
                <c:pt idx="1902">
                  <c:v>2.7761297793374391</c:v>
                </c:pt>
                <c:pt idx="1903">
                  <c:v>2.6772777390390465</c:v>
                </c:pt>
                <c:pt idx="1904">
                  <c:v>2.4202213254923222</c:v>
                </c:pt>
                <c:pt idx="1905">
                  <c:v>2.4202213254923222</c:v>
                </c:pt>
                <c:pt idx="1906">
                  <c:v>2.3734644158557194</c:v>
                </c:pt>
                <c:pt idx="1907">
                  <c:v>2.3867450060988777</c:v>
                </c:pt>
                <c:pt idx="1908">
                  <c:v>2.2396633572979194</c:v>
                </c:pt>
                <c:pt idx="1909">
                  <c:v>1.9945327571990961</c:v>
                </c:pt>
                <c:pt idx="1910">
                  <c:v>1.9815238534040394</c:v>
                </c:pt>
                <c:pt idx="1911">
                  <c:v>1.9596504497122615</c:v>
                </c:pt>
                <c:pt idx="1912">
                  <c:v>1.99539700195282</c:v>
                </c:pt>
                <c:pt idx="1913">
                  <c:v>2.0014362658942644</c:v>
                </c:pt>
                <c:pt idx="1914">
                  <c:v>1.542128697463421</c:v>
                </c:pt>
                <c:pt idx="1915">
                  <c:v>1.3493293353264109</c:v>
                </c:pt>
                <c:pt idx="1916">
                  <c:v>1.2847469449832045</c:v>
                </c:pt>
                <c:pt idx="1917">
                  <c:v>1.1651056880677462</c:v>
                </c:pt>
                <c:pt idx="1918">
                  <c:v>1.1371470653683551</c:v>
                </c:pt>
                <c:pt idx="1919">
                  <c:v>1.1058881072455413</c:v>
                </c:pt>
                <c:pt idx="1920">
                  <c:v>1.1058881072455413</c:v>
                </c:pt>
                <c:pt idx="1921">
                  <c:v>1.106407669457548</c:v>
                </c:pt>
                <c:pt idx="1922">
                  <c:v>1.1351236704106018</c:v>
                </c:pt>
                <c:pt idx="1923">
                  <c:v>1.1244411127720095</c:v>
                </c:pt>
                <c:pt idx="1924">
                  <c:v>1.0980651740387641</c:v>
                </c:pt>
                <c:pt idx="1925">
                  <c:v>1.0933445471810685</c:v>
                </c:pt>
                <c:pt idx="1926">
                  <c:v>1.0661996103898193</c:v>
                </c:pt>
                <c:pt idx="1927">
                  <c:v>1.0661996103898193</c:v>
                </c:pt>
                <c:pt idx="1928">
                  <c:v>1.1017227888394958</c:v>
                </c:pt>
                <c:pt idx="1929">
                  <c:v>1.106407669457548</c:v>
                </c:pt>
                <c:pt idx="1930">
                  <c:v>1.0726484571581121</c:v>
                </c:pt>
                <c:pt idx="1931">
                  <c:v>1.0726484571581121</c:v>
                </c:pt>
                <c:pt idx="1932">
                  <c:v>1.5789564428051404</c:v>
                </c:pt>
                <c:pt idx="1933">
                  <c:v>2.0591818484673641</c:v>
                </c:pt>
                <c:pt idx="1934">
                  <c:v>2.0569478561107526</c:v>
                </c:pt>
                <c:pt idx="1935">
                  <c:v>2.0924055341974772</c:v>
                </c:pt>
                <c:pt idx="1936">
                  <c:v>2.0924055341974772</c:v>
                </c:pt>
                <c:pt idx="1937">
                  <c:v>2.0569478561107526</c:v>
                </c:pt>
                <c:pt idx="1938">
                  <c:v>2.1719211264017728</c:v>
                </c:pt>
                <c:pt idx="1939">
                  <c:v>2.2180036586726044</c:v>
                </c:pt>
                <c:pt idx="1940">
                  <c:v>2.5282314021838475</c:v>
                </c:pt>
                <c:pt idx="1941">
                  <c:v>2.8695788469077979</c:v>
                </c:pt>
                <c:pt idx="1942">
                  <c:v>2.9182343898362562</c:v>
                </c:pt>
                <c:pt idx="1943">
                  <c:v>3.0066975047479372</c:v>
                </c:pt>
                <c:pt idx="1944">
                  <c:v>3.0066975047479372</c:v>
                </c:pt>
                <c:pt idx="1945">
                  <c:v>2.9873295651860179</c:v>
                </c:pt>
                <c:pt idx="1946">
                  <c:v>3.0066975047479372</c:v>
                </c:pt>
                <c:pt idx="1947">
                  <c:v>3.0240415979623854</c:v>
                </c:pt>
                <c:pt idx="1948">
                  <c:v>2.9913668885760178</c:v>
                </c:pt>
                <c:pt idx="1949">
                  <c:v>3.0255615988615641</c:v>
                </c:pt>
                <c:pt idx="1950">
                  <c:v>3.080528391755835</c:v>
                </c:pt>
                <c:pt idx="1951">
                  <c:v>3.0595619850282301</c:v>
                </c:pt>
                <c:pt idx="1952">
                  <c:v>3.0589984086899777</c:v>
                </c:pt>
                <c:pt idx="1953">
                  <c:v>3.1615506162088529</c:v>
                </c:pt>
                <c:pt idx="1954">
                  <c:v>3.1522661069769162</c:v>
                </c:pt>
                <c:pt idx="1955">
                  <c:v>3.1522661069769158</c:v>
                </c:pt>
                <c:pt idx="1956">
                  <c:v>3.1332477366640425</c:v>
                </c:pt>
                <c:pt idx="1957">
                  <c:v>3.117617717085444</c:v>
                </c:pt>
                <c:pt idx="1958">
                  <c:v>3.048270661045128</c:v>
                </c:pt>
                <c:pt idx="1959">
                  <c:v>2.9470421563432669</c:v>
                </c:pt>
                <c:pt idx="1960">
                  <c:v>2.8839627909025367</c:v>
                </c:pt>
                <c:pt idx="1961">
                  <c:v>2.8251741885063111</c:v>
                </c:pt>
                <c:pt idx="1962">
                  <c:v>2.8123291774432895</c:v>
                </c:pt>
                <c:pt idx="1963">
                  <c:v>2.7659672291340831</c:v>
                </c:pt>
                <c:pt idx="1964">
                  <c:v>2.7659672291340827</c:v>
                </c:pt>
                <c:pt idx="1965">
                  <c:v>2.8123291774432895</c:v>
                </c:pt>
                <c:pt idx="1966">
                  <c:v>2.745947902830181</c:v>
                </c:pt>
                <c:pt idx="1967">
                  <c:v>2.8276142415206817</c:v>
                </c:pt>
                <c:pt idx="1968">
                  <c:v>2.8545184991639077</c:v>
                </c:pt>
                <c:pt idx="1969">
                  <c:v>2.851899951494326</c:v>
                </c:pt>
                <c:pt idx="1970">
                  <c:v>2.7352530404703499</c:v>
                </c:pt>
                <c:pt idx="1971">
                  <c:v>2.5236809460075138</c:v>
                </c:pt>
                <c:pt idx="1972">
                  <c:v>2.5506366119925397</c:v>
                </c:pt>
                <c:pt idx="1973">
                  <c:v>2.6643668243529541</c:v>
                </c:pt>
                <c:pt idx="1974">
                  <c:v>2.7478309104898866</c:v>
                </c:pt>
                <c:pt idx="1975">
                  <c:v>2.7742659793426316</c:v>
                </c:pt>
                <c:pt idx="1976">
                  <c:v>2.7478309104898866</c:v>
                </c:pt>
                <c:pt idx="1977">
                  <c:v>2.7957274463049844</c:v>
                </c:pt>
                <c:pt idx="1978">
                  <c:v>2.8057822069974443</c:v>
                </c:pt>
                <c:pt idx="1979">
                  <c:v>2.8767798089123051</c:v>
                </c:pt>
                <c:pt idx="1980">
                  <c:v>2.8767798089123051</c:v>
                </c:pt>
                <c:pt idx="1981">
                  <c:v>2.8759805923921138</c:v>
                </c:pt>
                <c:pt idx="1982">
                  <c:v>2.900653909629392</c:v>
                </c:pt>
                <c:pt idx="1983">
                  <c:v>3.0164301043970245</c:v>
                </c:pt>
                <c:pt idx="1984">
                  <c:v>3.0171921178244632</c:v>
                </c:pt>
                <c:pt idx="1985">
                  <c:v>3.0409088175710903</c:v>
                </c:pt>
                <c:pt idx="1986">
                  <c:v>3.1347147847306931</c:v>
                </c:pt>
                <c:pt idx="1987">
                  <c:v>3.1784113721440641</c:v>
                </c:pt>
                <c:pt idx="1988">
                  <c:v>3.1615506162088525</c:v>
                </c:pt>
                <c:pt idx="1989">
                  <c:v>3.1811224795479118</c:v>
                </c:pt>
                <c:pt idx="1990">
                  <c:v>3.3114222384617928</c:v>
                </c:pt>
                <c:pt idx="1991">
                  <c:v>3.3843792619187569</c:v>
                </c:pt>
                <c:pt idx="1992">
                  <c:v>3.3843792619187569</c:v>
                </c:pt>
                <c:pt idx="1993">
                  <c:v>3.3185303491396492</c:v>
                </c:pt>
                <c:pt idx="1994">
                  <c:v>3.3562431103976893</c:v>
                </c:pt>
                <c:pt idx="1995">
                  <c:v>3.4087446706793778</c:v>
                </c:pt>
                <c:pt idx="1996">
                  <c:v>3.4634379305612764</c:v>
                </c:pt>
                <c:pt idx="1997">
                  <c:v>3.3782604514988064</c:v>
                </c:pt>
                <c:pt idx="1998">
                  <c:v>3.3782604514988064</c:v>
                </c:pt>
                <c:pt idx="1999">
                  <c:v>3.3782604514988064</c:v>
                </c:pt>
                <c:pt idx="2000">
                  <c:v>3.3589817833220912</c:v>
                </c:pt>
                <c:pt idx="2001">
                  <c:v>3.3726417900035224</c:v>
                </c:pt>
                <c:pt idx="2002">
                  <c:v>3.2758257711237673</c:v>
                </c:pt>
                <c:pt idx="2003">
                  <c:v>3.2134773659711988</c:v>
                </c:pt>
                <c:pt idx="2004">
                  <c:v>3.1176177170854449</c:v>
                </c:pt>
                <c:pt idx="2005">
                  <c:v>3.2236553821692087</c:v>
                </c:pt>
                <c:pt idx="2006">
                  <c:v>3.3330459646243784</c:v>
                </c:pt>
                <c:pt idx="2007">
                  <c:v>3.3164515034465145</c:v>
                </c:pt>
                <c:pt idx="2008">
                  <c:v>3.421366266045887</c:v>
                </c:pt>
                <c:pt idx="2009">
                  <c:v>3.421366266045887</c:v>
                </c:pt>
                <c:pt idx="2010">
                  <c:v>3.3289051045955484</c:v>
                </c:pt>
                <c:pt idx="2011">
                  <c:v>3.421366266045887</c:v>
                </c:pt>
                <c:pt idx="2012">
                  <c:v>3.5583801041368872</c:v>
                </c:pt>
                <c:pt idx="2013">
                  <c:v>3.4374542839175311</c:v>
                </c:pt>
                <c:pt idx="2014">
                  <c:v>3.4614461133177117</c:v>
                </c:pt>
                <c:pt idx="2015">
                  <c:v>3.4374542839175311</c:v>
                </c:pt>
                <c:pt idx="2016">
                  <c:v>3.36923198042685</c:v>
                </c:pt>
                <c:pt idx="2017">
                  <c:v>3.3383869737055494</c:v>
                </c:pt>
                <c:pt idx="2018">
                  <c:v>3.3707668215878184</c:v>
                </c:pt>
                <c:pt idx="2019">
                  <c:v>3.3665016461206925</c:v>
                </c:pt>
                <c:pt idx="2020">
                  <c:v>3.2666901242413688</c:v>
                </c:pt>
                <c:pt idx="2021">
                  <c:v>3.3589817833220912</c:v>
                </c:pt>
                <c:pt idx="2022">
                  <c:v>3.3808113016658088</c:v>
                </c:pt>
                <c:pt idx="2023">
                  <c:v>3.3808113016658092</c:v>
                </c:pt>
                <c:pt idx="2024">
                  <c:v>3.3808113016658088</c:v>
                </c:pt>
                <c:pt idx="2025">
                  <c:v>3.247633975185876</c:v>
                </c:pt>
                <c:pt idx="2026">
                  <c:v>3.2129407877748273</c:v>
                </c:pt>
                <c:pt idx="2027">
                  <c:v>3.2200878120388854</c:v>
                </c:pt>
                <c:pt idx="2028">
                  <c:v>3.2129407877748273</c:v>
                </c:pt>
                <c:pt idx="2029">
                  <c:v>3.2263284709246292</c:v>
                </c:pt>
                <c:pt idx="2030">
                  <c:v>3.3002960508094574</c:v>
                </c:pt>
                <c:pt idx="2031">
                  <c:v>3.377409739981831</c:v>
                </c:pt>
                <c:pt idx="2032">
                  <c:v>3.4389586769266645</c:v>
                </c:pt>
                <c:pt idx="2033">
                  <c:v>3.3700847562587826</c:v>
                </c:pt>
                <c:pt idx="2034">
                  <c:v>3.3605213060291494</c:v>
                </c:pt>
                <c:pt idx="2035">
                  <c:v>3.2518783254725503</c:v>
                </c:pt>
                <c:pt idx="2036">
                  <c:v>3.1551818352977858</c:v>
                </c:pt>
                <c:pt idx="2037">
                  <c:v>3.1264536848765503</c:v>
                </c:pt>
                <c:pt idx="2038">
                  <c:v>2.9749915483314702</c:v>
                </c:pt>
                <c:pt idx="2039">
                  <c:v>3.0454412888246845</c:v>
                </c:pt>
                <c:pt idx="2040">
                  <c:v>3.0409088175710903</c:v>
                </c:pt>
                <c:pt idx="2041">
                  <c:v>2.8825675017766459</c:v>
                </c:pt>
                <c:pt idx="2042">
                  <c:v>2.906394060822036</c:v>
                </c:pt>
                <c:pt idx="2043">
                  <c:v>2.8569334898658809</c:v>
                </c:pt>
                <c:pt idx="2044">
                  <c:v>2.8569334898658809</c:v>
                </c:pt>
                <c:pt idx="2045">
                  <c:v>2.8373534698101461</c:v>
                </c:pt>
                <c:pt idx="2046">
                  <c:v>2.7753015783108528</c:v>
                </c:pt>
                <c:pt idx="2047">
                  <c:v>2.8424127682002118</c:v>
                </c:pt>
                <c:pt idx="2048">
                  <c:v>2.8424127682002118</c:v>
                </c:pt>
                <c:pt idx="2049">
                  <c:v>2.8332995265055452</c:v>
                </c:pt>
                <c:pt idx="2050">
                  <c:v>2.8332995265055452</c:v>
                </c:pt>
                <c:pt idx="2051">
                  <c:v>2.7384029240987608</c:v>
                </c:pt>
                <c:pt idx="2052">
                  <c:v>2.6643668243529532</c:v>
                </c:pt>
                <c:pt idx="2053">
                  <c:v>2.6008398289960022</c:v>
                </c:pt>
                <c:pt idx="2054">
                  <c:v>2.6313756727298521</c:v>
                </c:pt>
                <c:pt idx="2055">
                  <c:v>2.6901266901756506</c:v>
                </c:pt>
                <c:pt idx="2056">
                  <c:v>2.6568064832906391</c:v>
                </c:pt>
                <c:pt idx="2057">
                  <c:v>2.6901266901756506</c:v>
                </c:pt>
                <c:pt idx="2058">
                  <c:v>2.8172294207599431</c:v>
                </c:pt>
                <c:pt idx="2059">
                  <c:v>2.8705800607294463</c:v>
                </c:pt>
                <c:pt idx="2060">
                  <c:v>2.8172294207599426</c:v>
                </c:pt>
                <c:pt idx="2061">
                  <c:v>2.7634727444278155</c:v>
                </c:pt>
                <c:pt idx="2062">
                  <c:v>2.6832815729997477</c:v>
                </c:pt>
                <c:pt idx="2063">
                  <c:v>2.7226170641794116</c:v>
                </c:pt>
                <c:pt idx="2064">
                  <c:v>2.7384029240987608</c:v>
                </c:pt>
                <c:pt idx="2065">
                  <c:v>2.7593102586422344</c:v>
                </c:pt>
                <c:pt idx="2066">
                  <c:v>2.8405924588439961</c:v>
                </c:pt>
                <c:pt idx="2067">
                  <c:v>2.8153928290043639</c:v>
                </c:pt>
                <c:pt idx="2068">
                  <c:v>2.8326909346122604</c:v>
                </c:pt>
                <c:pt idx="2069">
                  <c:v>2.6671694928234837</c:v>
                </c:pt>
                <c:pt idx="2070">
                  <c:v>2.6481396636433128</c:v>
                </c:pt>
                <c:pt idx="2071">
                  <c:v>2.7534722071236342</c:v>
                </c:pt>
                <c:pt idx="2072">
                  <c:v>2.5855478087369361</c:v>
                </c:pt>
                <c:pt idx="2073">
                  <c:v>2.6611293082829133</c:v>
                </c:pt>
                <c:pt idx="2074">
                  <c:v>2.6470543159754274</c:v>
                </c:pt>
                <c:pt idx="2075">
                  <c:v>2.6490076216029173</c:v>
                </c:pt>
                <c:pt idx="2076">
                  <c:v>2.6611293082829142</c:v>
                </c:pt>
                <c:pt idx="2077">
                  <c:v>2.7114063026280362</c:v>
                </c:pt>
                <c:pt idx="2078">
                  <c:v>2.7628487713469472</c:v>
                </c:pt>
                <c:pt idx="2079">
                  <c:v>2.7478309104898861</c:v>
                </c:pt>
                <c:pt idx="2080">
                  <c:v>2.8251741885063115</c:v>
                </c:pt>
                <c:pt idx="2081">
                  <c:v>2.8251741885063111</c:v>
                </c:pt>
                <c:pt idx="2082">
                  <c:v>2.8251741885063111</c:v>
                </c:pt>
                <c:pt idx="2083">
                  <c:v>2.8585423501876077</c:v>
                </c:pt>
                <c:pt idx="2084">
                  <c:v>2.8357325879470423</c:v>
                </c:pt>
                <c:pt idx="2085">
                  <c:v>2.7841918285080558</c:v>
                </c:pt>
                <c:pt idx="2086">
                  <c:v>2.7603514685425576</c:v>
                </c:pt>
                <c:pt idx="2087">
                  <c:v>2.8153928290043635</c:v>
                </c:pt>
                <c:pt idx="2088">
                  <c:v>2.7283104956950086</c:v>
                </c:pt>
                <c:pt idx="2089">
                  <c:v>2.7753015783108528</c:v>
                </c:pt>
                <c:pt idx="2090">
                  <c:v>2.7335716184331895</c:v>
                </c:pt>
                <c:pt idx="2091">
                  <c:v>2.670399685956883</c:v>
                </c:pt>
                <c:pt idx="2092">
                  <c:v>2.6663074470696078</c:v>
                </c:pt>
                <c:pt idx="2093">
                  <c:v>2.7377732372953338</c:v>
                </c:pt>
                <c:pt idx="2094">
                  <c:v>2.7377732372953338</c:v>
                </c:pt>
                <c:pt idx="2095">
                  <c:v>2.7841918285080562</c:v>
                </c:pt>
                <c:pt idx="2096">
                  <c:v>2.8245638458955442</c:v>
                </c:pt>
                <c:pt idx="2097">
                  <c:v>2.8454440293454955</c:v>
                </c:pt>
                <c:pt idx="2098">
                  <c:v>2.8609539442752947</c:v>
                </c:pt>
                <c:pt idx="2099">
                  <c:v>2.8609539442752947</c:v>
                </c:pt>
                <c:pt idx="2100">
                  <c:v>3.00975425735311</c:v>
                </c:pt>
                <c:pt idx="2101">
                  <c:v>2.9563879794535546</c:v>
                </c:pt>
                <c:pt idx="2102">
                  <c:v>3.0392073981871337</c:v>
                </c:pt>
                <c:pt idx="2103">
                  <c:v>3.2000359193386361</c:v>
                </c:pt>
                <c:pt idx="2104">
                  <c:v>3.2200878120388858</c:v>
                </c:pt>
                <c:pt idx="2105">
                  <c:v>3.3869255037299082</c:v>
                </c:pt>
                <c:pt idx="2106">
                  <c:v>3.5300027677368586</c:v>
                </c:pt>
                <c:pt idx="2107">
                  <c:v>3.5109025594010999</c:v>
                </c:pt>
                <c:pt idx="2108">
                  <c:v>3.4898868670527974</c:v>
                </c:pt>
                <c:pt idx="2109">
                  <c:v>3.5005746654664782</c:v>
                </c:pt>
                <c:pt idx="2110">
                  <c:v>3.5862124226305792</c:v>
                </c:pt>
                <c:pt idx="2111">
                  <c:v>3.6798613167271434</c:v>
                </c:pt>
                <c:pt idx="2112">
                  <c:v>3.7021273784726501</c:v>
                </c:pt>
                <c:pt idx="2113">
                  <c:v>3.6623276311877015</c:v>
                </c:pt>
                <c:pt idx="2114">
                  <c:v>3.6853234858560651</c:v>
                </c:pt>
                <c:pt idx="2115">
                  <c:v>3.6623276311877015</c:v>
                </c:pt>
                <c:pt idx="2116">
                  <c:v>3.6388706091787362</c:v>
                </c:pt>
                <c:pt idx="2117">
                  <c:v>3.6811105270887592</c:v>
                </c:pt>
                <c:pt idx="2118">
                  <c:v>3.7882152410658612</c:v>
                </c:pt>
                <c:pt idx="2119">
                  <c:v>3.7484096244465697</c:v>
                </c:pt>
                <c:pt idx="2120">
                  <c:v>3.7356622456792188</c:v>
                </c:pt>
                <c:pt idx="2121">
                  <c:v>3.6244698383619371</c:v>
                </c:pt>
                <c:pt idx="2122">
                  <c:v>3.7356622456792183</c:v>
                </c:pt>
                <c:pt idx="2123">
                  <c:v>3.6232010994280386</c:v>
                </c:pt>
                <c:pt idx="2124">
                  <c:v>3.6103300068858926</c:v>
                </c:pt>
                <c:pt idx="2125">
                  <c:v>3.6853234858560646</c:v>
                </c:pt>
                <c:pt idx="2126">
                  <c:v>3.6853234858560651</c:v>
                </c:pt>
                <c:pt idx="2127">
                  <c:v>3.6985551699045374</c:v>
                </c:pt>
                <c:pt idx="2128">
                  <c:v>3.6985551699045374</c:v>
                </c:pt>
                <c:pt idx="2129">
                  <c:v>3.6985551699045374</c:v>
                </c:pt>
                <c:pt idx="2130">
                  <c:v>3.739199004519858</c:v>
                </c:pt>
                <c:pt idx="2131">
                  <c:v>3.7039897718386121</c:v>
                </c:pt>
                <c:pt idx="2132">
                  <c:v>3.5926169503196608</c:v>
                </c:pt>
                <c:pt idx="2133">
                  <c:v>3.562254226246885</c:v>
                </c:pt>
                <c:pt idx="2134">
                  <c:v>3.6709483882187057</c:v>
                </c:pt>
                <c:pt idx="2135">
                  <c:v>3.5389458785116346</c:v>
                </c:pt>
                <c:pt idx="2136">
                  <c:v>3.4832934606968355</c:v>
                </c:pt>
                <c:pt idx="2137">
                  <c:v>3.5345584516705704</c:v>
                </c:pt>
                <c:pt idx="2138">
                  <c:v>3.4887339204668639</c:v>
                </c:pt>
                <c:pt idx="2139">
                  <c:v>3.5110662492890321</c:v>
                </c:pt>
                <c:pt idx="2140">
                  <c:v>3.3680377315166088</c:v>
                </c:pt>
                <c:pt idx="2141">
                  <c:v>3.2476339751858743</c:v>
                </c:pt>
                <c:pt idx="2142">
                  <c:v>3.2307787040406772</c:v>
                </c:pt>
                <c:pt idx="2143">
                  <c:v>3.3495582141358669</c:v>
                </c:pt>
                <c:pt idx="2144">
                  <c:v>3.3233759321218685</c:v>
                </c:pt>
                <c:pt idx="2145">
                  <c:v>3.4215342394493349</c:v>
                </c:pt>
                <c:pt idx="2146">
                  <c:v>3.4674181325226883</c:v>
                </c:pt>
                <c:pt idx="2147">
                  <c:v>3.3782604514988068</c:v>
                </c:pt>
                <c:pt idx="2148">
                  <c:v>3.2877340832705504</c:v>
                </c:pt>
                <c:pt idx="2149">
                  <c:v>3.2518783254725507</c:v>
                </c:pt>
                <c:pt idx="2150">
                  <c:v>3.2518783254725507</c:v>
                </c:pt>
                <c:pt idx="2151">
                  <c:v>3.2582344841989186</c:v>
                </c:pt>
                <c:pt idx="2152">
                  <c:v>3.2582344841989186</c:v>
                </c:pt>
                <c:pt idx="2153">
                  <c:v>3.3909955138148797</c:v>
                </c:pt>
                <c:pt idx="2154">
                  <c:v>3.5030364496842012</c:v>
                </c:pt>
                <c:pt idx="2155">
                  <c:v>3.3603502827813205</c:v>
                </c:pt>
                <c:pt idx="2156">
                  <c:v>3.3051683665184863</c:v>
                </c:pt>
                <c:pt idx="2157">
                  <c:v>3.3330459646243784</c:v>
                </c:pt>
                <c:pt idx="2158">
                  <c:v>3.3114222384617928</c:v>
                </c:pt>
                <c:pt idx="2159">
                  <c:v>3.3500729105121163</c:v>
                </c:pt>
                <c:pt idx="2160">
                  <c:v>3.3046466762987556</c:v>
                </c:pt>
                <c:pt idx="2161">
                  <c:v>3.3002960508094583</c:v>
                </c:pt>
                <c:pt idx="2162">
                  <c:v>3.3603502827813205</c:v>
                </c:pt>
                <c:pt idx="2163">
                  <c:v>3.2947188671862588</c:v>
                </c:pt>
                <c:pt idx="2164">
                  <c:v>3.2136562054607758</c:v>
                </c:pt>
                <c:pt idx="2165">
                  <c:v>3.2120462915889529</c:v>
                </c:pt>
                <c:pt idx="2166">
                  <c:v>3.0505322693649362</c:v>
                </c:pt>
                <c:pt idx="2167">
                  <c:v>2.9749915483314697</c:v>
                </c:pt>
                <c:pt idx="2168">
                  <c:v>2.9353180328582789</c:v>
                </c:pt>
                <c:pt idx="2169">
                  <c:v>2.9353180328582784</c:v>
                </c:pt>
                <c:pt idx="2170">
                  <c:v>2.9517187667799445</c:v>
                </c:pt>
                <c:pt idx="2171">
                  <c:v>2.9517187667799445</c:v>
                </c:pt>
                <c:pt idx="2172">
                  <c:v>2.9117281671784263</c:v>
                </c:pt>
                <c:pt idx="2173">
                  <c:v>2.8567323186168285</c:v>
                </c:pt>
                <c:pt idx="2174">
                  <c:v>2.8567323186168285</c:v>
                </c:pt>
                <c:pt idx="2175">
                  <c:v>2.9024365507336225</c:v>
                </c:pt>
                <c:pt idx="2176">
                  <c:v>2.9790455927491539</c:v>
                </c:pt>
                <c:pt idx="2177">
                  <c:v>3.0392073981871337</c:v>
                </c:pt>
                <c:pt idx="2178">
                  <c:v>2.9988503544318212</c:v>
                </c:pt>
                <c:pt idx="2179">
                  <c:v>3.0074619841665329</c:v>
                </c:pt>
                <c:pt idx="2180">
                  <c:v>3.1139286639449426</c:v>
                </c:pt>
                <c:pt idx="2181">
                  <c:v>3.1236951298690809</c:v>
                </c:pt>
                <c:pt idx="2182">
                  <c:v>2.9819379643092021</c:v>
                </c:pt>
                <c:pt idx="2183">
                  <c:v>3.0467619895045392</c:v>
                </c:pt>
                <c:pt idx="2184">
                  <c:v>2.9819379643092021</c:v>
                </c:pt>
                <c:pt idx="2185">
                  <c:v>3.0211895350832512</c:v>
                </c:pt>
                <c:pt idx="2186">
                  <c:v>3.0904004129956486</c:v>
                </c:pt>
                <c:pt idx="2187">
                  <c:v>3.1478874507038603</c:v>
                </c:pt>
                <c:pt idx="2188">
                  <c:v>3.1396610110596046</c:v>
                </c:pt>
                <c:pt idx="2189">
                  <c:v>3.2243684225190412</c:v>
                </c:pt>
                <c:pt idx="2190">
                  <c:v>3.1856358646381677</c:v>
                </c:pt>
                <c:pt idx="2191">
                  <c:v>3.2129407877748273</c:v>
                </c:pt>
                <c:pt idx="2192">
                  <c:v>3.2582344841989186</c:v>
                </c:pt>
                <c:pt idx="2193">
                  <c:v>3.3399359894754124</c:v>
                </c:pt>
                <c:pt idx="2194">
                  <c:v>3.2758257711237673</c:v>
                </c:pt>
                <c:pt idx="2195">
                  <c:v>3.2710854467592259</c:v>
                </c:pt>
                <c:pt idx="2196">
                  <c:v>3.2640500897666609</c:v>
                </c:pt>
                <c:pt idx="2197">
                  <c:v>3.3666723568860526</c:v>
                </c:pt>
                <c:pt idx="2198">
                  <c:v>3.4079015689201282</c:v>
                </c:pt>
                <c:pt idx="2199">
                  <c:v>3.5182610647222066</c:v>
                </c:pt>
                <c:pt idx="2200">
                  <c:v>3.5182610647222066</c:v>
                </c:pt>
                <c:pt idx="2201">
                  <c:v>3.5519138438344737</c:v>
                </c:pt>
                <c:pt idx="2202">
                  <c:v>3.679861316727143</c:v>
                </c:pt>
                <c:pt idx="2203">
                  <c:v>3.7728613489791383</c:v>
                </c:pt>
                <c:pt idx="2204">
                  <c:v>3.8448353177593511</c:v>
                </c:pt>
                <c:pt idx="2205">
                  <c:v>3.7699660049078587</c:v>
                </c:pt>
                <c:pt idx="2206">
                  <c:v>3.7699660049078587</c:v>
                </c:pt>
                <c:pt idx="2207">
                  <c:v>3.7299656403458887</c:v>
                </c:pt>
                <c:pt idx="2208">
                  <c:v>3.7736229124089058</c:v>
                </c:pt>
                <c:pt idx="2209">
                  <c:v>3.839300702609457</c:v>
                </c:pt>
                <c:pt idx="2210">
                  <c:v>3.8063769843680011</c:v>
                </c:pt>
                <c:pt idx="2211">
                  <c:v>3.8639209434810216</c:v>
                </c:pt>
                <c:pt idx="2212">
                  <c:v>3.8639209434810216</c:v>
                </c:pt>
                <c:pt idx="2213">
                  <c:v>3.7484096244465701</c:v>
                </c:pt>
                <c:pt idx="2214">
                  <c:v>3.7078667535483212</c:v>
                </c:pt>
                <c:pt idx="2215">
                  <c:v>3.674078193875661</c:v>
                </c:pt>
                <c:pt idx="2216">
                  <c:v>3.5519138438344746</c:v>
                </c:pt>
                <c:pt idx="2217">
                  <c:v>3.536509091141169</c:v>
                </c:pt>
                <c:pt idx="2218">
                  <c:v>3.536509091141169</c:v>
                </c:pt>
                <c:pt idx="2219">
                  <c:v>3.4788358470291061</c:v>
                </c:pt>
                <c:pt idx="2220">
                  <c:v>3.4634379305612759</c:v>
                </c:pt>
                <c:pt idx="2221">
                  <c:v>3.4887339204668644</c:v>
                </c:pt>
                <c:pt idx="2222">
                  <c:v>3.4887339204668644</c:v>
                </c:pt>
                <c:pt idx="2223">
                  <c:v>3.3666723568860522</c:v>
                </c:pt>
                <c:pt idx="2224">
                  <c:v>3.6041164204855805</c:v>
                </c:pt>
                <c:pt idx="2225">
                  <c:v>3.6665621719697516</c:v>
                </c:pt>
                <c:pt idx="2226">
                  <c:v>3.9977004884561191</c:v>
                </c:pt>
                <c:pt idx="2227">
                  <c:v>3.9770895613891244</c:v>
                </c:pt>
                <c:pt idx="2228">
                  <c:v>4.0683810217248624</c:v>
                </c:pt>
                <c:pt idx="2229">
                  <c:v>4.1583595350797289</c:v>
                </c:pt>
                <c:pt idx="2230">
                  <c:v>4.2966172205852695</c:v>
                </c:pt>
                <c:pt idx="2231">
                  <c:v>4.3263427255951816</c:v>
                </c:pt>
                <c:pt idx="2232">
                  <c:v>4.146872523256282</c:v>
                </c:pt>
                <c:pt idx="2233">
                  <c:v>4.1749113831878226</c:v>
                </c:pt>
                <c:pt idx="2234">
                  <c:v>4.0401718411160594</c:v>
                </c:pt>
                <c:pt idx="2235">
                  <c:v>3.9157800414902435</c:v>
                </c:pt>
                <c:pt idx="2236">
                  <c:v>3.8994547216805562</c:v>
                </c:pt>
                <c:pt idx="2237">
                  <c:v>3.8590094613758716</c:v>
                </c:pt>
                <c:pt idx="2238">
                  <c:v>3.8627308546121117</c:v>
                </c:pt>
                <c:pt idx="2239">
                  <c:v>4.0080379010298737</c:v>
                </c:pt>
                <c:pt idx="2240">
                  <c:v>3.9171007340786561</c:v>
                </c:pt>
                <c:pt idx="2241">
                  <c:v>3.6477043639029714</c:v>
                </c:pt>
                <c:pt idx="2242">
                  <c:v>3.5830058658175199</c:v>
                </c:pt>
                <c:pt idx="2243">
                  <c:v>3.5012313105042305</c:v>
                </c:pt>
                <c:pt idx="2244">
                  <c:v>3.5291886339204241</c:v>
                </c:pt>
                <c:pt idx="2245">
                  <c:v>3.2307787040406772</c:v>
                </c:pt>
                <c:pt idx="2246">
                  <c:v>3.1919438822019468</c:v>
                </c:pt>
                <c:pt idx="2247">
                  <c:v>3.1447822138287713</c:v>
                </c:pt>
                <c:pt idx="2248">
                  <c:v>3.1154048094006614</c:v>
                </c:pt>
                <c:pt idx="2249">
                  <c:v>2.8416038857796773</c:v>
                </c:pt>
                <c:pt idx="2250">
                  <c:v>2.7461571896642818</c:v>
                </c:pt>
                <c:pt idx="2251">
                  <c:v>2.1431526889785202</c:v>
                </c:pt>
                <c:pt idx="2252">
                  <c:v>2.1732437750393134</c:v>
                </c:pt>
                <c:pt idx="2253">
                  <c:v>1.943157757096813</c:v>
                </c:pt>
                <c:pt idx="2254">
                  <c:v>1.959650449712262</c:v>
                </c:pt>
                <c:pt idx="2255">
                  <c:v>1.9241358711314307</c:v>
                </c:pt>
                <c:pt idx="2256">
                  <c:v>1.8708286933869707</c:v>
                </c:pt>
                <c:pt idx="2257">
                  <c:v>1.9226418606016904</c:v>
                </c:pt>
                <c:pt idx="2258">
                  <c:v>1.9678449616530895</c:v>
                </c:pt>
                <c:pt idx="2259">
                  <c:v>1.9678449616530895</c:v>
                </c:pt>
                <c:pt idx="2260">
                  <c:v>1.9678449616530895</c:v>
                </c:pt>
                <c:pt idx="2261">
                  <c:v>1.9771685315872416</c:v>
                </c:pt>
                <c:pt idx="2262">
                  <c:v>1.9369367924460095</c:v>
                </c:pt>
                <c:pt idx="2263">
                  <c:v>1.9596504497122615</c:v>
                </c:pt>
                <c:pt idx="2264">
                  <c:v>1.9988502442280593</c:v>
                </c:pt>
                <c:pt idx="2265">
                  <c:v>1.9428619723691549</c:v>
                </c:pt>
                <c:pt idx="2266">
                  <c:v>1.9025089303036291</c:v>
                </c:pt>
                <c:pt idx="2267">
                  <c:v>2.1668876987168884</c:v>
                </c:pt>
                <c:pt idx="2268">
                  <c:v>2.5152408993194264</c:v>
                </c:pt>
                <c:pt idx="2269">
                  <c:v>2.6952491194863519</c:v>
                </c:pt>
                <c:pt idx="2270">
                  <c:v>2.7628487713469467</c:v>
                </c:pt>
                <c:pt idx="2271">
                  <c:v>2.7728154909994349</c:v>
                </c:pt>
                <c:pt idx="2272">
                  <c:v>2.9796242916750817</c:v>
                </c:pt>
                <c:pt idx="2273">
                  <c:v>2.9703515794846789</c:v>
                </c:pt>
                <c:pt idx="2274">
                  <c:v>3.0820205344404576</c:v>
                </c:pt>
                <c:pt idx="2275">
                  <c:v>3.110974271758002</c:v>
                </c:pt>
                <c:pt idx="2276">
                  <c:v>11.156978126694534</c:v>
                </c:pt>
                <c:pt idx="2277">
                  <c:v>15.22686675795017</c:v>
                </c:pt>
                <c:pt idx="2278">
                  <c:v>18.202848078279381</c:v>
                </c:pt>
                <c:pt idx="2279">
                  <c:v>20.562771851258201</c:v>
                </c:pt>
                <c:pt idx="2280">
                  <c:v>22.501315414932936</c:v>
                </c:pt>
                <c:pt idx="2281">
                  <c:v>24.164783913976876</c:v>
                </c:pt>
                <c:pt idx="2282">
                  <c:v>25.606415324037968</c:v>
                </c:pt>
                <c:pt idx="2283">
                  <c:v>26.832473035398774</c:v>
                </c:pt>
                <c:pt idx="2284">
                  <c:v>27.880471474764779</c:v>
                </c:pt>
                <c:pt idx="2285">
                  <c:v>28.7098245029207</c:v>
                </c:pt>
                <c:pt idx="2286">
                  <c:v>29.407638385329395</c:v>
                </c:pt>
                <c:pt idx="2287">
                  <c:v>29.914072342928016</c:v>
                </c:pt>
                <c:pt idx="2288">
                  <c:v>30.280223810648899</c:v>
                </c:pt>
                <c:pt idx="2289">
                  <c:v>30.511143620937439</c:v>
                </c:pt>
                <c:pt idx="2290">
                  <c:v>30.641962813394827</c:v>
                </c:pt>
                <c:pt idx="2291">
                  <c:v>30.646313835829229</c:v>
                </c:pt>
                <c:pt idx="2292">
                  <c:v>30.438273698538268</c:v>
                </c:pt>
                <c:pt idx="2293">
                  <c:v>30.184204592742738</c:v>
                </c:pt>
                <c:pt idx="2294">
                  <c:v>30.071734160209299</c:v>
                </c:pt>
                <c:pt idx="2295">
                  <c:v>29.728058652800854</c:v>
                </c:pt>
                <c:pt idx="2296">
                  <c:v>29.58807230943756</c:v>
                </c:pt>
                <c:pt idx="2297">
                  <c:v>29.25244856634119</c:v>
                </c:pt>
                <c:pt idx="2298">
                  <c:v>28.666933973626755</c:v>
                </c:pt>
                <c:pt idx="2299">
                  <c:v>28.072177087585878</c:v>
                </c:pt>
                <c:pt idx="2300">
                  <c:v>27.519710804414728</c:v>
                </c:pt>
                <c:pt idx="2301">
                  <c:v>27.19467916178905</c:v>
                </c:pt>
                <c:pt idx="2302">
                  <c:v>26.54514696863076</c:v>
                </c:pt>
                <c:pt idx="2303">
                  <c:v>26.173690396379286</c:v>
                </c:pt>
                <c:pt idx="2304">
                  <c:v>25.640216256014153</c:v>
                </c:pt>
                <c:pt idx="2305">
                  <c:v>24.967196869897709</c:v>
                </c:pt>
                <c:pt idx="2306">
                  <c:v>25.207187444270232</c:v>
                </c:pt>
                <c:pt idx="2307">
                  <c:v>25.275971052437889</c:v>
                </c:pt>
                <c:pt idx="2308">
                  <c:v>25.287223615116776</c:v>
                </c:pt>
                <c:pt idx="2309">
                  <c:v>25.034436053279634</c:v>
                </c:pt>
                <c:pt idx="2310">
                  <c:v>24.745160910888153</c:v>
                </c:pt>
                <c:pt idx="2311">
                  <c:v>24.126319867415081</c:v>
                </c:pt>
                <c:pt idx="2312">
                  <c:v>23.487340684159907</c:v>
                </c:pt>
                <c:pt idx="2313">
                  <c:v>22.678158006652847</c:v>
                </c:pt>
                <c:pt idx="2314">
                  <c:v>21.689263194747639</c:v>
                </c:pt>
                <c:pt idx="2315">
                  <c:v>20.535055533090883</c:v>
                </c:pt>
                <c:pt idx="2316">
                  <c:v>19.162613264542934</c:v>
                </c:pt>
                <c:pt idx="2317">
                  <c:v>17.534858549980264</c:v>
                </c:pt>
                <c:pt idx="2318">
                  <c:v>15.597818886722225</c:v>
                </c:pt>
                <c:pt idx="2319">
                  <c:v>13.069267275805359</c:v>
                </c:pt>
                <c:pt idx="2320">
                  <c:v>9.6444850538544955</c:v>
                </c:pt>
                <c:pt idx="2321">
                  <c:v>3.0439312149553097</c:v>
                </c:pt>
                <c:pt idx="2322">
                  <c:v>2.9952068989998155</c:v>
                </c:pt>
                <c:pt idx="2323">
                  <c:v>2.8424127682002118</c:v>
                </c:pt>
                <c:pt idx="2324">
                  <c:v>2.9205966954496243</c:v>
                </c:pt>
                <c:pt idx="2325">
                  <c:v>2.9780808446449845</c:v>
                </c:pt>
                <c:pt idx="2326">
                  <c:v>2.9780808446449845</c:v>
                </c:pt>
                <c:pt idx="2327">
                  <c:v>2.9290459786127601</c:v>
                </c:pt>
                <c:pt idx="2328">
                  <c:v>2.9487967544153624</c:v>
                </c:pt>
                <c:pt idx="2329">
                  <c:v>2.9680288749098862</c:v>
                </c:pt>
                <c:pt idx="2330">
                  <c:v>2.7852237368598982</c:v>
                </c:pt>
                <c:pt idx="2331">
                  <c:v>2.7636807041485016</c:v>
                </c:pt>
                <c:pt idx="2332">
                  <c:v>2.7240942816232359</c:v>
                </c:pt>
                <c:pt idx="2333">
                  <c:v>2.7584770077524392</c:v>
                </c:pt>
                <c:pt idx="2334">
                  <c:v>2.944701065951532</c:v>
                </c:pt>
                <c:pt idx="2335">
                  <c:v>2.8976804040711479</c:v>
                </c:pt>
                <c:pt idx="2336">
                  <c:v>2.8367457476449327</c:v>
                </c:pt>
                <c:pt idx="2337">
                  <c:v>2.8276142415206813</c:v>
                </c:pt>
                <c:pt idx="2338">
                  <c:v>2.8397830579274808</c:v>
                </c:pt>
                <c:pt idx="2339">
                  <c:v>2.9300268721061866</c:v>
                </c:pt>
                <c:pt idx="2340">
                  <c:v>2.8326909346122608</c:v>
                </c:pt>
                <c:pt idx="2341">
                  <c:v>2.8326909346122608</c:v>
                </c:pt>
                <c:pt idx="2342">
                  <c:v>2.9243331099467849</c:v>
                </c:pt>
                <c:pt idx="2343">
                  <c:v>3.0141429082351698</c:v>
                </c:pt>
                <c:pt idx="2344">
                  <c:v>3.086678831186775</c:v>
                </c:pt>
                <c:pt idx="2345">
                  <c:v>3.1249827585731271</c:v>
                </c:pt>
                <c:pt idx="2346">
                  <c:v>3.1374636509319975</c:v>
                </c:pt>
                <c:pt idx="2347">
                  <c:v>3.1369140703974456</c:v>
                </c:pt>
                <c:pt idx="2348">
                  <c:v>3.0926312124293056</c:v>
                </c:pt>
                <c:pt idx="2349">
                  <c:v>3.1579128856102807</c:v>
                </c:pt>
                <c:pt idx="2350">
                  <c:v>3.1579128856102807</c:v>
                </c:pt>
                <c:pt idx="2351">
                  <c:v>3.3002960508094583</c:v>
                </c:pt>
                <c:pt idx="2352">
                  <c:v>3.3060376672795586</c:v>
                </c:pt>
                <c:pt idx="2353">
                  <c:v>3.3543589757107144</c:v>
                </c:pt>
                <c:pt idx="2354">
                  <c:v>3.3046466762987556</c:v>
                </c:pt>
                <c:pt idx="2355">
                  <c:v>3.2334459039534131</c:v>
                </c:pt>
                <c:pt idx="2356">
                  <c:v>3.1227750700188177</c:v>
                </c:pt>
                <c:pt idx="2357">
                  <c:v>3.1347147847306935</c:v>
                </c:pt>
                <c:pt idx="2358">
                  <c:v>3.1659103755076714</c:v>
                </c:pt>
                <c:pt idx="2359">
                  <c:v>3.1200132625712813</c:v>
                </c:pt>
                <c:pt idx="2360">
                  <c:v>3.1775071556391383</c:v>
                </c:pt>
                <c:pt idx="2361">
                  <c:v>3.3107279471786693</c:v>
                </c:pt>
                <c:pt idx="2362">
                  <c:v>3.4314301163914385</c:v>
                </c:pt>
                <c:pt idx="2363">
                  <c:v>3.4489711942622217</c:v>
                </c:pt>
                <c:pt idx="2364">
                  <c:v>3.4072269373052992</c:v>
                </c:pt>
                <c:pt idx="2365">
                  <c:v>3.4799920729200249</c:v>
                </c:pt>
                <c:pt idx="2366">
                  <c:v>3.5095927654516199</c:v>
                </c:pt>
                <c:pt idx="2367">
                  <c:v>3.5010671607908082</c:v>
                </c:pt>
                <c:pt idx="2368">
                  <c:v>3.4534673563838996</c:v>
                </c:pt>
                <c:pt idx="2369">
                  <c:v>3.3589817833220921</c:v>
                </c:pt>
                <c:pt idx="2370">
                  <c:v>3.4154819925420936</c:v>
                </c:pt>
                <c:pt idx="2371">
                  <c:v>3.3500729105121168</c:v>
                </c:pt>
                <c:pt idx="2372">
                  <c:v>3.2730175187677988</c:v>
                </c:pt>
                <c:pt idx="2373">
                  <c:v>3.2021903423290978</c:v>
                </c:pt>
                <c:pt idx="2374">
                  <c:v>3.1413080224572094</c:v>
                </c:pt>
                <c:pt idx="2375">
                  <c:v>3.0567430642629319</c:v>
                </c:pt>
                <c:pt idx="2376">
                  <c:v>3.0285993120753774</c:v>
                </c:pt>
                <c:pt idx="2377">
                  <c:v>3.0454412888246849</c:v>
                </c:pt>
                <c:pt idx="2378">
                  <c:v>3.1697202458232199</c:v>
                </c:pt>
                <c:pt idx="2379">
                  <c:v>3.0904004129956482</c:v>
                </c:pt>
                <c:pt idx="2380">
                  <c:v>3.0904004129956486</c:v>
                </c:pt>
                <c:pt idx="2381">
                  <c:v>3.0227109701715444</c:v>
                </c:pt>
                <c:pt idx="2382">
                  <c:v>3.1111590034627907</c:v>
                </c:pt>
                <c:pt idx="2383">
                  <c:v>3.2091822283430154</c:v>
                </c:pt>
                <c:pt idx="2384">
                  <c:v>3.2668660506827409</c:v>
                </c:pt>
                <c:pt idx="2385">
                  <c:v>3.2668660506827409</c:v>
                </c:pt>
                <c:pt idx="2386">
                  <c:v>3.2968114166936187</c:v>
                </c:pt>
                <c:pt idx="2387">
                  <c:v>3.2652823714829387</c:v>
                </c:pt>
                <c:pt idx="2388">
                  <c:v>3.2455097185701547</c:v>
                </c:pt>
                <c:pt idx="2389">
                  <c:v>3.1941037632761269</c:v>
                </c:pt>
                <c:pt idx="2390">
                  <c:v>3.3294229937429645</c:v>
                </c:pt>
                <c:pt idx="2391">
                  <c:v>3.3294229937429645</c:v>
                </c:pt>
                <c:pt idx="2392">
                  <c:v>3.2199093297721948</c:v>
                </c:pt>
                <c:pt idx="2393">
                  <c:v>3.1522661069769158</c:v>
                </c:pt>
                <c:pt idx="2394">
                  <c:v>3.1176177170854444</c:v>
                </c:pt>
                <c:pt idx="2395">
                  <c:v>2.9674479146965291</c:v>
                </c:pt>
                <c:pt idx="2396">
                  <c:v>3.0217601630107271</c:v>
                </c:pt>
                <c:pt idx="2397">
                  <c:v>3.1176177170854444</c:v>
                </c:pt>
                <c:pt idx="2398">
                  <c:v>3.0680032069997774</c:v>
                </c:pt>
                <c:pt idx="2399">
                  <c:v>3.0904004129956486</c:v>
                </c:pt>
                <c:pt idx="2400">
                  <c:v>3.0859339762456242</c:v>
                </c:pt>
                <c:pt idx="2401">
                  <c:v>3.1332477366640425</c:v>
                </c:pt>
                <c:pt idx="2402">
                  <c:v>3.1615506162088525</c:v>
                </c:pt>
                <c:pt idx="2403">
                  <c:v>3.1856358646381677</c:v>
                </c:pt>
                <c:pt idx="2404">
                  <c:v>3.1905031491643427</c:v>
                </c:pt>
                <c:pt idx="2405">
                  <c:v>3.1905031491643427</c:v>
                </c:pt>
                <c:pt idx="2406">
                  <c:v>3.2976829204273361</c:v>
                </c:pt>
                <c:pt idx="2407">
                  <c:v>3.3930286880839842</c:v>
                </c:pt>
                <c:pt idx="2408">
                  <c:v>3.3680377315166079</c:v>
                </c:pt>
                <c:pt idx="2409">
                  <c:v>3.4139672543527864</c:v>
                </c:pt>
                <c:pt idx="2410">
                  <c:v>3.4087446706793778</c:v>
                </c:pt>
                <c:pt idx="2411">
                  <c:v>3.4087446706793778</c:v>
                </c:pt>
                <c:pt idx="2412">
                  <c:v>3.3294229937429645</c:v>
                </c:pt>
                <c:pt idx="2413">
                  <c:v>3.3495582141358669</c:v>
                </c:pt>
                <c:pt idx="2414">
                  <c:v>3.3850584470072551</c:v>
                </c:pt>
                <c:pt idx="2415">
                  <c:v>3.2842361207062636</c:v>
                </c:pt>
                <c:pt idx="2416">
                  <c:v>3.2640500897666613</c:v>
                </c:pt>
                <c:pt idx="2417">
                  <c:v>3.2414343355564275</c:v>
                </c:pt>
                <c:pt idx="2418">
                  <c:v>3.2688006166275065</c:v>
                </c:pt>
                <c:pt idx="2419">
                  <c:v>3.2270409206343009</c:v>
                </c:pt>
                <c:pt idx="2420">
                  <c:v>3.0249916880288579</c:v>
                </c:pt>
                <c:pt idx="2421">
                  <c:v>2.9651229355607671</c:v>
                </c:pt>
                <c:pt idx="2422">
                  <c:v>2.9651229355607667</c:v>
                </c:pt>
                <c:pt idx="2423">
                  <c:v>3.0842573949268433</c:v>
                </c:pt>
                <c:pt idx="2424">
                  <c:v>3.046438605542527</c:v>
                </c:pt>
                <c:pt idx="2425">
                  <c:v>3.0952686201181048</c:v>
                </c:pt>
                <c:pt idx="2426">
                  <c:v>3.0569150044987108</c:v>
                </c:pt>
                <c:pt idx="2427">
                  <c:v>3.0553861646909075</c:v>
                </c:pt>
                <c:pt idx="2428">
                  <c:v>3.1134118476894979</c:v>
                </c:pt>
                <c:pt idx="2429">
                  <c:v>3.1207579904219758</c:v>
                </c:pt>
                <c:pt idx="2430">
                  <c:v>3.1610275009338467</c:v>
                </c:pt>
                <c:pt idx="2431">
                  <c:v>3.1153856431632505</c:v>
                </c:pt>
                <c:pt idx="2432">
                  <c:v>3.0519314727375049</c:v>
                </c:pt>
                <c:pt idx="2433">
                  <c:v>2.87411313552363</c:v>
                </c:pt>
                <c:pt idx="2434">
                  <c:v>2.4920927582635191</c:v>
                </c:pt>
                <c:pt idx="2435">
                  <c:v>2.5546318307829945</c:v>
                </c:pt>
                <c:pt idx="2436">
                  <c:v>2.5796146543051504</c:v>
                </c:pt>
                <c:pt idx="2437">
                  <c:v>2.6004807247891688</c:v>
                </c:pt>
                <c:pt idx="2438">
                  <c:v>2.6672618383439062</c:v>
                </c:pt>
                <c:pt idx="2439">
                  <c:v>2.5901334345533646</c:v>
                </c:pt>
                <c:pt idx="2440">
                  <c:v>2.665063620734804</c:v>
                </c:pt>
                <c:pt idx="2441">
                  <c:v>2.7413776673693677</c:v>
                </c:pt>
                <c:pt idx="2442">
                  <c:v>2.7699688216164584</c:v>
                </c:pt>
                <c:pt idx="2443">
                  <c:v>2.6583202716502514</c:v>
                </c:pt>
                <c:pt idx="2444">
                  <c:v>2.438123139721299</c:v>
                </c:pt>
                <c:pt idx="2445">
                  <c:v>2.5071326821120348</c:v>
                </c:pt>
                <c:pt idx="2446">
                  <c:v>2.5634797778466232</c:v>
                </c:pt>
                <c:pt idx="2447">
                  <c:v>2.8047578623950176</c:v>
                </c:pt>
                <c:pt idx="2448">
                  <c:v>2.5495097567963922</c:v>
                </c:pt>
                <c:pt idx="2449">
                  <c:v>2.6457513110645907</c:v>
                </c:pt>
                <c:pt idx="2450">
                  <c:v>2.5166114784235831</c:v>
                </c:pt>
                <c:pt idx="2451">
                  <c:v>3.5355339059327378</c:v>
                </c:pt>
              </c:numCache>
            </c:numRef>
          </c:val>
          <c:smooth val="0"/>
          <c:extLst>
            <c:ext xmlns:c16="http://schemas.microsoft.com/office/drawing/2014/chart" uri="{C3380CC4-5D6E-409C-BE32-E72D297353CC}">
              <c16:uniqueId val="{00000004-FC66-2144-AB8E-B2E86AA4D44E}"/>
            </c:ext>
          </c:extLst>
        </c:ser>
        <c:ser>
          <c:idx val="6"/>
          <c:order val="6"/>
          <c:tx>
            <c:strRef>
              <c:f>'DRT Rolling Stdev'!$I$1</c:f>
              <c:strCache>
                <c:ptCount val="1"/>
                <c:pt idx="0">
                  <c:v>Pump Efficiency</c:v>
                </c:pt>
              </c:strCache>
            </c:strRef>
          </c:tx>
          <c:spPr>
            <a:ln w="28575" cap="rnd">
              <a:solidFill>
                <a:schemeClr val="accent1">
                  <a:lumMod val="60000"/>
                </a:schemeClr>
              </a:solidFill>
              <a:round/>
            </a:ln>
            <a:effectLst/>
          </c:spPr>
          <c:marker>
            <c:symbol val="none"/>
          </c:marker>
          <c:cat>
            <c:numRef>
              <c:f>'DRT Rolling Stdev'!$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I$2:$I$2453</c:f>
              <c:numCache>
                <c:formatCode>#,##0.00</c:formatCode>
                <c:ptCount val="2452"/>
                <c:pt idx="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val>
          <c:smooth val="0"/>
          <c:extLst>
            <c:ext xmlns:c16="http://schemas.microsoft.com/office/drawing/2014/chart" uri="{C3380CC4-5D6E-409C-BE32-E72D297353CC}">
              <c16:uniqueId val="{00000005-FC66-2144-AB8E-B2E86AA4D44E}"/>
            </c:ext>
          </c:extLst>
        </c:ser>
        <c:dLbls>
          <c:showLegendKey val="0"/>
          <c:showVal val="0"/>
          <c:showCatName val="0"/>
          <c:showSerName val="0"/>
          <c:showPercent val="0"/>
          <c:showBubbleSize val="0"/>
        </c:dLbls>
        <c:marker val="1"/>
        <c:smooth val="0"/>
        <c:axId val="1411355503"/>
        <c:axId val="2043849983"/>
      </c:lineChart>
      <c:lineChart>
        <c:grouping val="standard"/>
        <c:varyColors val="0"/>
        <c:ser>
          <c:idx val="5"/>
          <c:order val="5"/>
          <c:tx>
            <c:strRef>
              <c:f>'DRT Rolling Stdev'!$H$1</c:f>
              <c:strCache>
                <c:ptCount val="1"/>
                <c:pt idx="0">
                  <c:v>Horse Power</c:v>
                </c:pt>
              </c:strCache>
            </c:strRef>
          </c:tx>
          <c:spPr>
            <a:ln w="28575" cap="rnd">
              <a:solidFill>
                <a:schemeClr val="accent6"/>
              </a:solidFill>
              <a:round/>
            </a:ln>
            <a:effectLst/>
          </c:spPr>
          <c:marker>
            <c:symbol val="none"/>
          </c:marker>
          <c:cat>
            <c:numRef>
              <c:f>'DRT Rolling Stdev'!$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H$2:$H$2453</c:f>
              <c:numCache>
                <c:formatCode>#,##0.00</c:formatCode>
                <c:ptCount val="2452"/>
                <c:pt idx="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val>
          <c:smooth val="0"/>
          <c:extLst>
            <c:ext xmlns:c16="http://schemas.microsoft.com/office/drawing/2014/chart" uri="{C3380CC4-5D6E-409C-BE32-E72D297353CC}">
              <c16:uniqueId val="{00000006-FC66-2144-AB8E-B2E86AA4D44E}"/>
            </c:ext>
          </c:extLst>
        </c:ser>
        <c:ser>
          <c:idx val="7"/>
          <c:order val="7"/>
          <c:tx>
            <c:strRef>
              <c:f>'DRT Rolling Stdev'!$J$1</c:f>
              <c:strCache>
                <c:ptCount val="1"/>
                <c:pt idx="0">
                  <c:v>PUMP FAILURE (1 or 0)</c:v>
                </c:pt>
              </c:strCache>
            </c:strRef>
          </c:tx>
          <c:spPr>
            <a:ln w="28575" cap="rnd">
              <a:solidFill>
                <a:schemeClr val="accent2">
                  <a:lumMod val="60000"/>
                </a:schemeClr>
              </a:solidFill>
              <a:round/>
            </a:ln>
            <a:effectLst/>
          </c:spPr>
          <c:marker>
            <c:symbol val="none"/>
          </c:marker>
          <c:cat>
            <c:numRef>
              <c:f>'DRT Rolling Stdev'!$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J$2:$J$2453</c:f>
              <c:numCache>
                <c:formatCode>General</c:formatCode>
                <c:ptCount val="24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7-FC66-2144-AB8E-B2E86AA4D44E}"/>
            </c:ext>
          </c:extLst>
        </c:ser>
        <c:dLbls>
          <c:showLegendKey val="0"/>
          <c:showVal val="0"/>
          <c:showCatName val="0"/>
          <c:showSerName val="0"/>
          <c:showPercent val="0"/>
          <c:showBubbleSize val="0"/>
        </c:dLbls>
        <c:marker val="1"/>
        <c:smooth val="0"/>
        <c:axId val="1389891023"/>
        <c:axId val="1414370351"/>
      </c:lineChart>
      <c:catAx>
        <c:axId val="1411355503"/>
        <c:scaling>
          <c:orientation val="minMax"/>
        </c:scaling>
        <c:delete val="0"/>
        <c:axPos val="b"/>
        <c:numFmt formatCode="m/d/yy\ h:mm"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2043849983"/>
        <c:crosses val="autoZero"/>
        <c:auto val="0"/>
        <c:lblAlgn val="ctr"/>
        <c:lblOffset val="100"/>
        <c:noMultiLvlLbl val="0"/>
      </c:catAx>
      <c:valAx>
        <c:axId val="2043849983"/>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411355503"/>
        <c:crosses val="autoZero"/>
        <c:crossBetween val="between"/>
      </c:valAx>
      <c:valAx>
        <c:axId val="1414370351"/>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389891023"/>
        <c:crosses val="max"/>
        <c:crossBetween val="between"/>
      </c:valAx>
      <c:dateAx>
        <c:axId val="1389891023"/>
        <c:scaling>
          <c:orientation val="minMax"/>
        </c:scaling>
        <c:delete val="1"/>
        <c:axPos val="b"/>
        <c:numFmt formatCode="m/d/yy\ h:mm" sourceLinked="1"/>
        <c:majorTickMark val="out"/>
        <c:minorTickMark val="none"/>
        <c:tickLblPos val="nextTo"/>
        <c:crossAx val="1414370351"/>
        <c:crosses val="autoZero"/>
        <c:auto val="1"/>
        <c:lblOffset val="100"/>
        <c:baseTimeUnit val="day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Rolling</a:t>
            </a:r>
            <a:r>
              <a:rPr lang="en-US" baseline="0"/>
              <a:t> Mean</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RT Rolling Mean'!$C$1</c:f>
              <c:strCache>
                <c:ptCount val="1"/>
                <c:pt idx="0">
                  <c:v>Volumetric Flow Meter 1</c:v>
                </c:pt>
              </c:strCache>
            </c:strRef>
          </c:tx>
          <c:spPr>
            <a:ln w="28575" cap="rnd">
              <a:solidFill>
                <a:schemeClr val="accent1"/>
              </a:solidFill>
              <a:round/>
            </a:ln>
            <a:effectLst/>
          </c:spPr>
          <c:marker>
            <c:symbol val="none"/>
          </c:marker>
          <c:cat>
            <c:numRef>
              <c:f>'DRT Rolling Mean'!$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C$2:$C$2453</c:f>
              <c:numCache>
                <c:formatCode>#,##0.00</c:formatCode>
                <c:ptCount val="2452"/>
                <c:pt idx="0">
                  <c:v>41.781612903225806</c:v>
                </c:pt>
                <c:pt idx="1">
                  <c:v>41.786451612903221</c:v>
                </c:pt>
                <c:pt idx="2">
                  <c:v>41.785161290322577</c:v>
                </c:pt>
                <c:pt idx="3">
                  <c:v>41.828064516129025</c:v>
                </c:pt>
                <c:pt idx="4">
                  <c:v>41.821612903225805</c:v>
                </c:pt>
                <c:pt idx="5">
                  <c:v>41.806774193548385</c:v>
                </c:pt>
                <c:pt idx="6">
                  <c:v>41.823870967741925</c:v>
                </c:pt>
                <c:pt idx="7">
                  <c:v>41.806129032258056</c:v>
                </c:pt>
                <c:pt idx="8">
                  <c:v>41.84774193548386</c:v>
                </c:pt>
                <c:pt idx="9">
                  <c:v>41.904193548387092</c:v>
                </c:pt>
                <c:pt idx="10">
                  <c:v>41.99903225806451</c:v>
                </c:pt>
                <c:pt idx="11">
                  <c:v>42.123225806451607</c:v>
                </c:pt>
                <c:pt idx="12">
                  <c:v>42.057419354838693</c:v>
                </c:pt>
                <c:pt idx="13">
                  <c:v>42.107419354838697</c:v>
                </c:pt>
                <c:pt idx="14">
                  <c:v>42.071290322580637</c:v>
                </c:pt>
                <c:pt idx="15">
                  <c:v>41.996451612903222</c:v>
                </c:pt>
                <c:pt idx="16">
                  <c:v>42.008064516129025</c:v>
                </c:pt>
                <c:pt idx="17">
                  <c:v>42.048709677419346</c:v>
                </c:pt>
                <c:pt idx="18">
                  <c:v>42.07322580645161</c:v>
                </c:pt>
                <c:pt idx="19">
                  <c:v>42.083548387096776</c:v>
                </c:pt>
                <c:pt idx="20">
                  <c:v>42.024193548387096</c:v>
                </c:pt>
                <c:pt idx="21">
                  <c:v>42.02774193548386</c:v>
                </c:pt>
                <c:pt idx="22">
                  <c:v>42.057096774193532</c:v>
                </c:pt>
                <c:pt idx="23">
                  <c:v>41.960322580645155</c:v>
                </c:pt>
                <c:pt idx="24">
                  <c:v>41.97677419354838</c:v>
                </c:pt>
                <c:pt idx="25">
                  <c:v>41.927419354838705</c:v>
                </c:pt>
                <c:pt idx="26">
                  <c:v>41.969999999999992</c:v>
                </c:pt>
                <c:pt idx="27">
                  <c:v>41.962258064516114</c:v>
                </c:pt>
                <c:pt idx="28">
                  <c:v>41.977419354838709</c:v>
                </c:pt>
                <c:pt idx="29">
                  <c:v>41.922258064516129</c:v>
                </c:pt>
                <c:pt idx="30">
                  <c:v>42.004516129032261</c:v>
                </c:pt>
                <c:pt idx="31">
                  <c:v>42.115483870967736</c:v>
                </c:pt>
                <c:pt idx="32">
                  <c:v>42.142903225806457</c:v>
                </c:pt>
                <c:pt idx="33">
                  <c:v>42.112580645161295</c:v>
                </c:pt>
                <c:pt idx="34">
                  <c:v>42.032258064516135</c:v>
                </c:pt>
                <c:pt idx="35">
                  <c:v>42.085161290322581</c:v>
                </c:pt>
                <c:pt idx="36">
                  <c:v>42.127419354838715</c:v>
                </c:pt>
                <c:pt idx="37">
                  <c:v>42.04548387096775</c:v>
                </c:pt>
                <c:pt idx="38">
                  <c:v>42.057419354838714</c:v>
                </c:pt>
                <c:pt idx="39">
                  <c:v>42.050645161290326</c:v>
                </c:pt>
                <c:pt idx="40">
                  <c:v>42.002580645161295</c:v>
                </c:pt>
                <c:pt idx="41">
                  <c:v>41.985483870967741</c:v>
                </c:pt>
                <c:pt idx="42">
                  <c:v>41.911612903225816</c:v>
                </c:pt>
                <c:pt idx="43">
                  <c:v>41.908064516129038</c:v>
                </c:pt>
                <c:pt idx="44">
                  <c:v>41.8241935483871</c:v>
                </c:pt>
                <c:pt idx="45">
                  <c:v>41.824838709677422</c:v>
                </c:pt>
                <c:pt idx="46">
                  <c:v>41.851290322580645</c:v>
                </c:pt>
                <c:pt idx="47">
                  <c:v>41.865483870967743</c:v>
                </c:pt>
                <c:pt idx="48">
                  <c:v>41.86</c:v>
                </c:pt>
                <c:pt idx="49">
                  <c:v>41.848064516129028</c:v>
                </c:pt>
                <c:pt idx="50">
                  <c:v>41.883870967741935</c:v>
                </c:pt>
                <c:pt idx="51">
                  <c:v>41.94580645161291</c:v>
                </c:pt>
                <c:pt idx="52">
                  <c:v>41.903548387096784</c:v>
                </c:pt>
                <c:pt idx="53">
                  <c:v>41.872903225806461</c:v>
                </c:pt>
                <c:pt idx="54">
                  <c:v>41.984516129032265</c:v>
                </c:pt>
                <c:pt idx="55">
                  <c:v>41.967419354838711</c:v>
                </c:pt>
                <c:pt idx="56">
                  <c:v>42.060322580645156</c:v>
                </c:pt>
                <c:pt idx="57">
                  <c:v>42.026129032258062</c:v>
                </c:pt>
                <c:pt idx="58">
                  <c:v>42.038387096774194</c:v>
                </c:pt>
                <c:pt idx="59">
                  <c:v>42.077741935483871</c:v>
                </c:pt>
                <c:pt idx="60">
                  <c:v>42.069354838709671</c:v>
                </c:pt>
                <c:pt idx="61">
                  <c:v>42.013870967741923</c:v>
                </c:pt>
                <c:pt idx="62">
                  <c:v>41.998709677419349</c:v>
                </c:pt>
                <c:pt idx="63">
                  <c:v>41.951935483870969</c:v>
                </c:pt>
                <c:pt idx="64">
                  <c:v>41.962580645161296</c:v>
                </c:pt>
                <c:pt idx="65">
                  <c:v>42.04774193548387</c:v>
                </c:pt>
                <c:pt idx="66">
                  <c:v>42.029032258064518</c:v>
                </c:pt>
                <c:pt idx="67">
                  <c:v>41.999677419354839</c:v>
                </c:pt>
                <c:pt idx="68">
                  <c:v>42.031935483870974</c:v>
                </c:pt>
                <c:pt idx="69">
                  <c:v>42.058387096774197</c:v>
                </c:pt>
                <c:pt idx="70">
                  <c:v>42.005806451612912</c:v>
                </c:pt>
                <c:pt idx="71">
                  <c:v>42.07096774193549</c:v>
                </c:pt>
                <c:pt idx="72">
                  <c:v>42.030322580645169</c:v>
                </c:pt>
                <c:pt idx="73">
                  <c:v>42.036774193548396</c:v>
                </c:pt>
                <c:pt idx="74">
                  <c:v>42.123225806451629</c:v>
                </c:pt>
                <c:pt idx="75">
                  <c:v>42.180322580645168</c:v>
                </c:pt>
                <c:pt idx="76">
                  <c:v>42.182580645161295</c:v>
                </c:pt>
                <c:pt idx="77">
                  <c:v>42.233548387096775</c:v>
                </c:pt>
                <c:pt idx="78">
                  <c:v>42.267419354838715</c:v>
                </c:pt>
                <c:pt idx="79">
                  <c:v>42.238064516129036</c:v>
                </c:pt>
                <c:pt idx="80">
                  <c:v>42.167096774193546</c:v>
                </c:pt>
                <c:pt idx="81">
                  <c:v>42.192903225806454</c:v>
                </c:pt>
                <c:pt idx="82">
                  <c:v>42.252580645161288</c:v>
                </c:pt>
                <c:pt idx="83">
                  <c:v>42.198709677419366</c:v>
                </c:pt>
                <c:pt idx="84">
                  <c:v>42.27</c:v>
                </c:pt>
                <c:pt idx="85">
                  <c:v>42.174838709677424</c:v>
                </c:pt>
                <c:pt idx="86">
                  <c:v>42.119677419354836</c:v>
                </c:pt>
                <c:pt idx="87">
                  <c:v>42.10709677419355</c:v>
                </c:pt>
                <c:pt idx="88">
                  <c:v>42.089354838709674</c:v>
                </c:pt>
                <c:pt idx="89">
                  <c:v>42.00322580645161</c:v>
                </c:pt>
                <c:pt idx="90">
                  <c:v>41.92258064516129</c:v>
                </c:pt>
                <c:pt idx="91">
                  <c:v>42.017741935483862</c:v>
                </c:pt>
                <c:pt idx="92">
                  <c:v>42.062903225806451</c:v>
                </c:pt>
                <c:pt idx="93">
                  <c:v>42.053870967741922</c:v>
                </c:pt>
                <c:pt idx="94">
                  <c:v>42.113225806451602</c:v>
                </c:pt>
                <c:pt idx="95">
                  <c:v>42.176451612903222</c:v>
                </c:pt>
                <c:pt idx="96">
                  <c:v>42.130967741935486</c:v>
                </c:pt>
                <c:pt idx="97">
                  <c:v>42.084193548387091</c:v>
                </c:pt>
                <c:pt idx="98">
                  <c:v>42.19483870967742</c:v>
                </c:pt>
                <c:pt idx="99">
                  <c:v>42.170645161290331</c:v>
                </c:pt>
                <c:pt idx="100">
                  <c:v>42.055483870967741</c:v>
                </c:pt>
                <c:pt idx="101">
                  <c:v>42.172258064516136</c:v>
                </c:pt>
                <c:pt idx="102">
                  <c:v>42.09129032258064</c:v>
                </c:pt>
                <c:pt idx="103">
                  <c:v>42.049677419354836</c:v>
                </c:pt>
                <c:pt idx="104">
                  <c:v>42.060322580645156</c:v>
                </c:pt>
                <c:pt idx="105">
                  <c:v>42.01</c:v>
                </c:pt>
                <c:pt idx="106">
                  <c:v>41.989999999999995</c:v>
                </c:pt>
                <c:pt idx="107">
                  <c:v>41.955161290322579</c:v>
                </c:pt>
                <c:pt idx="108">
                  <c:v>41.927096774193544</c:v>
                </c:pt>
                <c:pt idx="109">
                  <c:v>41.906451612903226</c:v>
                </c:pt>
                <c:pt idx="110">
                  <c:v>41.941935483870964</c:v>
                </c:pt>
                <c:pt idx="111">
                  <c:v>42.058709677419351</c:v>
                </c:pt>
                <c:pt idx="112">
                  <c:v>41.996451612903229</c:v>
                </c:pt>
                <c:pt idx="113">
                  <c:v>41.912580645161299</c:v>
                </c:pt>
                <c:pt idx="114">
                  <c:v>41.939677419354844</c:v>
                </c:pt>
                <c:pt idx="115">
                  <c:v>41.873225806451607</c:v>
                </c:pt>
                <c:pt idx="116">
                  <c:v>41.886129032258076</c:v>
                </c:pt>
                <c:pt idx="117">
                  <c:v>41.945161290322588</c:v>
                </c:pt>
                <c:pt idx="118">
                  <c:v>41.951612903225815</c:v>
                </c:pt>
                <c:pt idx="119">
                  <c:v>41.99774193548388</c:v>
                </c:pt>
                <c:pt idx="120">
                  <c:v>42.048064516129031</c:v>
                </c:pt>
                <c:pt idx="121">
                  <c:v>42.064838709677424</c:v>
                </c:pt>
                <c:pt idx="122">
                  <c:v>42</c:v>
                </c:pt>
                <c:pt idx="123">
                  <c:v>41.900645161290321</c:v>
                </c:pt>
                <c:pt idx="124">
                  <c:v>41.849677419354833</c:v>
                </c:pt>
                <c:pt idx="125">
                  <c:v>41.77870967741935</c:v>
                </c:pt>
                <c:pt idx="126">
                  <c:v>41.727096774193541</c:v>
                </c:pt>
                <c:pt idx="127">
                  <c:v>41.715806451612906</c:v>
                </c:pt>
                <c:pt idx="128">
                  <c:v>41.792580645161287</c:v>
                </c:pt>
                <c:pt idx="129">
                  <c:v>41.74258064516129</c:v>
                </c:pt>
                <c:pt idx="130">
                  <c:v>41.734516129032258</c:v>
                </c:pt>
                <c:pt idx="131">
                  <c:v>41.741935483870968</c:v>
                </c:pt>
                <c:pt idx="132">
                  <c:v>41.708387096774189</c:v>
                </c:pt>
                <c:pt idx="133">
                  <c:v>41.810645161290317</c:v>
                </c:pt>
                <c:pt idx="134">
                  <c:v>41.888064516129035</c:v>
                </c:pt>
                <c:pt idx="135">
                  <c:v>41.816451612903222</c:v>
                </c:pt>
                <c:pt idx="136">
                  <c:v>41.767096774193547</c:v>
                </c:pt>
                <c:pt idx="137">
                  <c:v>41.766129032258057</c:v>
                </c:pt>
                <c:pt idx="138">
                  <c:v>41.749677419354832</c:v>
                </c:pt>
                <c:pt idx="139">
                  <c:v>41.763870967741937</c:v>
                </c:pt>
                <c:pt idx="140">
                  <c:v>41.810645161290317</c:v>
                </c:pt>
                <c:pt idx="141">
                  <c:v>41.814838709677417</c:v>
                </c:pt>
                <c:pt idx="142">
                  <c:v>41.702903225806452</c:v>
                </c:pt>
                <c:pt idx="143">
                  <c:v>41.733548387096775</c:v>
                </c:pt>
                <c:pt idx="144">
                  <c:v>41.713870967741933</c:v>
                </c:pt>
                <c:pt idx="145">
                  <c:v>41.802903225806446</c:v>
                </c:pt>
                <c:pt idx="146">
                  <c:v>41.818709677419349</c:v>
                </c:pt>
                <c:pt idx="147">
                  <c:v>41.899677419354845</c:v>
                </c:pt>
                <c:pt idx="148">
                  <c:v>41.861935483870965</c:v>
                </c:pt>
                <c:pt idx="149">
                  <c:v>41.770645161290318</c:v>
                </c:pt>
                <c:pt idx="150">
                  <c:v>41.765806451612896</c:v>
                </c:pt>
                <c:pt idx="151">
                  <c:v>41.734516129032251</c:v>
                </c:pt>
                <c:pt idx="152">
                  <c:v>41.720645161290321</c:v>
                </c:pt>
                <c:pt idx="153">
                  <c:v>41.773548387096774</c:v>
                </c:pt>
                <c:pt idx="154">
                  <c:v>41.856774193548375</c:v>
                </c:pt>
                <c:pt idx="155">
                  <c:v>41.830322580645159</c:v>
                </c:pt>
                <c:pt idx="156">
                  <c:v>41.849032258064511</c:v>
                </c:pt>
                <c:pt idx="157">
                  <c:v>41.864193548387092</c:v>
                </c:pt>
                <c:pt idx="158">
                  <c:v>41.835806451612903</c:v>
                </c:pt>
                <c:pt idx="159">
                  <c:v>41.81483870967741</c:v>
                </c:pt>
                <c:pt idx="160">
                  <c:v>41.863870967741924</c:v>
                </c:pt>
                <c:pt idx="161">
                  <c:v>41.988709677419337</c:v>
                </c:pt>
                <c:pt idx="162">
                  <c:v>42.032903225806443</c:v>
                </c:pt>
                <c:pt idx="163">
                  <c:v>42.056774193548371</c:v>
                </c:pt>
                <c:pt idx="164">
                  <c:v>42.004516129032261</c:v>
                </c:pt>
                <c:pt idx="165">
                  <c:v>42.017741935483876</c:v>
                </c:pt>
                <c:pt idx="166">
                  <c:v>42.049354838709682</c:v>
                </c:pt>
                <c:pt idx="167">
                  <c:v>42.055806451612916</c:v>
                </c:pt>
                <c:pt idx="168">
                  <c:v>42.01483870967742</c:v>
                </c:pt>
                <c:pt idx="169">
                  <c:v>42.117096774193563</c:v>
                </c:pt>
                <c:pt idx="170">
                  <c:v>42.159032258064535</c:v>
                </c:pt>
                <c:pt idx="171">
                  <c:v>42.097419354838721</c:v>
                </c:pt>
                <c:pt idx="172">
                  <c:v>42.06</c:v>
                </c:pt>
                <c:pt idx="173">
                  <c:v>42.103548387096779</c:v>
                </c:pt>
                <c:pt idx="174">
                  <c:v>42.123548387096783</c:v>
                </c:pt>
                <c:pt idx="175">
                  <c:v>42.140322580645162</c:v>
                </c:pt>
                <c:pt idx="176">
                  <c:v>42.146451612903228</c:v>
                </c:pt>
                <c:pt idx="177">
                  <c:v>42.118709677419353</c:v>
                </c:pt>
                <c:pt idx="178">
                  <c:v>42.054193548387097</c:v>
                </c:pt>
                <c:pt idx="179">
                  <c:v>42.085806451612903</c:v>
                </c:pt>
                <c:pt idx="180">
                  <c:v>42.077096774193549</c:v>
                </c:pt>
                <c:pt idx="181">
                  <c:v>42.054516129032258</c:v>
                </c:pt>
                <c:pt idx="182">
                  <c:v>42.006774193548395</c:v>
                </c:pt>
                <c:pt idx="183">
                  <c:v>42.111612903225812</c:v>
                </c:pt>
                <c:pt idx="184">
                  <c:v>42.063548387096773</c:v>
                </c:pt>
                <c:pt idx="185">
                  <c:v>42.082580645161286</c:v>
                </c:pt>
                <c:pt idx="186">
                  <c:v>42.115806451612904</c:v>
                </c:pt>
                <c:pt idx="187">
                  <c:v>42.140322580645162</c:v>
                </c:pt>
                <c:pt idx="188">
                  <c:v>42.081290322580635</c:v>
                </c:pt>
                <c:pt idx="189">
                  <c:v>42.147741935483864</c:v>
                </c:pt>
                <c:pt idx="190">
                  <c:v>42.118709677419346</c:v>
                </c:pt>
                <c:pt idx="191">
                  <c:v>42.072903225806449</c:v>
                </c:pt>
                <c:pt idx="192">
                  <c:v>42.043225806451609</c:v>
                </c:pt>
                <c:pt idx="193">
                  <c:v>41.999677419354832</c:v>
                </c:pt>
                <c:pt idx="194">
                  <c:v>41.985161290322587</c:v>
                </c:pt>
                <c:pt idx="195">
                  <c:v>41.954516129032264</c:v>
                </c:pt>
                <c:pt idx="196">
                  <c:v>41.941935483870978</c:v>
                </c:pt>
                <c:pt idx="197">
                  <c:v>42.010967741935488</c:v>
                </c:pt>
                <c:pt idx="198">
                  <c:v>42.071935483870973</c:v>
                </c:pt>
                <c:pt idx="199">
                  <c:v>42.196129032258071</c:v>
                </c:pt>
                <c:pt idx="200">
                  <c:v>42.127096774193554</c:v>
                </c:pt>
                <c:pt idx="201">
                  <c:v>42.085161290322588</c:v>
                </c:pt>
                <c:pt idx="202">
                  <c:v>42.180645161290336</c:v>
                </c:pt>
                <c:pt idx="203">
                  <c:v>42.172258064516143</c:v>
                </c:pt>
                <c:pt idx="204">
                  <c:v>42.219354838709691</c:v>
                </c:pt>
                <c:pt idx="205">
                  <c:v>42.22129032258065</c:v>
                </c:pt>
                <c:pt idx="206">
                  <c:v>42.267741935483876</c:v>
                </c:pt>
                <c:pt idx="207">
                  <c:v>42.203870967741942</c:v>
                </c:pt>
                <c:pt idx="208">
                  <c:v>42.3</c:v>
                </c:pt>
                <c:pt idx="209">
                  <c:v>42.285483870967738</c:v>
                </c:pt>
                <c:pt idx="210">
                  <c:v>42.248709677419356</c:v>
                </c:pt>
                <c:pt idx="211">
                  <c:v>42.281612903225806</c:v>
                </c:pt>
                <c:pt idx="212">
                  <c:v>42.345806451612894</c:v>
                </c:pt>
                <c:pt idx="213">
                  <c:v>42.42677419354839</c:v>
                </c:pt>
                <c:pt idx="214">
                  <c:v>42.423225806451612</c:v>
                </c:pt>
                <c:pt idx="215">
                  <c:v>42.434193548387086</c:v>
                </c:pt>
                <c:pt idx="216">
                  <c:v>42.395161290322577</c:v>
                </c:pt>
                <c:pt idx="217">
                  <c:v>42.464193548387094</c:v>
                </c:pt>
                <c:pt idx="218">
                  <c:v>42.553870967741929</c:v>
                </c:pt>
                <c:pt idx="219">
                  <c:v>42.630967741935486</c:v>
                </c:pt>
                <c:pt idx="220">
                  <c:v>42.621612903225802</c:v>
                </c:pt>
                <c:pt idx="221">
                  <c:v>42.634516129032264</c:v>
                </c:pt>
                <c:pt idx="222">
                  <c:v>42.668709677419365</c:v>
                </c:pt>
                <c:pt idx="223">
                  <c:v>42.715806451612906</c:v>
                </c:pt>
                <c:pt idx="224">
                  <c:v>42.815483870967746</c:v>
                </c:pt>
                <c:pt idx="225">
                  <c:v>42.808064516129036</c:v>
                </c:pt>
                <c:pt idx="226">
                  <c:v>42.854516129032262</c:v>
                </c:pt>
                <c:pt idx="227">
                  <c:v>42.924193548387109</c:v>
                </c:pt>
                <c:pt idx="228">
                  <c:v>42.895161290322598</c:v>
                </c:pt>
                <c:pt idx="229">
                  <c:v>42.922580645161297</c:v>
                </c:pt>
                <c:pt idx="230">
                  <c:v>42.925161290322592</c:v>
                </c:pt>
                <c:pt idx="231">
                  <c:v>42.940000000000012</c:v>
                </c:pt>
                <c:pt idx="232">
                  <c:v>42.981290322580655</c:v>
                </c:pt>
                <c:pt idx="233">
                  <c:v>42.921290322580653</c:v>
                </c:pt>
                <c:pt idx="234">
                  <c:v>42.982580645161292</c:v>
                </c:pt>
                <c:pt idx="235">
                  <c:v>42.965483870967745</c:v>
                </c:pt>
                <c:pt idx="236">
                  <c:v>42.934193548387107</c:v>
                </c:pt>
                <c:pt idx="237">
                  <c:v>42.950322580645171</c:v>
                </c:pt>
                <c:pt idx="238">
                  <c:v>43.037741935483879</c:v>
                </c:pt>
                <c:pt idx="239">
                  <c:v>42.998387096774209</c:v>
                </c:pt>
                <c:pt idx="240">
                  <c:v>43.04645161290324</c:v>
                </c:pt>
                <c:pt idx="241">
                  <c:v>43.104516129032262</c:v>
                </c:pt>
                <c:pt idx="242">
                  <c:v>43.178387096774202</c:v>
                </c:pt>
                <c:pt idx="243">
                  <c:v>43.20129032258064</c:v>
                </c:pt>
                <c:pt idx="244">
                  <c:v>43.273225806451613</c:v>
                </c:pt>
                <c:pt idx="245">
                  <c:v>43.289032258064509</c:v>
                </c:pt>
                <c:pt idx="246">
                  <c:v>43.379354838709659</c:v>
                </c:pt>
                <c:pt idx="247">
                  <c:v>43.415483870967734</c:v>
                </c:pt>
                <c:pt idx="248">
                  <c:v>43.402580645161279</c:v>
                </c:pt>
                <c:pt idx="249">
                  <c:v>43.405161290322575</c:v>
                </c:pt>
                <c:pt idx="250">
                  <c:v>43.427741935483866</c:v>
                </c:pt>
                <c:pt idx="251">
                  <c:v>43.449354838709667</c:v>
                </c:pt>
                <c:pt idx="252">
                  <c:v>43.474193548387092</c:v>
                </c:pt>
                <c:pt idx="253">
                  <c:v>43.444516129032259</c:v>
                </c:pt>
                <c:pt idx="254">
                  <c:v>43.369032258064507</c:v>
                </c:pt>
                <c:pt idx="255">
                  <c:v>43.362258064516119</c:v>
                </c:pt>
                <c:pt idx="256">
                  <c:v>43.335806451612889</c:v>
                </c:pt>
                <c:pt idx="257">
                  <c:v>43.370322580645144</c:v>
                </c:pt>
                <c:pt idx="258">
                  <c:v>43.258387096774186</c:v>
                </c:pt>
                <c:pt idx="259">
                  <c:v>43.250967741935483</c:v>
                </c:pt>
                <c:pt idx="260">
                  <c:v>43.240322580645163</c:v>
                </c:pt>
                <c:pt idx="261">
                  <c:v>43.140967741935491</c:v>
                </c:pt>
                <c:pt idx="262">
                  <c:v>43.156451612903233</c:v>
                </c:pt>
                <c:pt idx="263">
                  <c:v>43.038064516129047</c:v>
                </c:pt>
                <c:pt idx="264">
                  <c:v>43.027741935483888</c:v>
                </c:pt>
                <c:pt idx="265">
                  <c:v>43.038387096774208</c:v>
                </c:pt>
                <c:pt idx="266">
                  <c:v>43.003548387096785</c:v>
                </c:pt>
                <c:pt idx="267">
                  <c:v>43.055483870967755</c:v>
                </c:pt>
                <c:pt idx="268">
                  <c:v>43.041612903225811</c:v>
                </c:pt>
                <c:pt idx="269">
                  <c:v>42.949354838709681</c:v>
                </c:pt>
                <c:pt idx="270">
                  <c:v>42.94161290322581</c:v>
                </c:pt>
                <c:pt idx="271">
                  <c:v>42.975806451612897</c:v>
                </c:pt>
                <c:pt idx="272">
                  <c:v>42.873548387096783</c:v>
                </c:pt>
                <c:pt idx="273">
                  <c:v>42.872903225806446</c:v>
                </c:pt>
                <c:pt idx="274">
                  <c:v>42.778064516129028</c:v>
                </c:pt>
                <c:pt idx="275">
                  <c:v>42.70548387096774</c:v>
                </c:pt>
                <c:pt idx="276">
                  <c:v>42.667741935483882</c:v>
                </c:pt>
                <c:pt idx="277">
                  <c:v>42.597741935483874</c:v>
                </c:pt>
                <c:pt idx="278">
                  <c:v>42.584193548387098</c:v>
                </c:pt>
                <c:pt idx="279">
                  <c:v>42.533548387096779</c:v>
                </c:pt>
                <c:pt idx="280">
                  <c:v>42.398064516129047</c:v>
                </c:pt>
                <c:pt idx="281">
                  <c:v>42.305161290322602</c:v>
                </c:pt>
                <c:pt idx="282">
                  <c:v>42.279354838709686</c:v>
                </c:pt>
                <c:pt idx="283">
                  <c:v>42.25516129032259</c:v>
                </c:pt>
                <c:pt idx="284">
                  <c:v>42.189032258064522</c:v>
                </c:pt>
                <c:pt idx="285">
                  <c:v>42.179677419354846</c:v>
                </c:pt>
                <c:pt idx="286">
                  <c:v>42.197419354838708</c:v>
                </c:pt>
                <c:pt idx="287">
                  <c:v>42.150967741935489</c:v>
                </c:pt>
                <c:pt idx="288">
                  <c:v>42.141935483870974</c:v>
                </c:pt>
                <c:pt idx="289">
                  <c:v>42.152903225806455</c:v>
                </c:pt>
                <c:pt idx="290">
                  <c:v>42.190967741935495</c:v>
                </c:pt>
                <c:pt idx="291">
                  <c:v>42.149032258064523</c:v>
                </c:pt>
                <c:pt idx="292">
                  <c:v>42.141290322580652</c:v>
                </c:pt>
                <c:pt idx="293">
                  <c:v>42.079032258064515</c:v>
                </c:pt>
                <c:pt idx="294">
                  <c:v>42.188064516129032</c:v>
                </c:pt>
                <c:pt idx="295">
                  <c:v>42.134193548387096</c:v>
                </c:pt>
                <c:pt idx="296">
                  <c:v>42.025806451612901</c:v>
                </c:pt>
                <c:pt idx="297">
                  <c:v>42.097419354838706</c:v>
                </c:pt>
                <c:pt idx="298">
                  <c:v>41.986774193548385</c:v>
                </c:pt>
                <c:pt idx="299">
                  <c:v>41.961612903225799</c:v>
                </c:pt>
                <c:pt idx="300">
                  <c:v>42.008064516129025</c:v>
                </c:pt>
                <c:pt idx="301">
                  <c:v>41.994193548387095</c:v>
                </c:pt>
                <c:pt idx="302">
                  <c:v>41.8732258064516</c:v>
                </c:pt>
                <c:pt idx="303">
                  <c:v>41.892580645161281</c:v>
                </c:pt>
                <c:pt idx="304">
                  <c:v>41.856129032258046</c:v>
                </c:pt>
                <c:pt idx="305">
                  <c:v>41.881935483870969</c:v>
                </c:pt>
                <c:pt idx="306">
                  <c:v>41.850967741935477</c:v>
                </c:pt>
                <c:pt idx="307">
                  <c:v>41.821290322580644</c:v>
                </c:pt>
                <c:pt idx="308">
                  <c:v>41.765483870967742</c:v>
                </c:pt>
                <c:pt idx="309">
                  <c:v>41.764838709677427</c:v>
                </c:pt>
                <c:pt idx="310">
                  <c:v>41.813870967741941</c:v>
                </c:pt>
                <c:pt idx="311">
                  <c:v>41.881935483870976</c:v>
                </c:pt>
                <c:pt idx="312">
                  <c:v>41.865161290322575</c:v>
                </c:pt>
                <c:pt idx="313">
                  <c:v>41.915806451612902</c:v>
                </c:pt>
                <c:pt idx="314">
                  <c:v>41.862580645161287</c:v>
                </c:pt>
                <c:pt idx="315">
                  <c:v>41.94903225806452</c:v>
                </c:pt>
                <c:pt idx="316">
                  <c:v>41.994193548387095</c:v>
                </c:pt>
                <c:pt idx="317">
                  <c:v>41.962258064516128</c:v>
                </c:pt>
                <c:pt idx="318">
                  <c:v>41.954838709677425</c:v>
                </c:pt>
                <c:pt idx="319">
                  <c:v>41.893225806451618</c:v>
                </c:pt>
                <c:pt idx="320">
                  <c:v>41.925161290322585</c:v>
                </c:pt>
                <c:pt idx="321">
                  <c:v>41.937096774193549</c:v>
                </c:pt>
                <c:pt idx="322">
                  <c:v>41.992258064516122</c:v>
                </c:pt>
                <c:pt idx="323">
                  <c:v>41.986451612903224</c:v>
                </c:pt>
                <c:pt idx="324">
                  <c:v>42.046451612903226</c:v>
                </c:pt>
                <c:pt idx="325">
                  <c:v>42.0616129032258</c:v>
                </c:pt>
                <c:pt idx="326">
                  <c:v>42.124838709677412</c:v>
                </c:pt>
                <c:pt idx="327">
                  <c:v>42.16096774193548</c:v>
                </c:pt>
                <c:pt idx="328">
                  <c:v>42.073225806451603</c:v>
                </c:pt>
                <c:pt idx="329">
                  <c:v>42.143870967741933</c:v>
                </c:pt>
                <c:pt idx="330">
                  <c:v>42.19483870967742</c:v>
                </c:pt>
                <c:pt idx="331">
                  <c:v>42.097096774193545</c:v>
                </c:pt>
                <c:pt idx="332">
                  <c:v>42.089677419354835</c:v>
                </c:pt>
                <c:pt idx="333">
                  <c:v>42.11</c:v>
                </c:pt>
                <c:pt idx="334">
                  <c:v>42.094838709677418</c:v>
                </c:pt>
                <c:pt idx="335">
                  <c:v>42.031612903225806</c:v>
                </c:pt>
                <c:pt idx="336">
                  <c:v>42.066129032258068</c:v>
                </c:pt>
                <c:pt idx="337">
                  <c:v>42.076774193548381</c:v>
                </c:pt>
                <c:pt idx="338">
                  <c:v>42.115483870967743</c:v>
                </c:pt>
                <c:pt idx="339">
                  <c:v>42.194193548387105</c:v>
                </c:pt>
                <c:pt idx="340">
                  <c:v>42.120000000000012</c:v>
                </c:pt>
                <c:pt idx="341">
                  <c:v>42.13741935483872</c:v>
                </c:pt>
                <c:pt idx="342">
                  <c:v>42.062258064516129</c:v>
                </c:pt>
                <c:pt idx="343">
                  <c:v>42.163548387096782</c:v>
                </c:pt>
                <c:pt idx="344">
                  <c:v>42.164516129032265</c:v>
                </c:pt>
                <c:pt idx="345">
                  <c:v>42.163548387096775</c:v>
                </c:pt>
                <c:pt idx="346">
                  <c:v>42.069354838709678</c:v>
                </c:pt>
                <c:pt idx="347">
                  <c:v>42.091290322580633</c:v>
                </c:pt>
                <c:pt idx="348">
                  <c:v>42.11354838709677</c:v>
                </c:pt>
                <c:pt idx="349">
                  <c:v>42.168709677419358</c:v>
                </c:pt>
                <c:pt idx="350">
                  <c:v>42.231290322580648</c:v>
                </c:pt>
                <c:pt idx="351">
                  <c:v>42.226774193548394</c:v>
                </c:pt>
                <c:pt idx="352">
                  <c:v>42.216129032258067</c:v>
                </c:pt>
                <c:pt idx="353">
                  <c:v>42.143548387096779</c:v>
                </c:pt>
                <c:pt idx="354">
                  <c:v>42.147741935483872</c:v>
                </c:pt>
                <c:pt idx="355">
                  <c:v>42.119032258064507</c:v>
                </c:pt>
                <c:pt idx="356">
                  <c:v>42.063225806451605</c:v>
                </c:pt>
                <c:pt idx="357">
                  <c:v>42.12096774193548</c:v>
                </c:pt>
                <c:pt idx="358">
                  <c:v>42.111612903225797</c:v>
                </c:pt>
                <c:pt idx="359">
                  <c:v>42.115483870967736</c:v>
                </c:pt>
                <c:pt idx="360">
                  <c:v>42.138387096774203</c:v>
                </c:pt>
                <c:pt idx="361">
                  <c:v>42.130645161290339</c:v>
                </c:pt>
                <c:pt idx="362">
                  <c:v>42.231935483870977</c:v>
                </c:pt>
                <c:pt idx="363">
                  <c:v>42.186774193548395</c:v>
                </c:pt>
                <c:pt idx="364">
                  <c:v>42.206129032258069</c:v>
                </c:pt>
                <c:pt idx="365">
                  <c:v>42.200322580645164</c:v>
                </c:pt>
                <c:pt idx="366">
                  <c:v>42.277096774193552</c:v>
                </c:pt>
                <c:pt idx="367">
                  <c:v>42.217741935483879</c:v>
                </c:pt>
                <c:pt idx="368">
                  <c:v>42.180000000000007</c:v>
                </c:pt>
                <c:pt idx="369">
                  <c:v>42.165806451612909</c:v>
                </c:pt>
                <c:pt idx="370">
                  <c:v>42.104193548387094</c:v>
                </c:pt>
                <c:pt idx="371">
                  <c:v>42.193225806451615</c:v>
                </c:pt>
                <c:pt idx="372">
                  <c:v>42.150322580645167</c:v>
                </c:pt>
                <c:pt idx="373">
                  <c:v>42.214193548387101</c:v>
                </c:pt>
                <c:pt idx="374">
                  <c:v>42.217096774193557</c:v>
                </c:pt>
                <c:pt idx="375">
                  <c:v>42.187419354838717</c:v>
                </c:pt>
                <c:pt idx="376">
                  <c:v>42.181290322580658</c:v>
                </c:pt>
                <c:pt idx="377">
                  <c:v>42.215161290322584</c:v>
                </c:pt>
                <c:pt idx="378">
                  <c:v>42.119354838709675</c:v>
                </c:pt>
                <c:pt idx="379">
                  <c:v>42.101290322580645</c:v>
                </c:pt>
                <c:pt idx="380">
                  <c:v>42.090645161290318</c:v>
                </c:pt>
                <c:pt idx="381">
                  <c:v>41.993870967741934</c:v>
                </c:pt>
                <c:pt idx="382">
                  <c:v>41.957419354838706</c:v>
                </c:pt>
                <c:pt idx="383">
                  <c:v>41.87580645161291</c:v>
                </c:pt>
                <c:pt idx="384">
                  <c:v>41.89806451612904</c:v>
                </c:pt>
                <c:pt idx="385">
                  <c:v>41.961935483870967</c:v>
                </c:pt>
                <c:pt idx="386">
                  <c:v>41.950645161290325</c:v>
                </c:pt>
                <c:pt idx="387">
                  <c:v>42.01</c:v>
                </c:pt>
                <c:pt idx="388">
                  <c:v>41.992258064516129</c:v>
                </c:pt>
                <c:pt idx="389">
                  <c:v>42.012580645161286</c:v>
                </c:pt>
                <c:pt idx="390">
                  <c:v>41.999677419354839</c:v>
                </c:pt>
                <c:pt idx="391">
                  <c:v>41.972580645161287</c:v>
                </c:pt>
                <c:pt idx="392">
                  <c:v>41.955483870967733</c:v>
                </c:pt>
                <c:pt idx="393">
                  <c:v>41.895483870967738</c:v>
                </c:pt>
                <c:pt idx="394">
                  <c:v>41.915161290322573</c:v>
                </c:pt>
                <c:pt idx="395">
                  <c:v>41.966774193548375</c:v>
                </c:pt>
                <c:pt idx="396">
                  <c:v>42.030322580645155</c:v>
                </c:pt>
                <c:pt idx="397">
                  <c:v>42.002580645161281</c:v>
                </c:pt>
                <c:pt idx="398">
                  <c:v>41.985161290322566</c:v>
                </c:pt>
                <c:pt idx="399">
                  <c:v>41.969354838709663</c:v>
                </c:pt>
                <c:pt idx="400">
                  <c:v>41.903225806451609</c:v>
                </c:pt>
                <c:pt idx="401">
                  <c:v>41.893548387096772</c:v>
                </c:pt>
                <c:pt idx="402">
                  <c:v>41.789677419354838</c:v>
                </c:pt>
                <c:pt idx="403">
                  <c:v>41.8</c:v>
                </c:pt>
                <c:pt idx="404">
                  <c:v>41.729032258064514</c:v>
                </c:pt>
                <c:pt idx="405">
                  <c:v>41.611935483870965</c:v>
                </c:pt>
                <c:pt idx="406">
                  <c:v>41.628387096774198</c:v>
                </c:pt>
                <c:pt idx="407">
                  <c:v>41.719677419354838</c:v>
                </c:pt>
                <c:pt idx="408">
                  <c:v>41.722903225806455</c:v>
                </c:pt>
                <c:pt idx="409">
                  <c:v>41.811612903225807</c:v>
                </c:pt>
                <c:pt idx="410">
                  <c:v>41.791290322580643</c:v>
                </c:pt>
                <c:pt idx="411">
                  <c:v>41.746451612903229</c:v>
                </c:pt>
                <c:pt idx="412">
                  <c:v>41.812903225806451</c:v>
                </c:pt>
                <c:pt idx="413">
                  <c:v>41.882580645161305</c:v>
                </c:pt>
                <c:pt idx="414">
                  <c:v>41.877096774193561</c:v>
                </c:pt>
                <c:pt idx="415">
                  <c:v>41.914838709677433</c:v>
                </c:pt>
                <c:pt idx="416">
                  <c:v>41.920967741935492</c:v>
                </c:pt>
                <c:pt idx="417">
                  <c:v>41.887419354838727</c:v>
                </c:pt>
                <c:pt idx="418">
                  <c:v>41.77419354838711</c:v>
                </c:pt>
                <c:pt idx="419">
                  <c:v>41.778387096774196</c:v>
                </c:pt>
                <c:pt idx="420">
                  <c:v>41.775806451612901</c:v>
                </c:pt>
                <c:pt idx="421">
                  <c:v>41.753870967741925</c:v>
                </c:pt>
                <c:pt idx="422">
                  <c:v>41.805483870967734</c:v>
                </c:pt>
                <c:pt idx="423">
                  <c:v>41.801935483870963</c:v>
                </c:pt>
                <c:pt idx="424">
                  <c:v>41.760967741935474</c:v>
                </c:pt>
                <c:pt idx="425">
                  <c:v>41.779999999999994</c:v>
                </c:pt>
                <c:pt idx="426">
                  <c:v>41.782580645161282</c:v>
                </c:pt>
                <c:pt idx="427">
                  <c:v>41.723225806451609</c:v>
                </c:pt>
                <c:pt idx="428">
                  <c:v>41.78290322580645</c:v>
                </c:pt>
                <c:pt idx="429">
                  <c:v>41.858387096774202</c:v>
                </c:pt>
                <c:pt idx="430">
                  <c:v>41.882258064516137</c:v>
                </c:pt>
                <c:pt idx="431">
                  <c:v>41.869677419354851</c:v>
                </c:pt>
                <c:pt idx="432">
                  <c:v>41.871290322580656</c:v>
                </c:pt>
                <c:pt idx="433">
                  <c:v>41.89290322580645</c:v>
                </c:pt>
                <c:pt idx="434">
                  <c:v>41.821290322580637</c:v>
                </c:pt>
                <c:pt idx="435">
                  <c:v>41.866451612903219</c:v>
                </c:pt>
                <c:pt idx="436">
                  <c:v>41.915806451612902</c:v>
                </c:pt>
                <c:pt idx="437">
                  <c:v>41.938064516129032</c:v>
                </c:pt>
                <c:pt idx="438">
                  <c:v>41.883870967741935</c:v>
                </c:pt>
                <c:pt idx="439">
                  <c:v>41.889032258064518</c:v>
                </c:pt>
                <c:pt idx="440">
                  <c:v>41.851612903225799</c:v>
                </c:pt>
                <c:pt idx="441">
                  <c:v>41.807419354838707</c:v>
                </c:pt>
                <c:pt idx="442">
                  <c:v>41.811290322580646</c:v>
                </c:pt>
                <c:pt idx="443">
                  <c:v>41.817741935483873</c:v>
                </c:pt>
                <c:pt idx="444">
                  <c:v>41.714193548387101</c:v>
                </c:pt>
                <c:pt idx="445">
                  <c:v>41.819999999999993</c:v>
                </c:pt>
                <c:pt idx="446">
                  <c:v>41.776774193548384</c:v>
                </c:pt>
                <c:pt idx="447">
                  <c:v>41.72774193548387</c:v>
                </c:pt>
                <c:pt idx="448">
                  <c:v>41.732903225806446</c:v>
                </c:pt>
                <c:pt idx="449">
                  <c:v>41.824838709677408</c:v>
                </c:pt>
                <c:pt idx="450">
                  <c:v>41.769999999999996</c:v>
                </c:pt>
                <c:pt idx="451">
                  <c:v>41.755483870967737</c:v>
                </c:pt>
                <c:pt idx="452">
                  <c:v>41.793225806451609</c:v>
                </c:pt>
                <c:pt idx="453">
                  <c:v>41.777741935483867</c:v>
                </c:pt>
                <c:pt idx="454">
                  <c:v>41.719354838709677</c:v>
                </c:pt>
                <c:pt idx="455">
                  <c:v>41.807096774193553</c:v>
                </c:pt>
                <c:pt idx="456">
                  <c:v>41.798709677419353</c:v>
                </c:pt>
                <c:pt idx="457">
                  <c:v>41.71387096774194</c:v>
                </c:pt>
                <c:pt idx="458">
                  <c:v>41.714838709677423</c:v>
                </c:pt>
                <c:pt idx="459">
                  <c:v>41.725161290322582</c:v>
                </c:pt>
                <c:pt idx="460">
                  <c:v>41.720645161290321</c:v>
                </c:pt>
                <c:pt idx="461">
                  <c:v>41.765161290322581</c:v>
                </c:pt>
                <c:pt idx="462">
                  <c:v>41.878387096774198</c:v>
                </c:pt>
                <c:pt idx="463">
                  <c:v>41.899354838709691</c:v>
                </c:pt>
                <c:pt idx="464">
                  <c:v>41.993225806451612</c:v>
                </c:pt>
                <c:pt idx="465">
                  <c:v>42.038064516129033</c:v>
                </c:pt>
                <c:pt idx="466">
                  <c:v>42.051290322580655</c:v>
                </c:pt>
                <c:pt idx="467">
                  <c:v>42.084516129032252</c:v>
                </c:pt>
                <c:pt idx="468">
                  <c:v>42.027419354838713</c:v>
                </c:pt>
                <c:pt idx="469">
                  <c:v>41.969677419354845</c:v>
                </c:pt>
                <c:pt idx="470">
                  <c:v>42.04032258064516</c:v>
                </c:pt>
                <c:pt idx="471">
                  <c:v>41.977419354838702</c:v>
                </c:pt>
                <c:pt idx="472">
                  <c:v>42.049677419354836</c:v>
                </c:pt>
                <c:pt idx="473">
                  <c:v>42.150322580645167</c:v>
                </c:pt>
                <c:pt idx="474">
                  <c:v>42.111935483870965</c:v>
                </c:pt>
                <c:pt idx="475">
                  <c:v>42.118387096774192</c:v>
                </c:pt>
                <c:pt idx="476">
                  <c:v>42.055806451612909</c:v>
                </c:pt>
                <c:pt idx="477">
                  <c:v>42.08483870967742</c:v>
                </c:pt>
                <c:pt idx="478">
                  <c:v>42.150645161290328</c:v>
                </c:pt>
                <c:pt idx="479">
                  <c:v>42.257419354838703</c:v>
                </c:pt>
                <c:pt idx="480">
                  <c:v>42.21838709677418</c:v>
                </c:pt>
                <c:pt idx="481">
                  <c:v>42.197741935483855</c:v>
                </c:pt>
                <c:pt idx="482">
                  <c:v>42.154516129032245</c:v>
                </c:pt>
                <c:pt idx="483">
                  <c:v>42.159032258064506</c:v>
                </c:pt>
                <c:pt idx="484">
                  <c:v>42.121290322580627</c:v>
                </c:pt>
                <c:pt idx="485">
                  <c:v>42.216774193548382</c:v>
                </c:pt>
                <c:pt idx="486">
                  <c:v>42.128709677419344</c:v>
                </c:pt>
                <c:pt idx="487">
                  <c:v>42.102258064516128</c:v>
                </c:pt>
                <c:pt idx="488">
                  <c:v>42.122258064516124</c:v>
                </c:pt>
                <c:pt idx="489">
                  <c:v>42.166774193548392</c:v>
                </c:pt>
                <c:pt idx="490">
                  <c:v>42.126774193548393</c:v>
                </c:pt>
                <c:pt idx="491">
                  <c:v>42.108064516129041</c:v>
                </c:pt>
                <c:pt idx="492">
                  <c:v>42.125161290322588</c:v>
                </c:pt>
                <c:pt idx="493">
                  <c:v>42.120645161290341</c:v>
                </c:pt>
                <c:pt idx="494">
                  <c:v>42.126451612903232</c:v>
                </c:pt>
                <c:pt idx="495">
                  <c:v>42.005161290322583</c:v>
                </c:pt>
                <c:pt idx="496">
                  <c:v>41.991290322580646</c:v>
                </c:pt>
                <c:pt idx="497">
                  <c:v>41.943548387096783</c:v>
                </c:pt>
                <c:pt idx="498">
                  <c:v>41.865806451612904</c:v>
                </c:pt>
                <c:pt idx="499">
                  <c:v>41.921290322580653</c:v>
                </c:pt>
                <c:pt idx="500">
                  <c:v>42.017419354838715</c:v>
                </c:pt>
                <c:pt idx="501">
                  <c:v>41.974193548387106</c:v>
                </c:pt>
                <c:pt idx="502">
                  <c:v>42.060967741935485</c:v>
                </c:pt>
                <c:pt idx="503">
                  <c:v>41.997096774193551</c:v>
                </c:pt>
                <c:pt idx="504">
                  <c:v>41.960645161290323</c:v>
                </c:pt>
                <c:pt idx="505">
                  <c:v>41.96387096774194</c:v>
                </c:pt>
                <c:pt idx="506">
                  <c:v>42.077741935483871</c:v>
                </c:pt>
                <c:pt idx="507">
                  <c:v>42.132903225806459</c:v>
                </c:pt>
                <c:pt idx="508">
                  <c:v>42.123548387096768</c:v>
                </c:pt>
                <c:pt idx="509">
                  <c:v>42.124838709677412</c:v>
                </c:pt>
                <c:pt idx="510">
                  <c:v>42.111935483870965</c:v>
                </c:pt>
                <c:pt idx="511">
                  <c:v>42.123548387096768</c:v>
                </c:pt>
                <c:pt idx="512">
                  <c:v>42.102580645161282</c:v>
                </c:pt>
                <c:pt idx="513">
                  <c:v>42.200967741935479</c:v>
                </c:pt>
                <c:pt idx="514">
                  <c:v>42.199677419354835</c:v>
                </c:pt>
                <c:pt idx="515">
                  <c:v>42.220645161290314</c:v>
                </c:pt>
                <c:pt idx="516">
                  <c:v>42.188709677419354</c:v>
                </c:pt>
                <c:pt idx="517">
                  <c:v>42.25645161290322</c:v>
                </c:pt>
                <c:pt idx="518">
                  <c:v>42.350967741935484</c:v>
                </c:pt>
                <c:pt idx="519">
                  <c:v>42.369032258064514</c:v>
                </c:pt>
                <c:pt idx="520">
                  <c:v>42.349032258064518</c:v>
                </c:pt>
                <c:pt idx="521">
                  <c:v>42.328709677419354</c:v>
                </c:pt>
                <c:pt idx="522">
                  <c:v>42.293870967741938</c:v>
                </c:pt>
                <c:pt idx="523">
                  <c:v>42.250000000000007</c:v>
                </c:pt>
                <c:pt idx="524">
                  <c:v>42.255806451612912</c:v>
                </c:pt>
                <c:pt idx="525">
                  <c:v>42.193225806451622</c:v>
                </c:pt>
                <c:pt idx="526">
                  <c:v>42.29129032258065</c:v>
                </c:pt>
                <c:pt idx="527">
                  <c:v>42.331290322580649</c:v>
                </c:pt>
                <c:pt idx="528">
                  <c:v>42.396129032258074</c:v>
                </c:pt>
                <c:pt idx="529">
                  <c:v>42.402580645161301</c:v>
                </c:pt>
                <c:pt idx="530">
                  <c:v>42.310000000000009</c:v>
                </c:pt>
                <c:pt idx="531">
                  <c:v>42.277096774193552</c:v>
                </c:pt>
                <c:pt idx="532">
                  <c:v>42.263870967741944</c:v>
                </c:pt>
                <c:pt idx="533">
                  <c:v>42.234516129032265</c:v>
                </c:pt>
                <c:pt idx="534">
                  <c:v>42.258709677419368</c:v>
                </c:pt>
                <c:pt idx="535">
                  <c:v>42.293225806451609</c:v>
                </c:pt>
                <c:pt idx="536">
                  <c:v>42.307741935483868</c:v>
                </c:pt>
                <c:pt idx="537">
                  <c:v>42.267741935483876</c:v>
                </c:pt>
                <c:pt idx="538">
                  <c:v>42.257741935483871</c:v>
                </c:pt>
                <c:pt idx="539">
                  <c:v>42.179354838709678</c:v>
                </c:pt>
                <c:pt idx="540">
                  <c:v>42.172903225806458</c:v>
                </c:pt>
                <c:pt idx="541">
                  <c:v>42.061612903225807</c:v>
                </c:pt>
                <c:pt idx="542">
                  <c:v>41.985806451612909</c:v>
                </c:pt>
                <c:pt idx="543">
                  <c:v>42.018387096774205</c:v>
                </c:pt>
                <c:pt idx="544">
                  <c:v>41.998387096774202</c:v>
                </c:pt>
                <c:pt idx="545">
                  <c:v>41.990645161290338</c:v>
                </c:pt>
                <c:pt idx="546">
                  <c:v>41.911290322580662</c:v>
                </c:pt>
                <c:pt idx="547">
                  <c:v>41.940645161290334</c:v>
                </c:pt>
                <c:pt idx="548">
                  <c:v>41.892258064516142</c:v>
                </c:pt>
                <c:pt idx="549">
                  <c:v>41.899354838709691</c:v>
                </c:pt>
                <c:pt idx="550">
                  <c:v>41.970645161290328</c:v>
                </c:pt>
                <c:pt idx="551">
                  <c:v>41.983870967741943</c:v>
                </c:pt>
                <c:pt idx="552">
                  <c:v>42.010645161290327</c:v>
                </c:pt>
                <c:pt idx="553">
                  <c:v>42.062258064516136</c:v>
                </c:pt>
                <c:pt idx="554">
                  <c:v>42.083548387096783</c:v>
                </c:pt>
                <c:pt idx="555">
                  <c:v>41.992580645161297</c:v>
                </c:pt>
                <c:pt idx="556">
                  <c:v>41.989677419354841</c:v>
                </c:pt>
                <c:pt idx="557">
                  <c:v>41.892258064516128</c:v>
                </c:pt>
                <c:pt idx="558">
                  <c:v>41.819677419354832</c:v>
                </c:pt>
                <c:pt idx="559">
                  <c:v>41.798064516129024</c:v>
                </c:pt>
                <c:pt idx="560">
                  <c:v>41.824193548387086</c:v>
                </c:pt>
                <c:pt idx="561">
                  <c:v>41.80419354838709</c:v>
                </c:pt>
                <c:pt idx="562">
                  <c:v>41.757096774193542</c:v>
                </c:pt>
                <c:pt idx="563">
                  <c:v>41.727419354838702</c:v>
                </c:pt>
                <c:pt idx="564">
                  <c:v>41.697419354838701</c:v>
                </c:pt>
                <c:pt idx="565">
                  <c:v>41.697741935483862</c:v>
                </c:pt>
                <c:pt idx="566">
                  <c:v>41.609999999999985</c:v>
                </c:pt>
                <c:pt idx="567">
                  <c:v>41.668709677419344</c:v>
                </c:pt>
                <c:pt idx="568">
                  <c:v>41.632580645161269</c:v>
                </c:pt>
                <c:pt idx="569">
                  <c:v>41.551612903225802</c:v>
                </c:pt>
                <c:pt idx="570">
                  <c:v>41.601290322580638</c:v>
                </c:pt>
                <c:pt idx="571">
                  <c:v>41.563225806451605</c:v>
                </c:pt>
                <c:pt idx="572">
                  <c:v>41.636129032258061</c:v>
                </c:pt>
                <c:pt idx="573">
                  <c:v>41.701290322580647</c:v>
                </c:pt>
                <c:pt idx="574">
                  <c:v>41.674193548387102</c:v>
                </c:pt>
                <c:pt idx="575">
                  <c:v>41.715483870967752</c:v>
                </c:pt>
                <c:pt idx="576">
                  <c:v>41.769032258064527</c:v>
                </c:pt>
                <c:pt idx="577">
                  <c:v>41.806451612903238</c:v>
                </c:pt>
                <c:pt idx="578">
                  <c:v>41.729032258064528</c:v>
                </c:pt>
                <c:pt idx="579">
                  <c:v>41.757419354838724</c:v>
                </c:pt>
                <c:pt idx="580">
                  <c:v>41.712903225806457</c:v>
                </c:pt>
                <c:pt idx="581">
                  <c:v>41.586774193548386</c:v>
                </c:pt>
                <c:pt idx="582">
                  <c:v>41.566451612903236</c:v>
                </c:pt>
                <c:pt idx="583">
                  <c:v>41.556774193548385</c:v>
                </c:pt>
                <c:pt idx="584">
                  <c:v>41.465161290322577</c:v>
                </c:pt>
                <c:pt idx="585">
                  <c:v>41.479354838709675</c:v>
                </c:pt>
                <c:pt idx="586">
                  <c:v>41.476129032258065</c:v>
                </c:pt>
                <c:pt idx="587">
                  <c:v>41.603548387096772</c:v>
                </c:pt>
                <c:pt idx="588">
                  <c:v>41.677096774193551</c:v>
                </c:pt>
                <c:pt idx="589">
                  <c:v>41.758064516129025</c:v>
                </c:pt>
                <c:pt idx="590">
                  <c:v>41.765161290322574</c:v>
                </c:pt>
                <c:pt idx="591">
                  <c:v>41.809677419354834</c:v>
                </c:pt>
                <c:pt idx="592">
                  <c:v>41.927419354838712</c:v>
                </c:pt>
                <c:pt idx="593">
                  <c:v>42.021612903225801</c:v>
                </c:pt>
                <c:pt idx="594">
                  <c:v>42.027419354838706</c:v>
                </c:pt>
                <c:pt idx="595">
                  <c:v>42.085806451612896</c:v>
                </c:pt>
                <c:pt idx="596">
                  <c:v>42.132580645161291</c:v>
                </c:pt>
                <c:pt idx="597">
                  <c:v>42.123548387096768</c:v>
                </c:pt>
                <c:pt idx="598">
                  <c:v>42.100322580645155</c:v>
                </c:pt>
                <c:pt idx="599">
                  <c:v>42.078064516129032</c:v>
                </c:pt>
                <c:pt idx="600">
                  <c:v>42.105483870967738</c:v>
                </c:pt>
                <c:pt idx="601">
                  <c:v>42.16935483870968</c:v>
                </c:pt>
                <c:pt idx="602">
                  <c:v>42.254838709677415</c:v>
                </c:pt>
                <c:pt idx="603">
                  <c:v>42.291290322580643</c:v>
                </c:pt>
                <c:pt idx="604">
                  <c:v>42.356774193548389</c:v>
                </c:pt>
                <c:pt idx="605">
                  <c:v>42.478064516129038</c:v>
                </c:pt>
                <c:pt idx="606">
                  <c:v>42.483870967741943</c:v>
                </c:pt>
                <c:pt idx="607">
                  <c:v>42.490322580645163</c:v>
                </c:pt>
                <c:pt idx="608">
                  <c:v>42.548064516129031</c:v>
                </c:pt>
                <c:pt idx="609">
                  <c:v>42.621612903225817</c:v>
                </c:pt>
                <c:pt idx="610">
                  <c:v>42.715806451612906</c:v>
                </c:pt>
                <c:pt idx="611">
                  <c:v>42.722903225806455</c:v>
                </c:pt>
                <c:pt idx="612">
                  <c:v>42.829354838709669</c:v>
                </c:pt>
                <c:pt idx="613">
                  <c:v>42.886774193548383</c:v>
                </c:pt>
                <c:pt idx="614">
                  <c:v>42.923548387096766</c:v>
                </c:pt>
                <c:pt idx="615">
                  <c:v>42.999999999999993</c:v>
                </c:pt>
                <c:pt idx="616">
                  <c:v>42.977419354838702</c:v>
                </c:pt>
                <c:pt idx="617">
                  <c:v>43.026774193548377</c:v>
                </c:pt>
                <c:pt idx="618">
                  <c:v>43.041612903225804</c:v>
                </c:pt>
                <c:pt idx="619">
                  <c:v>43.111935483870965</c:v>
                </c:pt>
                <c:pt idx="620">
                  <c:v>43.084193548387091</c:v>
                </c:pt>
                <c:pt idx="621">
                  <c:v>43.180967741935483</c:v>
                </c:pt>
                <c:pt idx="622">
                  <c:v>43.229354838709682</c:v>
                </c:pt>
                <c:pt idx="623">
                  <c:v>43.193548387096783</c:v>
                </c:pt>
                <c:pt idx="624">
                  <c:v>43.222580645161287</c:v>
                </c:pt>
                <c:pt idx="625">
                  <c:v>43.274516129032264</c:v>
                </c:pt>
                <c:pt idx="626">
                  <c:v>43.286129032258067</c:v>
                </c:pt>
                <c:pt idx="627">
                  <c:v>43.312903225806458</c:v>
                </c:pt>
                <c:pt idx="628">
                  <c:v>43.402903225806469</c:v>
                </c:pt>
                <c:pt idx="629">
                  <c:v>43.442580645161307</c:v>
                </c:pt>
                <c:pt idx="630">
                  <c:v>43.51451612903228</c:v>
                </c:pt>
                <c:pt idx="631">
                  <c:v>43.546129032258079</c:v>
                </c:pt>
                <c:pt idx="632">
                  <c:v>43.520967741935493</c:v>
                </c:pt>
                <c:pt idx="633">
                  <c:v>43.514193548387105</c:v>
                </c:pt>
                <c:pt idx="634">
                  <c:v>43.534838709677423</c:v>
                </c:pt>
                <c:pt idx="635">
                  <c:v>43.474193548387106</c:v>
                </c:pt>
                <c:pt idx="636">
                  <c:v>43.469677419354845</c:v>
                </c:pt>
                <c:pt idx="637">
                  <c:v>43.496451612903222</c:v>
                </c:pt>
                <c:pt idx="638">
                  <c:v>43.509677419354844</c:v>
                </c:pt>
                <c:pt idx="639">
                  <c:v>43.469677419354845</c:v>
                </c:pt>
                <c:pt idx="640">
                  <c:v>43.495161290322585</c:v>
                </c:pt>
                <c:pt idx="641">
                  <c:v>43.497419354838712</c:v>
                </c:pt>
                <c:pt idx="642">
                  <c:v>43.54774193548387</c:v>
                </c:pt>
                <c:pt idx="643">
                  <c:v>43.531290322580645</c:v>
                </c:pt>
                <c:pt idx="644">
                  <c:v>43.557419354838707</c:v>
                </c:pt>
                <c:pt idx="645">
                  <c:v>43.503870967741932</c:v>
                </c:pt>
                <c:pt idx="646">
                  <c:v>43.429354838709678</c:v>
                </c:pt>
                <c:pt idx="647">
                  <c:v>43.400322580645167</c:v>
                </c:pt>
                <c:pt idx="648">
                  <c:v>43.342580645161291</c:v>
                </c:pt>
                <c:pt idx="649">
                  <c:v>43.270967741935486</c:v>
                </c:pt>
                <c:pt idx="650">
                  <c:v>43.202580645161298</c:v>
                </c:pt>
                <c:pt idx="651">
                  <c:v>43.249032258064524</c:v>
                </c:pt>
                <c:pt idx="652">
                  <c:v>43.130322580645171</c:v>
                </c:pt>
                <c:pt idx="653">
                  <c:v>43.054838709677426</c:v>
                </c:pt>
                <c:pt idx="654">
                  <c:v>43.063225806451619</c:v>
                </c:pt>
                <c:pt idx="655">
                  <c:v>42.94483870967742</c:v>
                </c:pt>
                <c:pt idx="656">
                  <c:v>42.872258064516124</c:v>
                </c:pt>
                <c:pt idx="657">
                  <c:v>42.756774193548388</c:v>
                </c:pt>
                <c:pt idx="658">
                  <c:v>42.654838709677421</c:v>
                </c:pt>
                <c:pt idx="659">
                  <c:v>42.610645161290314</c:v>
                </c:pt>
                <c:pt idx="660">
                  <c:v>42.511935483870957</c:v>
                </c:pt>
                <c:pt idx="661">
                  <c:v>42.416451612903224</c:v>
                </c:pt>
                <c:pt idx="662">
                  <c:v>42.351612903225799</c:v>
                </c:pt>
                <c:pt idx="663">
                  <c:v>42.353548387096765</c:v>
                </c:pt>
                <c:pt idx="664">
                  <c:v>42.29999999999999</c:v>
                </c:pt>
                <c:pt idx="665">
                  <c:v>42.224838709677414</c:v>
                </c:pt>
                <c:pt idx="666">
                  <c:v>42.264516129032252</c:v>
                </c:pt>
                <c:pt idx="667">
                  <c:v>42.206451612903223</c:v>
                </c:pt>
                <c:pt idx="668">
                  <c:v>42.114838709677414</c:v>
                </c:pt>
                <c:pt idx="669">
                  <c:v>42.113548387096763</c:v>
                </c:pt>
                <c:pt idx="670">
                  <c:v>42.056129032258056</c:v>
                </c:pt>
                <c:pt idx="671">
                  <c:v>41.972580645161294</c:v>
                </c:pt>
                <c:pt idx="672">
                  <c:v>41.911935483870977</c:v>
                </c:pt>
                <c:pt idx="673">
                  <c:v>41.863225806451617</c:v>
                </c:pt>
                <c:pt idx="674">
                  <c:v>41.790967741935489</c:v>
                </c:pt>
                <c:pt idx="675">
                  <c:v>41.78</c:v>
                </c:pt>
                <c:pt idx="676">
                  <c:v>41.790645161290328</c:v>
                </c:pt>
                <c:pt idx="677">
                  <c:v>41.804838709677426</c:v>
                </c:pt>
                <c:pt idx="678">
                  <c:v>41.818387096774195</c:v>
                </c:pt>
                <c:pt idx="679">
                  <c:v>41.875483870967749</c:v>
                </c:pt>
                <c:pt idx="680">
                  <c:v>41.874516129032266</c:v>
                </c:pt>
                <c:pt idx="681">
                  <c:v>41.882903225806466</c:v>
                </c:pt>
                <c:pt idx="682">
                  <c:v>41.83483870967742</c:v>
                </c:pt>
                <c:pt idx="683">
                  <c:v>41.838064516129023</c:v>
                </c:pt>
                <c:pt idx="684">
                  <c:v>41.88064516129031</c:v>
                </c:pt>
                <c:pt idx="685">
                  <c:v>41.787741935483865</c:v>
                </c:pt>
                <c:pt idx="686">
                  <c:v>41.814193548387088</c:v>
                </c:pt>
                <c:pt idx="687">
                  <c:v>41.834516129032252</c:v>
                </c:pt>
                <c:pt idx="688">
                  <c:v>41.875483870967727</c:v>
                </c:pt>
                <c:pt idx="689">
                  <c:v>41.959032258064511</c:v>
                </c:pt>
                <c:pt idx="690">
                  <c:v>41.944516129032252</c:v>
                </c:pt>
                <c:pt idx="691">
                  <c:v>41.939677419354837</c:v>
                </c:pt>
                <c:pt idx="692">
                  <c:v>42.03612903225806</c:v>
                </c:pt>
                <c:pt idx="693">
                  <c:v>42.057741935483868</c:v>
                </c:pt>
                <c:pt idx="694">
                  <c:v>41.990645161290317</c:v>
                </c:pt>
                <c:pt idx="695">
                  <c:v>41.93096774193549</c:v>
                </c:pt>
                <c:pt idx="696">
                  <c:v>41.948064516129037</c:v>
                </c:pt>
                <c:pt idx="697">
                  <c:v>41.938709677419361</c:v>
                </c:pt>
                <c:pt idx="698">
                  <c:v>41.868064516129046</c:v>
                </c:pt>
                <c:pt idx="699">
                  <c:v>41.904193548387099</c:v>
                </c:pt>
                <c:pt idx="700">
                  <c:v>41.865806451612897</c:v>
                </c:pt>
                <c:pt idx="701">
                  <c:v>41.92677419354839</c:v>
                </c:pt>
                <c:pt idx="702">
                  <c:v>41.923870967741934</c:v>
                </c:pt>
                <c:pt idx="703">
                  <c:v>41.893870967741933</c:v>
                </c:pt>
                <c:pt idx="704">
                  <c:v>41.921290322580646</c:v>
                </c:pt>
                <c:pt idx="705">
                  <c:v>42.006774193548381</c:v>
                </c:pt>
                <c:pt idx="706">
                  <c:v>41.989354838709673</c:v>
                </c:pt>
                <c:pt idx="707">
                  <c:v>42.009032258064508</c:v>
                </c:pt>
                <c:pt idx="708">
                  <c:v>42.054516129032251</c:v>
                </c:pt>
                <c:pt idx="709">
                  <c:v>42.101290322580645</c:v>
                </c:pt>
                <c:pt idx="710">
                  <c:v>42.091290322580647</c:v>
                </c:pt>
                <c:pt idx="711">
                  <c:v>42.080645161290327</c:v>
                </c:pt>
                <c:pt idx="712">
                  <c:v>42.007096774193549</c:v>
                </c:pt>
                <c:pt idx="713">
                  <c:v>41.977419354838716</c:v>
                </c:pt>
                <c:pt idx="714">
                  <c:v>42.009677419354837</c:v>
                </c:pt>
                <c:pt idx="715">
                  <c:v>41.93645161290322</c:v>
                </c:pt>
                <c:pt idx="716">
                  <c:v>41.969999999999992</c:v>
                </c:pt>
                <c:pt idx="717">
                  <c:v>42.016774193548379</c:v>
                </c:pt>
                <c:pt idx="718">
                  <c:v>42.095161290322572</c:v>
                </c:pt>
                <c:pt idx="719">
                  <c:v>42.09451612903225</c:v>
                </c:pt>
                <c:pt idx="720">
                  <c:v>42.071935483870959</c:v>
                </c:pt>
                <c:pt idx="721">
                  <c:v>42.094838709677411</c:v>
                </c:pt>
                <c:pt idx="722">
                  <c:v>42.132258064516115</c:v>
                </c:pt>
                <c:pt idx="723">
                  <c:v>42.031290322580638</c:v>
                </c:pt>
                <c:pt idx="724">
                  <c:v>42.091935483870948</c:v>
                </c:pt>
                <c:pt idx="725">
                  <c:v>42.132258064516115</c:v>
                </c:pt>
                <c:pt idx="726">
                  <c:v>42.152258064516118</c:v>
                </c:pt>
                <c:pt idx="727">
                  <c:v>42.090967741935472</c:v>
                </c:pt>
                <c:pt idx="728">
                  <c:v>42.072903225806449</c:v>
                </c:pt>
                <c:pt idx="729">
                  <c:v>42.163548387096782</c:v>
                </c:pt>
                <c:pt idx="730">
                  <c:v>42.100645161290316</c:v>
                </c:pt>
                <c:pt idx="731">
                  <c:v>42.112903225806448</c:v>
                </c:pt>
                <c:pt idx="732">
                  <c:v>42.072580645161281</c:v>
                </c:pt>
                <c:pt idx="733">
                  <c:v>42.029032258064518</c:v>
                </c:pt>
                <c:pt idx="734">
                  <c:v>42.052903225806446</c:v>
                </c:pt>
                <c:pt idx="735">
                  <c:v>42.046129032258058</c:v>
                </c:pt>
                <c:pt idx="736">
                  <c:v>42.042580645161287</c:v>
                </c:pt>
                <c:pt idx="737">
                  <c:v>41.977096774193541</c:v>
                </c:pt>
                <c:pt idx="738">
                  <c:v>41.965483870967738</c:v>
                </c:pt>
                <c:pt idx="739">
                  <c:v>41.963870967741933</c:v>
                </c:pt>
                <c:pt idx="740">
                  <c:v>41.891612903225806</c:v>
                </c:pt>
                <c:pt idx="741">
                  <c:v>41.925806451612907</c:v>
                </c:pt>
                <c:pt idx="742">
                  <c:v>41.981290322580641</c:v>
                </c:pt>
                <c:pt idx="743">
                  <c:v>42.034838709677416</c:v>
                </c:pt>
                <c:pt idx="744">
                  <c:v>42.095161290322579</c:v>
                </c:pt>
                <c:pt idx="745">
                  <c:v>42.137741935483874</c:v>
                </c:pt>
                <c:pt idx="746">
                  <c:v>42.121290322580641</c:v>
                </c:pt>
                <c:pt idx="747">
                  <c:v>42.186774193548388</c:v>
                </c:pt>
                <c:pt idx="748">
                  <c:v>42.163225806451614</c:v>
                </c:pt>
                <c:pt idx="749">
                  <c:v>42.133225806451627</c:v>
                </c:pt>
                <c:pt idx="750">
                  <c:v>42.163548387096775</c:v>
                </c:pt>
                <c:pt idx="751">
                  <c:v>42.117741935483863</c:v>
                </c:pt>
                <c:pt idx="752">
                  <c:v>42.047096774193541</c:v>
                </c:pt>
                <c:pt idx="753">
                  <c:v>42.061290322580632</c:v>
                </c:pt>
                <c:pt idx="754">
                  <c:v>42.073870967741925</c:v>
                </c:pt>
                <c:pt idx="755">
                  <c:v>42.017419354838694</c:v>
                </c:pt>
                <c:pt idx="756">
                  <c:v>41.999677419354825</c:v>
                </c:pt>
                <c:pt idx="757">
                  <c:v>41.959354838709672</c:v>
                </c:pt>
                <c:pt idx="758">
                  <c:v>42.056129032258049</c:v>
                </c:pt>
                <c:pt idx="759">
                  <c:v>42.092258064516116</c:v>
                </c:pt>
                <c:pt idx="760">
                  <c:v>42.109032258064502</c:v>
                </c:pt>
                <c:pt idx="761">
                  <c:v>42.109677419354824</c:v>
                </c:pt>
                <c:pt idx="762">
                  <c:v>42.029999999999987</c:v>
                </c:pt>
                <c:pt idx="763">
                  <c:v>42.031290322580631</c:v>
                </c:pt>
                <c:pt idx="764">
                  <c:v>42.038064516129019</c:v>
                </c:pt>
                <c:pt idx="765">
                  <c:v>41.992903225806451</c:v>
                </c:pt>
                <c:pt idx="766">
                  <c:v>41.999677419354832</c:v>
                </c:pt>
                <c:pt idx="767">
                  <c:v>41.998709677419356</c:v>
                </c:pt>
                <c:pt idx="768">
                  <c:v>42.04451612903226</c:v>
                </c:pt>
                <c:pt idx="769">
                  <c:v>42.043870967741952</c:v>
                </c:pt>
                <c:pt idx="770">
                  <c:v>42.035483870967759</c:v>
                </c:pt>
                <c:pt idx="771">
                  <c:v>42.05290322580646</c:v>
                </c:pt>
                <c:pt idx="772">
                  <c:v>42.015483870967749</c:v>
                </c:pt>
                <c:pt idx="773">
                  <c:v>42.012903225806454</c:v>
                </c:pt>
                <c:pt idx="774">
                  <c:v>41.948387096774198</c:v>
                </c:pt>
                <c:pt idx="775">
                  <c:v>41.94903225806452</c:v>
                </c:pt>
                <c:pt idx="776">
                  <c:v>41.945483870967735</c:v>
                </c:pt>
                <c:pt idx="777">
                  <c:v>41.984193548387097</c:v>
                </c:pt>
                <c:pt idx="778">
                  <c:v>41.899032258064516</c:v>
                </c:pt>
                <c:pt idx="779">
                  <c:v>41.913870967741936</c:v>
                </c:pt>
                <c:pt idx="780">
                  <c:v>41.871612903225795</c:v>
                </c:pt>
                <c:pt idx="781">
                  <c:v>41.828387096774186</c:v>
                </c:pt>
                <c:pt idx="782">
                  <c:v>41.822580645161281</c:v>
                </c:pt>
                <c:pt idx="783">
                  <c:v>41.866451612903219</c:v>
                </c:pt>
                <c:pt idx="784">
                  <c:v>41.849032258064511</c:v>
                </c:pt>
                <c:pt idx="785">
                  <c:v>41.912580645161292</c:v>
                </c:pt>
                <c:pt idx="786">
                  <c:v>41.895806451612906</c:v>
                </c:pt>
                <c:pt idx="787">
                  <c:v>41.864516129032253</c:v>
                </c:pt>
                <c:pt idx="788">
                  <c:v>41.930322580645161</c:v>
                </c:pt>
                <c:pt idx="789">
                  <c:v>41.924193548387102</c:v>
                </c:pt>
                <c:pt idx="790">
                  <c:v>41.859032258064516</c:v>
                </c:pt>
                <c:pt idx="791">
                  <c:v>41.746129032258068</c:v>
                </c:pt>
                <c:pt idx="792">
                  <c:v>41.747419354838712</c:v>
                </c:pt>
                <c:pt idx="793">
                  <c:v>41.770645161290325</c:v>
                </c:pt>
                <c:pt idx="794">
                  <c:v>41.84870967741935</c:v>
                </c:pt>
                <c:pt idx="795">
                  <c:v>41.867741935483863</c:v>
                </c:pt>
                <c:pt idx="796">
                  <c:v>41.886129032258061</c:v>
                </c:pt>
                <c:pt idx="797">
                  <c:v>41.895161290322584</c:v>
                </c:pt>
                <c:pt idx="798">
                  <c:v>41.815483870967732</c:v>
                </c:pt>
                <c:pt idx="799">
                  <c:v>41.79677419354838</c:v>
                </c:pt>
                <c:pt idx="800">
                  <c:v>41.723870967741931</c:v>
                </c:pt>
                <c:pt idx="801">
                  <c:v>41.729354838709675</c:v>
                </c:pt>
                <c:pt idx="802">
                  <c:v>41.749677419354839</c:v>
                </c:pt>
                <c:pt idx="803">
                  <c:v>41.748387096774188</c:v>
                </c:pt>
                <c:pt idx="804">
                  <c:v>41.671290322580646</c:v>
                </c:pt>
                <c:pt idx="805">
                  <c:v>41.783548387096779</c:v>
                </c:pt>
                <c:pt idx="806">
                  <c:v>41.719677419354845</c:v>
                </c:pt>
                <c:pt idx="807">
                  <c:v>41.664516129032258</c:v>
                </c:pt>
                <c:pt idx="808">
                  <c:v>41.66096774193548</c:v>
                </c:pt>
                <c:pt idx="809">
                  <c:v>41.647741935483864</c:v>
                </c:pt>
                <c:pt idx="810">
                  <c:v>41.629999999999988</c:v>
                </c:pt>
                <c:pt idx="811">
                  <c:v>41.625806451612888</c:v>
                </c:pt>
                <c:pt idx="812">
                  <c:v>41.608064516129019</c:v>
                </c:pt>
                <c:pt idx="813">
                  <c:v>41.624838709677412</c:v>
                </c:pt>
                <c:pt idx="814">
                  <c:v>41.661290322580648</c:v>
                </c:pt>
                <c:pt idx="815">
                  <c:v>41.714193548387101</c:v>
                </c:pt>
                <c:pt idx="816">
                  <c:v>41.675483870967746</c:v>
                </c:pt>
                <c:pt idx="817">
                  <c:v>41.683548387096778</c:v>
                </c:pt>
                <c:pt idx="818">
                  <c:v>41.680645161290329</c:v>
                </c:pt>
                <c:pt idx="819">
                  <c:v>41.690645161290327</c:v>
                </c:pt>
                <c:pt idx="820">
                  <c:v>41.625161290322588</c:v>
                </c:pt>
                <c:pt idx="821">
                  <c:v>41.585483870967742</c:v>
                </c:pt>
                <c:pt idx="822">
                  <c:v>41.632258064516137</c:v>
                </c:pt>
                <c:pt idx="823">
                  <c:v>41.603225806451618</c:v>
                </c:pt>
                <c:pt idx="824">
                  <c:v>41.641290322580659</c:v>
                </c:pt>
                <c:pt idx="825">
                  <c:v>41.585161290322588</c:v>
                </c:pt>
                <c:pt idx="826">
                  <c:v>41.669032258064526</c:v>
                </c:pt>
                <c:pt idx="827">
                  <c:v>41.634516129032271</c:v>
                </c:pt>
                <c:pt idx="828">
                  <c:v>41.542903225806448</c:v>
                </c:pt>
                <c:pt idx="829">
                  <c:v>41.589354838709667</c:v>
                </c:pt>
                <c:pt idx="830">
                  <c:v>41.576774193548381</c:v>
                </c:pt>
                <c:pt idx="831">
                  <c:v>41.635483870967747</c:v>
                </c:pt>
                <c:pt idx="832">
                  <c:v>41.573870967741932</c:v>
                </c:pt>
                <c:pt idx="833">
                  <c:v>41.58161290322581</c:v>
                </c:pt>
                <c:pt idx="834">
                  <c:v>41.626451612903239</c:v>
                </c:pt>
                <c:pt idx="835">
                  <c:v>41.718709677419369</c:v>
                </c:pt>
                <c:pt idx="836">
                  <c:v>41.631612903225815</c:v>
                </c:pt>
                <c:pt idx="837">
                  <c:v>41.611290322580651</c:v>
                </c:pt>
                <c:pt idx="838">
                  <c:v>41.608387096774194</c:v>
                </c:pt>
                <c:pt idx="839">
                  <c:v>41.671290322580653</c:v>
                </c:pt>
                <c:pt idx="840">
                  <c:v>41.696774193548393</c:v>
                </c:pt>
                <c:pt idx="841">
                  <c:v>41.656774193548387</c:v>
                </c:pt>
                <c:pt idx="842">
                  <c:v>41.68741935483871</c:v>
                </c:pt>
                <c:pt idx="843">
                  <c:v>41.803548387096768</c:v>
                </c:pt>
                <c:pt idx="844">
                  <c:v>41.819354838709671</c:v>
                </c:pt>
                <c:pt idx="845">
                  <c:v>41.850645161290316</c:v>
                </c:pt>
                <c:pt idx="846">
                  <c:v>41.829999999999991</c:v>
                </c:pt>
                <c:pt idx="847">
                  <c:v>41.892903225806457</c:v>
                </c:pt>
                <c:pt idx="848">
                  <c:v>41.939354838709683</c:v>
                </c:pt>
                <c:pt idx="849">
                  <c:v>41.996774193548397</c:v>
                </c:pt>
                <c:pt idx="850">
                  <c:v>41.935483870967751</c:v>
                </c:pt>
                <c:pt idx="851">
                  <c:v>42.000000000000007</c:v>
                </c:pt>
                <c:pt idx="852">
                  <c:v>42.104838709677423</c:v>
                </c:pt>
                <c:pt idx="853">
                  <c:v>42.104516129032262</c:v>
                </c:pt>
                <c:pt idx="854">
                  <c:v>42.15225806451614</c:v>
                </c:pt>
                <c:pt idx="855">
                  <c:v>42.169354838709687</c:v>
                </c:pt>
                <c:pt idx="856">
                  <c:v>42.233870967741936</c:v>
                </c:pt>
                <c:pt idx="857">
                  <c:v>42.129677419354842</c:v>
                </c:pt>
                <c:pt idx="858">
                  <c:v>42.110322580645153</c:v>
                </c:pt>
                <c:pt idx="859">
                  <c:v>42.160322580645165</c:v>
                </c:pt>
                <c:pt idx="860">
                  <c:v>42.21290322580645</c:v>
                </c:pt>
                <c:pt idx="861">
                  <c:v>42.235806451612909</c:v>
                </c:pt>
                <c:pt idx="862">
                  <c:v>42.291935483870979</c:v>
                </c:pt>
                <c:pt idx="863">
                  <c:v>42.306774193548399</c:v>
                </c:pt>
                <c:pt idx="864">
                  <c:v>42.300000000000011</c:v>
                </c:pt>
                <c:pt idx="865">
                  <c:v>42.24774193548388</c:v>
                </c:pt>
                <c:pt idx="866">
                  <c:v>42.19903225806452</c:v>
                </c:pt>
                <c:pt idx="867">
                  <c:v>42.214838709677423</c:v>
                </c:pt>
                <c:pt idx="868">
                  <c:v>42.264193548387091</c:v>
                </c:pt>
                <c:pt idx="869">
                  <c:v>42.328387096774186</c:v>
                </c:pt>
                <c:pt idx="870">
                  <c:v>42.237741935483868</c:v>
                </c:pt>
                <c:pt idx="871">
                  <c:v>42.314516129032256</c:v>
                </c:pt>
                <c:pt idx="872">
                  <c:v>42.323548387096764</c:v>
                </c:pt>
                <c:pt idx="873">
                  <c:v>42.266129032258064</c:v>
                </c:pt>
                <c:pt idx="874">
                  <c:v>42.229354838709668</c:v>
                </c:pt>
                <c:pt idx="875">
                  <c:v>42.20129032258064</c:v>
                </c:pt>
                <c:pt idx="876">
                  <c:v>42.212580645161289</c:v>
                </c:pt>
                <c:pt idx="877">
                  <c:v>42.161612903225809</c:v>
                </c:pt>
                <c:pt idx="878">
                  <c:v>42.174516129032263</c:v>
                </c:pt>
                <c:pt idx="879">
                  <c:v>42.151612903225811</c:v>
                </c:pt>
                <c:pt idx="880">
                  <c:v>42.161612903225809</c:v>
                </c:pt>
                <c:pt idx="881">
                  <c:v>42.182258064516127</c:v>
                </c:pt>
                <c:pt idx="882">
                  <c:v>42.170967741935478</c:v>
                </c:pt>
                <c:pt idx="883">
                  <c:v>42.146774193548382</c:v>
                </c:pt>
                <c:pt idx="884">
                  <c:v>42.113548387096763</c:v>
                </c:pt>
                <c:pt idx="885">
                  <c:v>42.084193548387084</c:v>
                </c:pt>
                <c:pt idx="886">
                  <c:v>42.102903225806436</c:v>
                </c:pt>
                <c:pt idx="887">
                  <c:v>42.063225806451605</c:v>
                </c:pt>
                <c:pt idx="888">
                  <c:v>42.059354838709673</c:v>
                </c:pt>
                <c:pt idx="889">
                  <c:v>42.17903225806451</c:v>
                </c:pt>
                <c:pt idx="890">
                  <c:v>42.224838709677414</c:v>
                </c:pt>
                <c:pt idx="891">
                  <c:v>42.189032258064508</c:v>
                </c:pt>
                <c:pt idx="892">
                  <c:v>42.20354838709676</c:v>
                </c:pt>
                <c:pt idx="893">
                  <c:v>42.14225806451612</c:v>
                </c:pt>
                <c:pt idx="894">
                  <c:v>42.173225806451612</c:v>
                </c:pt>
                <c:pt idx="895">
                  <c:v>42.202580645161284</c:v>
                </c:pt>
                <c:pt idx="896">
                  <c:v>42.241290322580639</c:v>
                </c:pt>
                <c:pt idx="897">
                  <c:v>42.242258064516122</c:v>
                </c:pt>
                <c:pt idx="898">
                  <c:v>42.269354838709674</c:v>
                </c:pt>
                <c:pt idx="899">
                  <c:v>42.291935483870972</c:v>
                </c:pt>
                <c:pt idx="900">
                  <c:v>42.199677419354842</c:v>
                </c:pt>
                <c:pt idx="901">
                  <c:v>42.197419354838715</c:v>
                </c:pt>
                <c:pt idx="902">
                  <c:v>42.186774193548395</c:v>
                </c:pt>
                <c:pt idx="903">
                  <c:v>42.143870967741954</c:v>
                </c:pt>
                <c:pt idx="904">
                  <c:v>42.165483870967755</c:v>
                </c:pt>
                <c:pt idx="905">
                  <c:v>42.170000000000009</c:v>
                </c:pt>
                <c:pt idx="906">
                  <c:v>42.173225806451612</c:v>
                </c:pt>
                <c:pt idx="907">
                  <c:v>42.089354838709674</c:v>
                </c:pt>
                <c:pt idx="908">
                  <c:v>42.15032258064516</c:v>
                </c:pt>
                <c:pt idx="909">
                  <c:v>42.114193548387092</c:v>
                </c:pt>
                <c:pt idx="910">
                  <c:v>42.059677419354827</c:v>
                </c:pt>
                <c:pt idx="911">
                  <c:v>42.031290322580631</c:v>
                </c:pt>
                <c:pt idx="912">
                  <c:v>42.01290322580644</c:v>
                </c:pt>
                <c:pt idx="913">
                  <c:v>42.027096774193545</c:v>
                </c:pt>
                <c:pt idx="914">
                  <c:v>42.020645161290318</c:v>
                </c:pt>
                <c:pt idx="915">
                  <c:v>42.124516129032251</c:v>
                </c:pt>
                <c:pt idx="916">
                  <c:v>42.116451612903212</c:v>
                </c:pt>
                <c:pt idx="917">
                  <c:v>42.144193548387094</c:v>
                </c:pt>
                <c:pt idx="918">
                  <c:v>42.110645161290321</c:v>
                </c:pt>
                <c:pt idx="919">
                  <c:v>42.119354838709668</c:v>
                </c:pt>
                <c:pt idx="920">
                  <c:v>42.010967741935481</c:v>
                </c:pt>
                <c:pt idx="921">
                  <c:v>41.995161290322578</c:v>
                </c:pt>
                <c:pt idx="922">
                  <c:v>41.914838709677419</c:v>
                </c:pt>
                <c:pt idx="923">
                  <c:v>41.88903225806451</c:v>
                </c:pt>
                <c:pt idx="924">
                  <c:v>41.940967741935488</c:v>
                </c:pt>
                <c:pt idx="925">
                  <c:v>41.98516129032258</c:v>
                </c:pt>
                <c:pt idx="926">
                  <c:v>41.994516129032256</c:v>
                </c:pt>
                <c:pt idx="927">
                  <c:v>41.963548387096779</c:v>
                </c:pt>
                <c:pt idx="928">
                  <c:v>42.004516129032268</c:v>
                </c:pt>
                <c:pt idx="929">
                  <c:v>42.038709677419362</c:v>
                </c:pt>
                <c:pt idx="930">
                  <c:v>41.992903225806465</c:v>
                </c:pt>
                <c:pt idx="931">
                  <c:v>42.036774193548396</c:v>
                </c:pt>
                <c:pt idx="932">
                  <c:v>42.02967741935484</c:v>
                </c:pt>
                <c:pt idx="933">
                  <c:v>41.973225806451616</c:v>
                </c:pt>
                <c:pt idx="934">
                  <c:v>42.036451612903235</c:v>
                </c:pt>
                <c:pt idx="935">
                  <c:v>42.007741935483871</c:v>
                </c:pt>
                <c:pt idx="936">
                  <c:v>41.940645161290327</c:v>
                </c:pt>
                <c:pt idx="937">
                  <c:v>41.946774193548393</c:v>
                </c:pt>
                <c:pt idx="938">
                  <c:v>41.958064516129042</c:v>
                </c:pt>
                <c:pt idx="939">
                  <c:v>41.963225806451618</c:v>
                </c:pt>
                <c:pt idx="940">
                  <c:v>41.910322580645165</c:v>
                </c:pt>
                <c:pt idx="941">
                  <c:v>42.011290322580649</c:v>
                </c:pt>
                <c:pt idx="942">
                  <c:v>41.99903225806451</c:v>
                </c:pt>
                <c:pt idx="943">
                  <c:v>42.023870967741928</c:v>
                </c:pt>
                <c:pt idx="944">
                  <c:v>42.048387096774192</c:v>
                </c:pt>
                <c:pt idx="945">
                  <c:v>42.083548387096769</c:v>
                </c:pt>
                <c:pt idx="946">
                  <c:v>42.004838709677422</c:v>
                </c:pt>
                <c:pt idx="947">
                  <c:v>42.06</c:v>
                </c:pt>
                <c:pt idx="948">
                  <c:v>42.038387096774187</c:v>
                </c:pt>
                <c:pt idx="949">
                  <c:v>42.05838709677419</c:v>
                </c:pt>
                <c:pt idx="950">
                  <c:v>42.16935483870968</c:v>
                </c:pt>
                <c:pt idx="951">
                  <c:v>42.27870967741935</c:v>
                </c:pt>
                <c:pt idx="952">
                  <c:v>42.271612903225794</c:v>
                </c:pt>
                <c:pt idx="953">
                  <c:v>42.317741935483859</c:v>
                </c:pt>
                <c:pt idx="954">
                  <c:v>42.366451612903212</c:v>
                </c:pt>
                <c:pt idx="955">
                  <c:v>42.312903225806444</c:v>
                </c:pt>
                <c:pt idx="956">
                  <c:v>42.22999999999999</c:v>
                </c:pt>
                <c:pt idx="957">
                  <c:v>42.149032258064516</c:v>
                </c:pt>
                <c:pt idx="958">
                  <c:v>42.089999999999996</c:v>
                </c:pt>
                <c:pt idx="959">
                  <c:v>42.060967741935485</c:v>
                </c:pt>
                <c:pt idx="960">
                  <c:v>42.048064516129038</c:v>
                </c:pt>
                <c:pt idx="961">
                  <c:v>42.108709677419348</c:v>
                </c:pt>
                <c:pt idx="962">
                  <c:v>42.105161290322577</c:v>
                </c:pt>
                <c:pt idx="963">
                  <c:v>42.108709677419355</c:v>
                </c:pt>
                <c:pt idx="964">
                  <c:v>42.192258064516132</c:v>
                </c:pt>
                <c:pt idx="965">
                  <c:v>42.215483870967731</c:v>
                </c:pt>
                <c:pt idx="966">
                  <c:v>42.328387096774186</c:v>
                </c:pt>
                <c:pt idx="967">
                  <c:v>42.364193548387085</c:v>
                </c:pt>
                <c:pt idx="968">
                  <c:v>42.306129032258049</c:v>
                </c:pt>
                <c:pt idx="969">
                  <c:v>42.289677419354831</c:v>
                </c:pt>
                <c:pt idx="970">
                  <c:v>42.182903225806449</c:v>
                </c:pt>
                <c:pt idx="971">
                  <c:v>42.16612903225807</c:v>
                </c:pt>
                <c:pt idx="972">
                  <c:v>42.12</c:v>
                </c:pt>
                <c:pt idx="973">
                  <c:v>42.177096774193551</c:v>
                </c:pt>
                <c:pt idx="974">
                  <c:v>42.17354838709678</c:v>
                </c:pt>
                <c:pt idx="975">
                  <c:v>42.119032258064514</c:v>
                </c:pt>
                <c:pt idx="976">
                  <c:v>42.02548387096774</c:v>
                </c:pt>
                <c:pt idx="977">
                  <c:v>42.056451612903224</c:v>
                </c:pt>
                <c:pt idx="978">
                  <c:v>42.107419354838704</c:v>
                </c:pt>
                <c:pt idx="979">
                  <c:v>42.048709677419353</c:v>
                </c:pt>
                <c:pt idx="980">
                  <c:v>42.025161290322586</c:v>
                </c:pt>
                <c:pt idx="981">
                  <c:v>41.989032258064512</c:v>
                </c:pt>
                <c:pt idx="982">
                  <c:v>41.869032258064514</c:v>
                </c:pt>
                <c:pt idx="983">
                  <c:v>41.84129032258064</c:v>
                </c:pt>
                <c:pt idx="984">
                  <c:v>41.832258064516125</c:v>
                </c:pt>
                <c:pt idx="985">
                  <c:v>41.844193548387096</c:v>
                </c:pt>
                <c:pt idx="986">
                  <c:v>41.803870967741936</c:v>
                </c:pt>
                <c:pt idx="987">
                  <c:v>41.903870967741938</c:v>
                </c:pt>
                <c:pt idx="988">
                  <c:v>41.98935483870968</c:v>
                </c:pt>
                <c:pt idx="989">
                  <c:v>41.987741935483868</c:v>
                </c:pt>
                <c:pt idx="990">
                  <c:v>41.913225806451607</c:v>
                </c:pt>
                <c:pt idx="991">
                  <c:v>41.828709677419347</c:v>
                </c:pt>
                <c:pt idx="992">
                  <c:v>41.816129032258054</c:v>
                </c:pt>
                <c:pt idx="993">
                  <c:v>41.780322580645155</c:v>
                </c:pt>
                <c:pt idx="994">
                  <c:v>41.833225806451608</c:v>
                </c:pt>
                <c:pt idx="995">
                  <c:v>41.715161290322584</c:v>
                </c:pt>
                <c:pt idx="996">
                  <c:v>41.71387096774194</c:v>
                </c:pt>
                <c:pt idx="997">
                  <c:v>41.6925806451613</c:v>
                </c:pt>
                <c:pt idx="998">
                  <c:v>41.701612903225808</c:v>
                </c:pt>
                <c:pt idx="999">
                  <c:v>41.716129032258074</c:v>
                </c:pt>
                <c:pt idx="1000">
                  <c:v>41.727419354838716</c:v>
                </c:pt>
                <c:pt idx="1001">
                  <c:v>41.752258064516134</c:v>
                </c:pt>
                <c:pt idx="1002">
                  <c:v>41.829032258064522</c:v>
                </c:pt>
                <c:pt idx="1003">
                  <c:v>41.851290322580653</c:v>
                </c:pt>
                <c:pt idx="1004">
                  <c:v>41.80290322580646</c:v>
                </c:pt>
                <c:pt idx="1005">
                  <c:v>41.813225806451619</c:v>
                </c:pt>
                <c:pt idx="1006">
                  <c:v>41.742903225806458</c:v>
                </c:pt>
                <c:pt idx="1007">
                  <c:v>41.836774193548393</c:v>
                </c:pt>
                <c:pt idx="1008">
                  <c:v>41.815806451612907</c:v>
                </c:pt>
                <c:pt idx="1009">
                  <c:v>41.790645161290328</c:v>
                </c:pt>
                <c:pt idx="1010">
                  <c:v>41.769354838709674</c:v>
                </c:pt>
                <c:pt idx="1011">
                  <c:v>41.762903225806454</c:v>
                </c:pt>
                <c:pt idx="1012">
                  <c:v>41.674516129032263</c:v>
                </c:pt>
                <c:pt idx="1013">
                  <c:v>41.698709677419366</c:v>
                </c:pt>
                <c:pt idx="1014">
                  <c:v>41.64387096774194</c:v>
                </c:pt>
                <c:pt idx="1015">
                  <c:v>41.61354838709677</c:v>
                </c:pt>
                <c:pt idx="1016">
                  <c:v>41.515161290322574</c:v>
                </c:pt>
                <c:pt idx="1017">
                  <c:v>41.591290322580633</c:v>
                </c:pt>
                <c:pt idx="1018">
                  <c:v>41.551935483870949</c:v>
                </c:pt>
                <c:pt idx="1019">
                  <c:v>41.521290322580626</c:v>
                </c:pt>
                <c:pt idx="1020">
                  <c:v>41.566774193548369</c:v>
                </c:pt>
                <c:pt idx="1021">
                  <c:v>41.662903225806438</c:v>
                </c:pt>
                <c:pt idx="1022">
                  <c:v>41.739354838709659</c:v>
                </c:pt>
                <c:pt idx="1023">
                  <c:v>41.646129032258052</c:v>
                </c:pt>
                <c:pt idx="1024">
                  <c:v>41.660645161290311</c:v>
                </c:pt>
                <c:pt idx="1025">
                  <c:v>41.641612903225806</c:v>
                </c:pt>
                <c:pt idx="1026">
                  <c:v>41.759354838709669</c:v>
                </c:pt>
                <c:pt idx="1027">
                  <c:v>41.695806451612903</c:v>
                </c:pt>
                <c:pt idx="1028">
                  <c:v>41.660645161290319</c:v>
                </c:pt>
                <c:pt idx="1029">
                  <c:v>41.634193548387096</c:v>
                </c:pt>
                <c:pt idx="1030">
                  <c:v>41.702580645161284</c:v>
                </c:pt>
                <c:pt idx="1031">
                  <c:v>41.750645161290315</c:v>
                </c:pt>
                <c:pt idx="1032">
                  <c:v>41.773548387096767</c:v>
                </c:pt>
                <c:pt idx="1033">
                  <c:v>41.713225806451611</c:v>
                </c:pt>
                <c:pt idx="1034">
                  <c:v>41.640322580645169</c:v>
                </c:pt>
                <c:pt idx="1035">
                  <c:v>41.683548387096771</c:v>
                </c:pt>
                <c:pt idx="1036">
                  <c:v>41.74</c:v>
                </c:pt>
                <c:pt idx="1037">
                  <c:v>41.770322580645164</c:v>
                </c:pt>
                <c:pt idx="1038">
                  <c:v>41.683548387096778</c:v>
                </c:pt>
                <c:pt idx="1039">
                  <c:v>41.680645161290329</c:v>
                </c:pt>
                <c:pt idx="1040">
                  <c:v>41.649354838709684</c:v>
                </c:pt>
                <c:pt idx="1041">
                  <c:v>41.721935483870972</c:v>
                </c:pt>
                <c:pt idx="1042">
                  <c:v>41.799032258064514</c:v>
                </c:pt>
                <c:pt idx="1043">
                  <c:v>41.917741935483875</c:v>
                </c:pt>
                <c:pt idx="1044">
                  <c:v>41.965806451612892</c:v>
                </c:pt>
                <c:pt idx="1045">
                  <c:v>42.043870967741924</c:v>
                </c:pt>
                <c:pt idx="1046">
                  <c:v>42.169032258064512</c:v>
                </c:pt>
                <c:pt idx="1047">
                  <c:v>42.256129032258059</c:v>
                </c:pt>
                <c:pt idx="1048">
                  <c:v>42.282580645161289</c:v>
                </c:pt>
                <c:pt idx="1049">
                  <c:v>42.308709677419358</c:v>
                </c:pt>
                <c:pt idx="1050">
                  <c:v>42.314516129032256</c:v>
                </c:pt>
                <c:pt idx="1051">
                  <c:v>42.377096774193554</c:v>
                </c:pt>
                <c:pt idx="1052">
                  <c:v>42.402580645161294</c:v>
                </c:pt>
                <c:pt idx="1053">
                  <c:v>42.392903225806457</c:v>
                </c:pt>
                <c:pt idx="1054">
                  <c:v>42.523870967741928</c:v>
                </c:pt>
                <c:pt idx="1055">
                  <c:v>42.609999999999985</c:v>
                </c:pt>
                <c:pt idx="1056">
                  <c:v>42.680645161290315</c:v>
                </c:pt>
                <c:pt idx="1057">
                  <c:v>42.66</c:v>
                </c:pt>
                <c:pt idx="1058">
                  <c:v>42.708709677419343</c:v>
                </c:pt>
                <c:pt idx="1059">
                  <c:v>42.773225806451599</c:v>
                </c:pt>
                <c:pt idx="1060">
                  <c:v>42.883225806451613</c:v>
                </c:pt>
                <c:pt idx="1061">
                  <c:v>42.951935483870969</c:v>
                </c:pt>
                <c:pt idx="1062">
                  <c:v>42.932258064516127</c:v>
                </c:pt>
                <c:pt idx="1063">
                  <c:v>42.938064516129032</c:v>
                </c:pt>
                <c:pt idx="1064">
                  <c:v>43.023548387096774</c:v>
                </c:pt>
                <c:pt idx="1065">
                  <c:v>43.08387096774193</c:v>
                </c:pt>
                <c:pt idx="1066">
                  <c:v>43.078064516129039</c:v>
                </c:pt>
                <c:pt idx="1067">
                  <c:v>43.086451612903232</c:v>
                </c:pt>
                <c:pt idx="1068">
                  <c:v>43.186451612903234</c:v>
                </c:pt>
                <c:pt idx="1069">
                  <c:v>43.286129032258067</c:v>
                </c:pt>
                <c:pt idx="1070">
                  <c:v>43.323870967741939</c:v>
                </c:pt>
                <c:pt idx="1071">
                  <c:v>43.346774193548391</c:v>
                </c:pt>
                <c:pt idx="1072">
                  <c:v>43.371935483870978</c:v>
                </c:pt>
                <c:pt idx="1073">
                  <c:v>43.412580645161285</c:v>
                </c:pt>
                <c:pt idx="1074">
                  <c:v>43.35935483870967</c:v>
                </c:pt>
                <c:pt idx="1075">
                  <c:v>43.404838709677414</c:v>
                </c:pt>
                <c:pt idx="1076">
                  <c:v>43.399032258064508</c:v>
                </c:pt>
                <c:pt idx="1077">
                  <c:v>43.379354838709666</c:v>
                </c:pt>
                <c:pt idx="1078">
                  <c:v>43.445806451612896</c:v>
                </c:pt>
                <c:pt idx="1079">
                  <c:v>43.415806451612902</c:v>
                </c:pt>
                <c:pt idx="1080">
                  <c:v>43.447419354838708</c:v>
                </c:pt>
                <c:pt idx="1081">
                  <c:v>43.487419354838707</c:v>
                </c:pt>
                <c:pt idx="1082">
                  <c:v>43.49258064516129</c:v>
                </c:pt>
                <c:pt idx="1083">
                  <c:v>43.42</c:v>
                </c:pt>
                <c:pt idx="1084">
                  <c:v>43.370322580645158</c:v>
                </c:pt>
                <c:pt idx="1085">
                  <c:v>43.301612903225809</c:v>
                </c:pt>
                <c:pt idx="1086">
                  <c:v>43.270645161290325</c:v>
                </c:pt>
                <c:pt idx="1087">
                  <c:v>43.19903225806452</c:v>
                </c:pt>
                <c:pt idx="1088">
                  <c:v>43.112258064516126</c:v>
                </c:pt>
                <c:pt idx="1089">
                  <c:v>43.116451612903212</c:v>
                </c:pt>
                <c:pt idx="1090">
                  <c:v>42.997741935483859</c:v>
                </c:pt>
                <c:pt idx="1091">
                  <c:v>42.895483870967738</c:v>
                </c:pt>
                <c:pt idx="1092">
                  <c:v>42.761290322580635</c:v>
                </c:pt>
                <c:pt idx="1093">
                  <c:v>42.748709677419349</c:v>
                </c:pt>
                <c:pt idx="1094">
                  <c:v>42.715483870967738</c:v>
                </c:pt>
                <c:pt idx="1095">
                  <c:v>42.61774193548387</c:v>
                </c:pt>
                <c:pt idx="1096">
                  <c:v>42.59870967741935</c:v>
                </c:pt>
                <c:pt idx="1097">
                  <c:v>42.568709677419356</c:v>
                </c:pt>
                <c:pt idx="1098">
                  <c:v>42.486451612903231</c:v>
                </c:pt>
                <c:pt idx="1099">
                  <c:v>42.408064516129045</c:v>
                </c:pt>
                <c:pt idx="1100">
                  <c:v>42.325483870967751</c:v>
                </c:pt>
                <c:pt idx="1101">
                  <c:v>42.264838709677427</c:v>
                </c:pt>
                <c:pt idx="1102">
                  <c:v>42.269354838709688</c:v>
                </c:pt>
                <c:pt idx="1103">
                  <c:v>42.176451612903236</c:v>
                </c:pt>
                <c:pt idx="1104">
                  <c:v>42.105806451612906</c:v>
                </c:pt>
                <c:pt idx="1105">
                  <c:v>42.153870967741945</c:v>
                </c:pt>
                <c:pt idx="1106">
                  <c:v>42.039354838709691</c:v>
                </c:pt>
                <c:pt idx="1107">
                  <c:v>41.999032258064524</c:v>
                </c:pt>
                <c:pt idx="1108">
                  <c:v>41.89161290322582</c:v>
                </c:pt>
                <c:pt idx="1109">
                  <c:v>41.851290322580645</c:v>
                </c:pt>
                <c:pt idx="1110">
                  <c:v>41.758064516129032</c:v>
                </c:pt>
                <c:pt idx="1111">
                  <c:v>41.721612903225804</c:v>
                </c:pt>
                <c:pt idx="1112">
                  <c:v>41.630322580645164</c:v>
                </c:pt>
                <c:pt idx="1113">
                  <c:v>41.550322580645165</c:v>
                </c:pt>
                <c:pt idx="1114">
                  <c:v>41.599677419354833</c:v>
                </c:pt>
                <c:pt idx="1115">
                  <c:v>41.67</c:v>
                </c:pt>
                <c:pt idx="1116">
                  <c:v>41.63419354838711</c:v>
                </c:pt>
                <c:pt idx="1117">
                  <c:v>41.620000000000012</c:v>
                </c:pt>
                <c:pt idx="1118">
                  <c:v>41.643548387096779</c:v>
                </c:pt>
                <c:pt idx="1119">
                  <c:v>41.730967741935487</c:v>
                </c:pt>
                <c:pt idx="1120">
                  <c:v>41.707741935483874</c:v>
                </c:pt>
                <c:pt idx="1121">
                  <c:v>41.730000000000004</c:v>
                </c:pt>
                <c:pt idx="1122">
                  <c:v>41.713548387096772</c:v>
                </c:pt>
                <c:pt idx="1123">
                  <c:v>41.77129032258064</c:v>
                </c:pt>
                <c:pt idx="1124">
                  <c:v>41.737419354838707</c:v>
                </c:pt>
                <c:pt idx="1125">
                  <c:v>41.829354838709676</c:v>
                </c:pt>
                <c:pt idx="1126">
                  <c:v>41.856774193548389</c:v>
                </c:pt>
                <c:pt idx="1127">
                  <c:v>41.871612903225817</c:v>
                </c:pt>
                <c:pt idx="1128">
                  <c:v>41.892258064516128</c:v>
                </c:pt>
                <c:pt idx="1129">
                  <c:v>41.923225806451619</c:v>
                </c:pt>
                <c:pt idx="1130">
                  <c:v>41.880000000000017</c:v>
                </c:pt>
                <c:pt idx="1131">
                  <c:v>41.914193548387104</c:v>
                </c:pt>
                <c:pt idx="1132">
                  <c:v>41.95870967741935</c:v>
                </c:pt>
                <c:pt idx="1133">
                  <c:v>41.990645161290324</c:v>
                </c:pt>
                <c:pt idx="1134">
                  <c:v>42.00322580645161</c:v>
                </c:pt>
                <c:pt idx="1135">
                  <c:v>41.94580645161291</c:v>
                </c:pt>
                <c:pt idx="1136">
                  <c:v>41.908709677419353</c:v>
                </c:pt>
                <c:pt idx="1137">
                  <c:v>41.91</c:v>
                </c:pt>
                <c:pt idx="1138">
                  <c:v>41.89806451612904</c:v>
                </c:pt>
                <c:pt idx="1139">
                  <c:v>41.924838709677424</c:v>
                </c:pt>
                <c:pt idx="1140">
                  <c:v>41.874193548387105</c:v>
                </c:pt>
                <c:pt idx="1141">
                  <c:v>41.939354838709683</c:v>
                </c:pt>
                <c:pt idx="1142">
                  <c:v>41.882580645161298</c:v>
                </c:pt>
                <c:pt idx="1143">
                  <c:v>41.891290322580652</c:v>
                </c:pt>
                <c:pt idx="1144">
                  <c:v>41.909677419354843</c:v>
                </c:pt>
                <c:pt idx="1145">
                  <c:v>41.79451612903226</c:v>
                </c:pt>
                <c:pt idx="1146">
                  <c:v>41.77225806451613</c:v>
                </c:pt>
                <c:pt idx="1147">
                  <c:v>41.758387096774193</c:v>
                </c:pt>
                <c:pt idx="1148">
                  <c:v>41.782580645161296</c:v>
                </c:pt>
                <c:pt idx="1149">
                  <c:v>41.758387096774186</c:v>
                </c:pt>
                <c:pt idx="1150">
                  <c:v>41.716774193548389</c:v>
                </c:pt>
                <c:pt idx="1151">
                  <c:v>41.77548387096774</c:v>
                </c:pt>
                <c:pt idx="1152">
                  <c:v>41.778387096774189</c:v>
                </c:pt>
                <c:pt idx="1153">
                  <c:v>41.813225806451605</c:v>
                </c:pt>
                <c:pt idx="1154">
                  <c:v>41.829354838709669</c:v>
                </c:pt>
                <c:pt idx="1155">
                  <c:v>41.885161290322579</c:v>
                </c:pt>
                <c:pt idx="1156">
                  <c:v>41.795806451612904</c:v>
                </c:pt>
                <c:pt idx="1157">
                  <c:v>41.771612903225815</c:v>
                </c:pt>
                <c:pt idx="1158">
                  <c:v>41.767096774193554</c:v>
                </c:pt>
                <c:pt idx="1159">
                  <c:v>41.805483870967748</c:v>
                </c:pt>
                <c:pt idx="1160">
                  <c:v>41.769677419354842</c:v>
                </c:pt>
                <c:pt idx="1161">
                  <c:v>41.813225806451619</c:v>
                </c:pt>
                <c:pt idx="1162">
                  <c:v>41.77129032258064</c:v>
                </c:pt>
                <c:pt idx="1163">
                  <c:v>41.713548387096772</c:v>
                </c:pt>
                <c:pt idx="1164">
                  <c:v>41.648387096774201</c:v>
                </c:pt>
                <c:pt idx="1165">
                  <c:v>41.615483870967743</c:v>
                </c:pt>
                <c:pt idx="1166">
                  <c:v>41.686774193548388</c:v>
                </c:pt>
                <c:pt idx="1167">
                  <c:v>41.608709677419348</c:v>
                </c:pt>
                <c:pt idx="1168">
                  <c:v>41.617419354838695</c:v>
                </c:pt>
                <c:pt idx="1169">
                  <c:v>41.622580645161271</c:v>
                </c:pt>
                <c:pt idx="1170">
                  <c:v>41.676774193548376</c:v>
                </c:pt>
                <c:pt idx="1171">
                  <c:v>41.705483870967733</c:v>
                </c:pt>
                <c:pt idx="1172">
                  <c:v>41.706774193548384</c:v>
                </c:pt>
                <c:pt idx="1173">
                  <c:v>41.725161290322582</c:v>
                </c:pt>
                <c:pt idx="1174">
                  <c:v>41.770967741935486</c:v>
                </c:pt>
                <c:pt idx="1175">
                  <c:v>41.723870967741938</c:v>
                </c:pt>
                <c:pt idx="1176">
                  <c:v>41.829032258064515</c:v>
                </c:pt>
                <c:pt idx="1177">
                  <c:v>41.818709677419349</c:v>
                </c:pt>
                <c:pt idx="1178">
                  <c:v>41.846451612903223</c:v>
                </c:pt>
                <c:pt idx="1179">
                  <c:v>41.857096774193543</c:v>
                </c:pt>
                <c:pt idx="1180">
                  <c:v>41.824516129032254</c:v>
                </c:pt>
                <c:pt idx="1181">
                  <c:v>41.832903225806447</c:v>
                </c:pt>
                <c:pt idx="1182">
                  <c:v>41.734193548387097</c:v>
                </c:pt>
                <c:pt idx="1183">
                  <c:v>41.802258064516124</c:v>
                </c:pt>
                <c:pt idx="1184">
                  <c:v>41.745161290322585</c:v>
                </c:pt>
                <c:pt idx="1185">
                  <c:v>41.777096774193545</c:v>
                </c:pt>
                <c:pt idx="1186">
                  <c:v>41.70000000000001</c:v>
                </c:pt>
                <c:pt idx="1187">
                  <c:v>41.775483870967747</c:v>
                </c:pt>
                <c:pt idx="1188">
                  <c:v>41.820000000000007</c:v>
                </c:pt>
                <c:pt idx="1189">
                  <c:v>41.822258064516134</c:v>
                </c:pt>
                <c:pt idx="1190">
                  <c:v>41.792580645161301</c:v>
                </c:pt>
                <c:pt idx="1191">
                  <c:v>41.840000000000011</c:v>
                </c:pt>
                <c:pt idx="1192">
                  <c:v>41.820000000000014</c:v>
                </c:pt>
                <c:pt idx="1193">
                  <c:v>41.786774193548396</c:v>
                </c:pt>
                <c:pt idx="1194">
                  <c:v>41.834516129032259</c:v>
                </c:pt>
                <c:pt idx="1195">
                  <c:v>41.890967741935491</c:v>
                </c:pt>
                <c:pt idx="1196">
                  <c:v>41.909354838709682</c:v>
                </c:pt>
                <c:pt idx="1197">
                  <c:v>41.929032258064524</c:v>
                </c:pt>
                <c:pt idx="1198">
                  <c:v>42.026129032258069</c:v>
                </c:pt>
                <c:pt idx="1199">
                  <c:v>42.05612903225807</c:v>
                </c:pt>
                <c:pt idx="1200">
                  <c:v>42.090967741935486</c:v>
                </c:pt>
                <c:pt idx="1201">
                  <c:v>42.097741935483874</c:v>
                </c:pt>
                <c:pt idx="1202">
                  <c:v>42.023548387096781</c:v>
                </c:pt>
                <c:pt idx="1203">
                  <c:v>42.012258064516132</c:v>
                </c:pt>
                <c:pt idx="1204">
                  <c:v>41.982258064516138</c:v>
                </c:pt>
                <c:pt idx="1205">
                  <c:v>42.000322580645168</c:v>
                </c:pt>
                <c:pt idx="1206">
                  <c:v>42.002580645161295</c:v>
                </c:pt>
                <c:pt idx="1207">
                  <c:v>41.921935483870975</c:v>
                </c:pt>
                <c:pt idx="1208">
                  <c:v>41.925483870967746</c:v>
                </c:pt>
                <c:pt idx="1209">
                  <c:v>41.961935483870974</c:v>
                </c:pt>
                <c:pt idx="1210">
                  <c:v>41.848709677419357</c:v>
                </c:pt>
                <c:pt idx="1211">
                  <c:v>41.957419354838706</c:v>
                </c:pt>
                <c:pt idx="1212">
                  <c:v>42.004838709677422</c:v>
                </c:pt>
                <c:pt idx="1213">
                  <c:v>42.107419354838711</c:v>
                </c:pt>
                <c:pt idx="1214">
                  <c:v>42.108387096774194</c:v>
                </c:pt>
                <c:pt idx="1215">
                  <c:v>42.194838709677427</c:v>
                </c:pt>
                <c:pt idx="1216">
                  <c:v>42.157096774193562</c:v>
                </c:pt>
                <c:pt idx="1217">
                  <c:v>42.171612903225814</c:v>
                </c:pt>
                <c:pt idx="1218">
                  <c:v>42.062258064516129</c:v>
                </c:pt>
                <c:pt idx="1219">
                  <c:v>42.076129032258059</c:v>
                </c:pt>
                <c:pt idx="1220">
                  <c:v>42.068064516129041</c:v>
                </c:pt>
                <c:pt idx="1221">
                  <c:v>42.028064516129035</c:v>
                </c:pt>
                <c:pt idx="1222">
                  <c:v>41.955483870967747</c:v>
                </c:pt>
                <c:pt idx="1223">
                  <c:v>41.976129032258072</c:v>
                </c:pt>
                <c:pt idx="1224">
                  <c:v>42.07</c:v>
                </c:pt>
                <c:pt idx="1225">
                  <c:v>42.054838709677426</c:v>
                </c:pt>
                <c:pt idx="1226">
                  <c:v>42.005806451612905</c:v>
                </c:pt>
                <c:pt idx="1227">
                  <c:v>42.070322580645161</c:v>
                </c:pt>
                <c:pt idx="1228">
                  <c:v>41.962258064516128</c:v>
                </c:pt>
                <c:pt idx="1229">
                  <c:v>41.961290322580638</c:v>
                </c:pt>
                <c:pt idx="1230">
                  <c:v>41.962258064516128</c:v>
                </c:pt>
                <c:pt idx="1231">
                  <c:v>41.974516129032253</c:v>
                </c:pt>
                <c:pt idx="1232">
                  <c:v>41.945161290322574</c:v>
                </c:pt>
                <c:pt idx="1233">
                  <c:v>42.052580645161285</c:v>
                </c:pt>
                <c:pt idx="1234">
                  <c:v>42.123548387096761</c:v>
                </c:pt>
                <c:pt idx="1235">
                  <c:v>42.251935483870952</c:v>
                </c:pt>
                <c:pt idx="1236">
                  <c:v>42.261290322580635</c:v>
                </c:pt>
                <c:pt idx="1237">
                  <c:v>42.399677419354823</c:v>
                </c:pt>
                <c:pt idx="1238">
                  <c:v>42.519677419354828</c:v>
                </c:pt>
                <c:pt idx="1239">
                  <c:v>42.57032258064514</c:v>
                </c:pt>
                <c:pt idx="1240">
                  <c:v>42.558709677419337</c:v>
                </c:pt>
                <c:pt idx="1241">
                  <c:v>42.619999999999983</c:v>
                </c:pt>
                <c:pt idx="1242">
                  <c:v>42.583870967741916</c:v>
                </c:pt>
                <c:pt idx="1243">
                  <c:v>42.619677419354822</c:v>
                </c:pt>
                <c:pt idx="1244">
                  <c:v>42.604516129032248</c:v>
                </c:pt>
                <c:pt idx="1245">
                  <c:v>42.584516129032252</c:v>
                </c:pt>
                <c:pt idx="1246">
                  <c:v>42.61258064516128</c:v>
                </c:pt>
                <c:pt idx="1247">
                  <c:v>42.595483870967733</c:v>
                </c:pt>
                <c:pt idx="1248">
                  <c:v>42.650645161290328</c:v>
                </c:pt>
                <c:pt idx="1249">
                  <c:v>42.789354838709684</c:v>
                </c:pt>
                <c:pt idx="1250">
                  <c:v>42.799677419354843</c:v>
                </c:pt>
                <c:pt idx="1251">
                  <c:v>42.861612903225804</c:v>
                </c:pt>
                <c:pt idx="1252">
                  <c:v>42.957419354838713</c:v>
                </c:pt>
                <c:pt idx="1253">
                  <c:v>43.01387096774193</c:v>
                </c:pt>
                <c:pt idx="1254">
                  <c:v>43.081612903225803</c:v>
                </c:pt>
                <c:pt idx="1255">
                  <c:v>43.086129032258057</c:v>
                </c:pt>
                <c:pt idx="1256">
                  <c:v>43.12903225806452</c:v>
                </c:pt>
                <c:pt idx="1257">
                  <c:v>43.179677419354839</c:v>
                </c:pt>
                <c:pt idx="1258">
                  <c:v>43.243548387096766</c:v>
                </c:pt>
                <c:pt idx="1259">
                  <c:v>43.372258064516117</c:v>
                </c:pt>
                <c:pt idx="1260">
                  <c:v>43.381612903225808</c:v>
                </c:pt>
                <c:pt idx="1261">
                  <c:v>43.471290322580643</c:v>
                </c:pt>
                <c:pt idx="1262">
                  <c:v>43.51387096774193</c:v>
                </c:pt>
                <c:pt idx="1263">
                  <c:v>43.577741935483857</c:v>
                </c:pt>
                <c:pt idx="1264">
                  <c:v>43.591935483870955</c:v>
                </c:pt>
                <c:pt idx="1265">
                  <c:v>43.543548387096763</c:v>
                </c:pt>
                <c:pt idx="1266">
                  <c:v>43.55419354838709</c:v>
                </c:pt>
                <c:pt idx="1267">
                  <c:v>43.59451612903225</c:v>
                </c:pt>
                <c:pt idx="1268">
                  <c:v>43.563870967741941</c:v>
                </c:pt>
                <c:pt idx="1269">
                  <c:v>43.577096774193556</c:v>
                </c:pt>
                <c:pt idx="1270">
                  <c:v>43.557419354838714</c:v>
                </c:pt>
                <c:pt idx="1271">
                  <c:v>43.597741935483874</c:v>
                </c:pt>
                <c:pt idx="1272">
                  <c:v>43.648709677419362</c:v>
                </c:pt>
                <c:pt idx="1273">
                  <c:v>43.700322580645164</c:v>
                </c:pt>
                <c:pt idx="1274">
                  <c:v>43.696774193548393</c:v>
                </c:pt>
                <c:pt idx="1275">
                  <c:v>43.660000000000004</c:v>
                </c:pt>
                <c:pt idx="1276">
                  <c:v>43.59129032258064</c:v>
                </c:pt>
                <c:pt idx="1277">
                  <c:v>43.510967741935481</c:v>
                </c:pt>
                <c:pt idx="1278">
                  <c:v>43.496129032258061</c:v>
                </c:pt>
                <c:pt idx="1279">
                  <c:v>43.485161290322587</c:v>
                </c:pt>
                <c:pt idx="1280">
                  <c:v>43.417741935483875</c:v>
                </c:pt>
                <c:pt idx="1281">
                  <c:v>43.443225806451608</c:v>
                </c:pt>
                <c:pt idx="1282">
                  <c:v>43.434516129032254</c:v>
                </c:pt>
                <c:pt idx="1283">
                  <c:v>43.341935483870969</c:v>
                </c:pt>
                <c:pt idx="1284">
                  <c:v>43.342580645161284</c:v>
                </c:pt>
                <c:pt idx="1285">
                  <c:v>43.277741935483867</c:v>
                </c:pt>
                <c:pt idx="1286">
                  <c:v>43.233225806451614</c:v>
                </c:pt>
                <c:pt idx="1287">
                  <c:v>43.26161290322581</c:v>
                </c:pt>
                <c:pt idx="1288">
                  <c:v>43.256774193548388</c:v>
                </c:pt>
                <c:pt idx="1289">
                  <c:v>43.196451612903225</c:v>
                </c:pt>
                <c:pt idx="1290">
                  <c:v>43.082580645161279</c:v>
                </c:pt>
                <c:pt idx="1291">
                  <c:v>43.086451612903218</c:v>
                </c:pt>
                <c:pt idx="1292">
                  <c:v>43.040645161290314</c:v>
                </c:pt>
                <c:pt idx="1293">
                  <c:v>42.95548387096774</c:v>
                </c:pt>
                <c:pt idx="1294">
                  <c:v>42.916129032258063</c:v>
                </c:pt>
                <c:pt idx="1295">
                  <c:v>42.803548387096768</c:v>
                </c:pt>
                <c:pt idx="1296">
                  <c:v>42.750322580645154</c:v>
                </c:pt>
                <c:pt idx="1297">
                  <c:v>42.670645161290317</c:v>
                </c:pt>
                <c:pt idx="1298">
                  <c:v>42.591290322580633</c:v>
                </c:pt>
                <c:pt idx="1299">
                  <c:v>42.510967741935481</c:v>
                </c:pt>
                <c:pt idx="1300">
                  <c:v>42.46</c:v>
                </c:pt>
                <c:pt idx="1301">
                  <c:v>42.401935483870972</c:v>
                </c:pt>
                <c:pt idx="1302">
                  <c:v>42.333548387096769</c:v>
                </c:pt>
                <c:pt idx="1303">
                  <c:v>42.284516129032255</c:v>
                </c:pt>
                <c:pt idx="1304">
                  <c:v>42.26483870967742</c:v>
                </c:pt>
                <c:pt idx="1305">
                  <c:v>42.11677419354838</c:v>
                </c:pt>
                <c:pt idx="1306">
                  <c:v>42.09548387096774</c:v>
                </c:pt>
                <c:pt idx="1307">
                  <c:v>42.195483870967749</c:v>
                </c:pt>
                <c:pt idx="1308">
                  <c:v>42.198064516129037</c:v>
                </c:pt>
                <c:pt idx="1309">
                  <c:v>42.269354838709674</c:v>
                </c:pt>
                <c:pt idx="1310">
                  <c:v>42.225806451612904</c:v>
                </c:pt>
                <c:pt idx="1311">
                  <c:v>42.274193548387096</c:v>
                </c:pt>
                <c:pt idx="1312">
                  <c:v>42.280645161290316</c:v>
                </c:pt>
                <c:pt idx="1313">
                  <c:v>42.254193548387093</c:v>
                </c:pt>
                <c:pt idx="1314">
                  <c:v>42.252903225806442</c:v>
                </c:pt>
                <c:pt idx="1315">
                  <c:v>42.224838709677414</c:v>
                </c:pt>
                <c:pt idx="1316">
                  <c:v>42.288709677419348</c:v>
                </c:pt>
                <c:pt idx="1317">
                  <c:v>42.311612903225807</c:v>
                </c:pt>
                <c:pt idx="1318">
                  <c:v>42.300967741935487</c:v>
                </c:pt>
                <c:pt idx="1319">
                  <c:v>42.305806451612909</c:v>
                </c:pt>
                <c:pt idx="1320">
                  <c:v>42.338064516129037</c:v>
                </c:pt>
                <c:pt idx="1321">
                  <c:v>42.341935483870969</c:v>
                </c:pt>
                <c:pt idx="1322">
                  <c:v>42.347741935483874</c:v>
                </c:pt>
                <c:pt idx="1323">
                  <c:v>42.35387096774194</c:v>
                </c:pt>
                <c:pt idx="1324">
                  <c:v>42.40870967741936</c:v>
                </c:pt>
                <c:pt idx="1325">
                  <c:v>42.442580645161293</c:v>
                </c:pt>
                <c:pt idx="1326">
                  <c:v>42.441935483870978</c:v>
                </c:pt>
                <c:pt idx="1327">
                  <c:v>42.534193548387101</c:v>
                </c:pt>
                <c:pt idx="1328">
                  <c:v>42.505806451612905</c:v>
                </c:pt>
                <c:pt idx="1329">
                  <c:v>42.452580645161291</c:v>
                </c:pt>
                <c:pt idx="1330">
                  <c:v>42.481612903225795</c:v>
                </c:pt>
                <c:pt idx="1331">
                  <c:v>42.405806451612897</c:v>
                </c:pt>
                <c:pt idx="1332">
                  <c:v>42.485806451612888</c:v>
                </c:pt>
                <c:pt idx="1333">
                  <c:v>42.548064516129024</c:v>
                </c:pt>
                <c:pt idx="1334">
                  <c:v>42.547096774193534</c:v>
                </c:pt>
                <c:pt idx="1335">
                  <c:v>42.43322580645161</c:v>
                </c:pt>
                <c:pt idx="1336">
                  <c:v>42.506129032258059</c:v>
                </c:pt>
                <c:pt idx="1337">
                  <c:v>42.493548387096773</c:v>
                </c:pt>
                <c:pt idx="1338">
                  <c:v>42.39290322580645</c:v>
                </c:pt>
                <c:pt idx="1339">
                  <c:v>42.350645161290316</c:v>
                </c:pt>
                <c:pt idx="1340">
                  <c:v>42.32548387096773</c:v>
                </c:pt>
                <c:pt idx="1341">
                  <c:v>42.366451612903212</c:v>
                </c:pt>
                <c:pt idx="1342">
                  <c:v>42.259354838709669</c:v>
                </c:pt>
                <c:pt idx="1343">
                  <c:v>42.218709677419348</c:v>
                </c:pt>
                <c:pt idx="1344">
                  <c:v>42.239677419354834</c:v>
                </c:pt>
                <c:pt idx="1345">
                  <c:v>42.199999999999996</c:v>
                </c:pt>
                <c:pt idx="1346">
                  <c:v>42.240645161290324</c:v>
                </c:pt>
                <c:pt idx="1347">
                  <c:v>42.120645161290319</c:v>
                </c:pt>
                <c:pt idx="1348">
                  <c:v>42.11677419354838</c:v>
                </c:pt>
                <c:pt idx="1349">
                  <c:v>42.016129032258064</c:v>
                </c:pt>
                <c:pt idx="1350">
                  <c:v>41.98516129032258</c:v>
                </c:pt>
                <c:pt idx="1351">
                  <c:v>41.878387096774198</c:v>
                </c:pt>
                <c:pt idx="1352">
                  <c:v>41.948387096774191</c:v>
                </c:pt>
                <c:pt idx="1353">
                  <c:v>41.850645161290309</c:v>
                </c:pt>
                <c:pt idx="1354">
                  <c:v>41.77548387096774</c:v>
                </c:pt>
                <c:pt idx="1355">
                  <c:v>41.771935483870962</c:v>
                </c:pt>
                <c:pt idx="1356">
                  <c:v>41.747741935483873</c:v>
                </c:pt>
                <c:pt idx="1357">
                  <c:v>41.721935483870958</c:v>
                </c:pt>
                <c:pt idx="1358">
                  <c:v>41.658064516129031</c:v>
                </c:pt>
                <c:pt idx="1359">
                  <c:v>41.640322580645162</c:v>
                </c:pt>
                <c:pt idx="1360">
                  <c:v>41.722580645161294</c:v>
                </c:pt>
                <c:pt idx="1361">
                  <c:v>41.729677419354836</c:v>
                </c:pt>
                <c:pt idx="1362">
                  <c:v>41.825483870967737</c:v>
                </c:pt>
                <c:pt idx="1363">
                  <c:v>41.717419354838718</c:v>
                </c:pt>
                <c:pt idx="1364">
                  <c:v>41.74</c:v>
                </c:pt>
                <c:pt idx="1365">
                  <c:v>41.71387096774194</c:v>
                </c:pt>
                <c:pt idx="1366">
                  <c:v>41.71387096774194</c:v>
                </c:pt>
                <c:pt idx="1367">
                  <c:v>41.713225806451611</c:v>
                </c:pt>
                <c:pt idx="1368">
                  <c:v>41.730645161290312</c:v>
                </c:pt>
                <c:pt idx="1369">
                  <c:v>41.746451612903222</c:v>
                </c:pt>
                <c:pt idx="1370">
                  <c:v>41.750645161290315</c:v>
                </c:pt>
                <c:pt idx="1371">
                  <c:v>41.719677419354838</c:v>
                </c:pt>
                <c:pt idx="1372">
                  <c:v>41.678709677419356</c:v>
                </c:pt>
                <c:pt idx="1373">
                  <c:v>41.754193548387093</c:v>
                </c:pt>
                <c:pt idx="1374">
                  <c:v>41.696451612903225</c:v>
                </c:pt>
                <c:pt idx="1375">
                  <c:v>41.645806451612906</c:v>
                </c:pt>
                <c:pt idx="1376">
                  <c:v>41.747741935483873</c:v>
                </c:pt>
                <c:pt idx="1377">
                  <c:v>41.744516129032256</c:v>
                </c:pt>
                <c:pt idx="1378">
                  <c:v>41.862258064516119</c:v>
                </c:pt>
                <c:pt idx="1379">
                  <c:v>41.895806451612906</c:v>
                </c:pt>
                <c:pt idx="1380">
                  <c:v>42.021935483870969</c:v>
                </c:pt>
                <c:pt idx="1381">
                  <c:v>41.944838709677427</c:v>
                </c:pt>
                <c:pt idx="1382">
                  <c:v>41.971935483870972</c:v>
                </c:pt>
                <c:pt idx="1383">
                  <c:v>41.976129032258072</c:v>
                </c:pt>
                <c:pt idx="1384">
                  <c:v>42.016774193548386</c:v>
                </c:pt>
                <c:pt idx="1385">
                  <c:v>42.022580645161298</c:v>
                </c:pt>
                <c:pt idx="1386">
                  <c:v>42.000322580645161</c:v>
                </c:pt>
                <c:pt idx="1387">
                  <c:v>41.930322580645168</c:v>
                </c:pt>
                <c:pt idx="1388">
                  <c:v>41.960967741935491</c:v>
                </c:pt>
                <c:pt idx="1389">
                  <c:v>41.979677419354836</c:v>
                </c:pt>
                <c:pt idx="1390">
                  <c:v>42.011290322580642</c:v>
                </c:pt>
                <c:pt idx="1391">
                  <c:v>41.912258064516131</c:v>
                </c:pt>
                <c:pt idx="1392">
                  <c:v>41.892258064516128</c:v>
                </c:pt>
                <c:pt idx="1393">
                  <c:v>41.873548387096768</c:v>
                </c:pt>
                <c:pt idx="1394">
                  <c:v>41.905806451612904</c:v>
                </c:pt>
                <c:pt idx="1395">
                  <c:v>41.906774193548387</c:v>
                </c:pt>
                <c:pt idx="1396">
                  <c:v>41.921612903225807</c:v>
                </c:pt>
                <c:pt idx="1397">
                  <c:v>42.014516129032259</c:v>
                </c:pt>
                <c:pt idx="1398">
                  <c:v>42.036129032258067</c:v>
                </c:pt>
                <c:pt idx="1399">
                  <c:v>41.99258064516129</c:v>
                </c:pt>
                <c:pt idx="1400">
                  <c:v>42.017741935483869</c:v>
                </c:pt>
                <c:pt idx="1401">
                  <c:v>42.109677419354831</c:v>
                </c:pt>
                <c:pt idx="1402">
                  <c:v>42.097096774193545</c:v>
                </c:pt>
                <c:pt idx="1403">
                  <c:v>42.141935483870959</c:v>
                </c:pt>
                <c:pt idx="1404">
                  <c:v>42.059677419354827</c:v>
                </c:pt>
                <c:pt idx="1405">
                  <c:v>42.105806451612885</c:v>
                </c:pt>
                <c:pt idx="1406">
                  <c:v>42.076774193548381</c:v>
                </c:pt>
                <c:pt idx="1407">
                  <c:v>42.064193548387088</c:v>
                </c:pt>
                <c:pt idx="1408">
                  <c:v>42.00322580645161</c:v>
                </c:pt>
                <c:pt idx="1409">
                  <c:v>41.94</c:v>
                </c:pt>
                <c:pt idx="1410">
                  <c:v>41.857741935483872</c:v>
                </c:pt>
                <c:pt idx="1411">
                  <c:v>41.809677419354841</c:v>
                </c:pt>
                <c:pt idx="1412">
                  <c:v>41.806451612903224</c:v>
                </c:pt>
                <c:pt idx="1413">
                  <c:v>41.80516129032258</c:v>
                </c:pt>
                <c:pt idx="1414">
                  <c:v>41.710322580645162</c:v>
                </c:pt>
                <c:pt idx="1415">
                  <c:v>41.674838709677417</c:v>
                </c:pt>
                <c:pt idx="1416">
                  <c:v>41.677096774193551</c:v>
                </c:pt>
                <c:pt idx="1417">
                  <c:v>41.650967741935482</c:v>
                </c:pt>
                <c:pt idx="1418">
                  <c:v>41.694193548387098</c:v>
                </c:pt>
                <c:pt idx="1419">
                  <c:v>41.77548387096774</c:v>
                </c:pt>
                <c:pt idx="1420">
                  <c:v>41.750322580645154</c:v>
                </c:pt>
                <c:pt idx="1421">
                  <c:v>41.732903225806446</c:v>
                </c:pt>
                <c:pt idx="1422">
                  <c:v>41.779999999999994</c:v>
                </c:pt>
                <c:pt idx="1423">
                  <c:v>41.854516129032248</c:v>
                </c:pt>
                <c:pt idx="1424">
                  <c:v>41.856451612903214</c:v>
                </c:pt>
                <c:pt idx="1425">
                  <c:v>41.870967741935473</c:v>
                </c:pt>
                <c:pt idx="1426">
                  <c:v>41.813548387096773</c:v>
                </c:pt>
                <c:pt idx="1427">
                  <c:v>41.83709677419354</c:v>
                </c:pt>
                <c:pt idx="1428">
                  <c:v>41.768709677419359</c:v>
                </c:pt>
                <c:pt idx="1429">
                  <c:v>41.679032258064524</c:v>
                </c:pt>
                <c:pt idx="1430">
                  <c:v>41.754516129032261</c:v>
                </c:pt>
                <c:pt idx="1431">
                  <c:v>41.75096774193549</c:v>
                </c:pt>
                <c:pt idx="1432">
                  <c:v>41.712258064516135</c:v>
                </c:pt>
                <c:pt idx="1433">
                  <c:v>41.705483870967747</c:v>
                </c:pt>
                <c:pt idx="1434">
                  <c:v>41.657741935483884</c:v>
                </c:pt>
                <c:pt idx="1435">
                  <c:v>41.693548387096783</c:v>
                </c:pt>
                <c:pt idx="1436">
                  <c:v>41.737741935483882</c:v>
                </c:pt>
                <c:pt idx="1437">
                  <c:v>41.772258064516137</c:v>
                </c:pt>
                <c:pt idx="1438">
                  <c:v>41.726129032258072</c:v>
                </c:pt>
                <c:pt idx="1439">
                  <c:v>41.83483870967742</c:v>
                </c:pt>
                <c:pt idx="1440">
                  <c:v>41.84870967741935</c:v>
                </c:pt>
                <c:pt idx="1441">
                  <c:v>41.875483870967734</c:v>
                </c:pt>
                <c:pt idx="1442">
                  <c:v>41.838387096774184</c:v>
                </c:pt>
                <c:pt idx="1443">
                  <c:v>41.95870967741935</c:v>
                </c:pt>
                <c:pt idx="1444">
                  <c:v>41.975483870967736</c:v>
                </c:pt>
                <c:pt idx="1445">
                  <c:v>41.990967741935478</c:v>
                </c:pt>
                <c:pt idx="1446">
                  <c:v>41.975161290322575</c:v>
                </c:pt>
                <c:pt idx="1447">
                  <c:v>41.980645161290326</c:v>
                </c:pt>
                <c:pt idx="1448">
                  <c:v>41.982258064516131</c:v>
                </c:pt>
                <c:pt idx="1449">
                  <c:v>41.98516129032258</c:v>
                </c:pt>
                <c:pt idx="1450">
                  <c:v>41.987096774193553</c:v>
                </c:pt>
                <c:pt idx="1451">
                  <c:v>42.017096774193554</c:v>
                </c:pt>
                <c:pt idx="1452">
                  <c:v>42.033225806451618</c:v>
                </c:pt>
                <c:pt idx="1453">
                  <c:v>42.087419354838708</c:v>
                </c:pt>
                <c:pt idx="1454">
                  <c:v>42.042903225806448</c:v>
                </c:pt>
                <c:pt idx="1455">
                  <c:v>42.000000000000007</c:v>
                </c:pt>
                <c:pt idx="1456">
                  <c:v>41.96387096774194</c:v>
                </c:pt>
                <c:pt idx="1457">
                  <c:v>41.927419354838712</c:v>
                </c:pt>
                <c:pt idx="1458">
                  <c:v>41.960967741935484</c:v>
                </c:pt>
                <c:pt idx="1459">
                  <c:v>42.009354838709676</c:v>
                </c:pt>
                <c:pt idx="1460">
                  <c:v>42.12419354838709</c:v>
                </c:pt>
                <c:pt idx="1461">
                  <c:v>42.125806451612895</c:v>
                </c:pt>
                <c:pt idx="1462">
                  <c:v>42.097419354838699</c:v>
                </c:pt>
                <c:pt idx="1463">
                  <c:v>42.114193548387092</c:v>
                </c:pt>
                <c:pt idx="1464">
                  <c:v>42.143225806451618</c:v>
                </c:pt>
                <c:pt idx="1465">
                  <c:v>42.241290322580653</c:v>
                </c:pt>
                <c:pt idx="1466">
                  <c:v>42.246451612903229</c:v>
                </c:pt>
                <c:pt idx="1467">
                  <c:v>42.232580645161299</c:v>
                </c:pt>
                <c:pt idx="1468">
                  <c:v>42.25516129032259</c:v>
                </c:pt>
                <c:pt idx="1469">
                  <c:v>42.278387096774196</c:v>
                </c:pt>
                <c:pt idx="1470">
                  <c:v>42.19064516129032</c:v>
                </c:pt>
                <c:pt idx="1471">
                  <c:v>42.153870967741931</c:v>
                </c:pt>
                <c:pt idx="1472">
                  <c:v>42.210645161290316</c:v>
                </c:pt>
                <c:pt idx="1473">
                  <c:v>42.219032258064502</c:v>
                </c:pt>
                <c:pt idx="1474">
                  <c:v>42.109032258064495</c:v>
                </c:pt>
                <c:pt idx="1475">
                  <c:v>42.12870967741933</c:v>
                </c:pt>
                <c:pt idx="1476">
                  <c:v>42.149677419354809</c:v>
                </c:pt>
                <c:pt idx="1477">
                  <c:v>42.210645161290316</c:v>
                </c:pt>
                <c:pt idx="1478">
                  <c:v>42.283548387096765</c:v>
                </c:pt>
                <c:pt idx="1479">
                  <c:v>42.312903225806451</c:v>
                </c:pt>
                <c:pt idx="1480">
                  <c:v>42.239032258064512</c:v>
                </c:pt>
                <c:pt idx="1481">
                  <c:v>42.146451612903228</c:v>
                </c:pt>
                <c:pt idx="1482">
                  <c:v>42.186451612903227</c:v>
                </c:pt>
                <c:pt idx="1483">
                  <c:v>42.229677419354843</c:v>
                </c:pt>
                <c:pt idx="1484">
                  <c:v>42.127741935483861</c:v>
                </c:pt>
                <c:pt idx="1485">
                  <c:v>42.148709677419355</c:v>
                </c:pt>
                <c:pt idx="1486">
                  <c:v>42.139677419354832</c:v>
                </c:pt>
                <c:pt idx="1487">
                  <c:v>42.13064516129031</c:v>
                </c:pt>
                <c:pt idx="1488">
                  <c:v>42.203870967741928</c:v>
                </c:pt>
                <c:pt idx="1489">
                  <c:v>42.154838709677414</c:v>
                </c:pt>
                <c:pt idx="1490">
                  <c:v>42.185161290322576</c:v>
                </c:pt>
                <c:pt idx="1491">
                  <c:v>42.121290322580634</c:v>
                </c:pt>
                <c:pt idx="1492">
                  <c:v>42.090967741935479</c:v>
                </c:pt>
                <c:pt idx="1493">
                  <c:v>42.083548387096776</c:v>
                </c:pt>
                <c:pt idx="1494">
                  <c:v>42.094516129032264</c:v>
                </c:pt>
                <c:pt idx="1495">
                  <c:v>42.049032258064521</c:v>
                </c:pt>
                <c:pt idx="1496">
                  <c:v>41.95322580645162</c:v>
                </c:pt>
                <c:pt idx="1497">
                  <c:v>41.99774193548388</c:v>
                </c:pt>
                <c:pt idx="1498">
                  <c:v>41.908709677419367</c:v>
                </c:pt>
                <c:pt idx="1499">
                  <c:v>41.858387096774202</c:v>
                </c:pt>
                <c:pt idx="1500">
                  <c:v>41.900645161290335</c:v>
                </c:pt>
                <c:pt idx="1501">
                  <c:v>41.881290322580654</c:v>
                </c:pt>
                <c:pt idx="1502">
                  <c:v>41.874838709677427</c:v>
                </c:pt>
                <c:pt idx="1503">
                  <c:v>41.799677419354843</c:v>
                </c:pt>
                <c:pt idx="1504">
                  <c:v>41.786129032258067</c:v>
                </c:pt>
                <c:pt idx="1505">
                  <c:v>41.877419354838715</c:v>
                </c:pt>
                <c:pt idx="1506">
                  <c:v>41.88967741935484</c:v>
                </c:pt>
                <c:pt idx="1507">
                  <c:v>41.887741935483881</c:v>
                </c:pt>
                <c:pt idx="1508">
                  <c:v>41.932580645161295</c:v>
                </c:pt>
                <c:pt idx="1509">
                  <c:v>41.916129032258077</c:v>
                </c:pt>
                <c:pt idx="1510">
                  <c:v>41.940645161290327</c:v>
                </c:pt>
                <c:pt idx="1511">
                  <c:v>41.998709677419356</c:v>
                </c:pt>
                <c:pt idx="1512">
                  <c:v>42.087419354838701</c:v>
                </c:pt>
                <c:pt idx="1513">
                  <c:v>42.068387096774188</c:v>
                </c:pt>
                <c:pt idx="1514">
                  <c:v>42.07</c:v>
                </c:pt>
                <c:pt idx="1515">
                  <c:v>42.073548387096771</c:v>
                </c:pt>
                <c:pt idx="1516">
                  <c:v>42.003870967741939</c:v>
                </c:pt>
                <c:pt idx="1517">
                  <c:v>41.94580645161291</c:v>
                </c:pt>
                <c:pt idx="1518">
                  <c:v>41.941290322580649</c:v>
                </c:pt>
                <c:pt idx="1519">
                  <c:v>41.916774193548392</c:v>
                </c:pt>
                <c:pt idx="1520">
                  <c:v>41.868387096774192</c:v>
                </c:pt>
                <c:pt idx="1521">
                  <c:v>41.851290322580645</c:v>
                </c:pt>
                <c:pt idx="1522">
                  <c:v>41.859354838709677</c:v>
                </c:pt>
                <c:pt idx="1523">
                  <c:v>41.902903225806462</c:v>
                </c:pt>
                <c:pt idx="1524">
                  <c:v>41.993225806451612</c:v>
                </c:pt>
                <c:pt idx="1525">
                  <c:v>41.917741935483875</c:v>
                </c:pt>
                <c:pt idx="1526">
                  <c:v>41.909677419354843</c:v>
                </c:pt>
                <c:pt idx="1527">
                  <c:v>41.902580645161287</c:v>
                </c:pt>
                <c:pt idx="1528">
                  <c:v>41.837419354838708</c:v>
                </c:pt>
                <c:pt idx="1529">
                  <c:v>41.927096774193551</c:v>
                </c:pt>
                <c:pt idx="1530">
                  <c:v>41.923870967741941</c:v>
                </c:pt>
                <c:pt idx="1531">
                  <c:v>41.817419354838705</c:v>
                </c:pt>
                <c:pt idx="1532">
                  <c:v>41.839032258064513</c:v>
                </c:pt>
                <c:pt idx="1533">
                  <c:v>41.918064516129029</c:v>
                </c:pt>
                <c:pt idx="1534">
                  <c:v>41.972258064516126</c:v>
                </c:pt>
                <c:pt idx="1535">
                  <c:v>42.009032258064508</c:v>
                </c:pt>
                <c:pt idx="1536">
                  <c:v>41.922903225806451</c:v>
                </c:pt>
                <c:pt idx="1537">
                  <c:v>41.928387096774195</c:v>
                </c:pt>
                <c:pt idx="1538">
                  <c:v>41.910322580645158</c:v>
                </c:pt>
                <c:pt idx="1539">
                  <c:v>41.830322580645152</c:v>
                </c:pt>
                <c:pt idx="1540">
                  <c:v>41.809677419354827</c:v>
                </c:pt>
                <c:pt idx="1541">
                  <c:v>41.797419354838702</c:v>
                </c:pt>
                <c:pt idx="1542">
                  <c:v>41.779999999999994</c:v>
                </c:pt>
                <c:pt idx="1543">
                  <c:v>41.717741935483865</c:v>
                </c:pt>
                <c:pt idx="1544">
                  <c:v>41.629677419354827</c:v>
                </c:pt>
                <c:pt idx="1545">
                  <c:v>41.628064516129022</c:v>
                </c:pt>
                <c:pt idx="1546">
                  <c:v>41.684516129032254</c:v>
                </c:pt>
                <c:pt idx="1547">
                  <c:v>41.758387096774193</c:v>
                </c:pt>
                <c:pt idx="1548">
                  <c:v>41.838709677419352</c:v>
                </c:pt>
                <c:pt idx="1549">
                  <c:v>41.839354838709681</c:v>
                </c:pt>
                <c:pt idx="1550">
                  <c:v>41.8851612903226</c:v>
                </c:pt>
                <c:pt idx="1551">
                  <c:v>41.87354838709679</c:v>
                </c:pt>
                <c:pt idx="1552">
                  <c:v>41.816774193548397</c:v>
                </c:pt>
                <c:pt idx="1553">
                  <c:v>41.84387096774195</c:v>
                </c:pt>
                <c:pt idx="1554">
                  <c:v>41.8151612903226</c:v>
                </c:pt>
                <c:pt idx="1555">
                  <c:v>41.729032258064528</c:v>
                </c:pt>
                <c:pt idx="1556">
                  <c:v>41.747096774193558</c:v>
                </c:pt>
                <c:pt idx="1557">
                  <c:v>41.830967741935488</c:v>
                </c:pt>
                <c:pt idx="1558">
                  <c:v>41.903225806451623</c:v>
                </c:pt>
                <c:pt idx="1559">
                  <c:v>41.918709677419372</c:v>
                </c:pt>
                <c:pt idx="1560">
                  <c:v>41.861612903225812</c:v>
                </c:pt>
                <c:pt idx="1561">
                  <c:v>41.912258064516131</c:v>
                </c:pt>
                <c:pt idx="1562">
                  <c:v>41.93</c:v>
                </c:pt>
                <c:pt idx="1563">
                  <c:v>41.97032258064516</c:v>
                </c:pt>
                <c:pt idx="1564">
                  <c:v>41.900645161290321</c:v>
                </c:pt>
                <c:pt idx="1565">
                  <c:v>41.871935483870963</c:v>
                </c:pt>
                <c:pt idx="1566">
                  <c:v>41.811612903225807</c:v>
                </c:pt>
                <c:pt idx="1567">
                  <c:v>41.885161290322586</c:v>
                </c:pt>
                <c:pt idx="1568">
                  <c:v>41.840967741935486</c:v>
                </c:pt>
                <c:pt idx="1569">
                  <c:v>41.875806451612917</c:v>
                </c:pt>
                <c:pt idx="1570">
                  <c:v>41.882258064516137</c:v>
                </c:pt>
                <c:pt idx="1571">
                  <c:v>41.871290322580656</c:v>
                </c:pt>
                <c:pt idx="1572">
                  <c:v>41.851290322580645</c:v>
                </c:pt>
                <c:pt idx="1573">
                  <c:v>41.810322580645163</c:v>
                </c:pt>
                <c:pt idx="1574">
                  <c:v>41.767419354838708</c:v>
                </c:pt>
                <c:pt idx="1575">
                  <c:v>41.759032258064515</c:v>
                </c:pt>
                <c:pt idx="1576">
                  <c:v>41.724838709677421</c:v>
                </c:pt>
                <c:pt idx="1577">
                  <c:v>41.740967741935478</c:v>
                </c:pt>
                <c:pt idx="1578">
                  <c:v>41.693548387096776</c:v>
                </c:pt>
                <c:pt idx="1579">
                  <c:v>41.643870967741933</c:v>
                </c:pt>
                <c:pt idx="1580">
                  <c:v>41.638064516129027</c:v>
                </c:pt>
                <c:pt idx="1581">
                  <c:v>41.584838709677413</c:v>
                </c:pt>
                <c:pt idx="1582">
                  <c:v>41.654838709677421</c:v>
                </c:pt>
                <c:pt idx="1583">
                  <c:v>41.6274193548387</c:v>
                </c:pt>
                <c:pt idx="1584">
                  <c:v>41.543870967741924</c:v>
                </c:pt>
                <c:pt idx="1585">
                  <c:v>41.581290322580635</c:v>
                </c:pt>
                <c:pt idx="1586">
                  <c:v>41.674516129032249</c:v>
                </c:pt>
                <c:pt idx="1587">
                  <c:v>41.684516129032247</c:v>
                </c:pt>
                <c:pt idx="1588">
                  <c:v>41.638709677419335</c:v>
                </c:pt>
                <c:pt idx="1589">
                  <c:v>41.663225806451607</c:v>
                </c:pt>
                <c:pt idx="1590">
                  <c:v>41.732903225806446</c:v>
                </c:pt>
                <c:pt idx="1591">
                  <c:v>41.798387096774185</c:v>
                </c:pt>
                <c:pt idx="1592">
                  <c:v>41.751935483870959</c:v>
                </c:pt>
                <c:pt idx="1593">
                  <c:v>41.832580645161286</c:v>
                </c:pt>
                <c:pt idx="1594">
                  <c:v>41.809032258064512</c:v>
                </c:pt>
                <c:pt idx="1595">
                  <c:v>41.788709677419348</c:v>
                </c:pt>
                <c:pt idx="1596">
                  <c:v>41.811935483870968</c:v>
                </c:pt>
                <c:pt idx="1597">
                  <c:v>41.873870967741929</c:v>
                </c:pt>
                <c:pt idx="1598">
                  <c:v>41.833225806451608</c:v>
                </c:pt>
                <c:pt idx="1599">
                  <c:v>41.782258064516121</c:v>
                </c:pt>
                <c:pt idx="1600">
                  <c:v>41.812258064516122</c:v>
                </c:pt>
                <c:pt idx="1601">
                  <c:v>41.867096774193541</c:v>
                </c:pt>
                <c:pt idx="1602">
                  <c:v>41.897741935483864</c:v>
                </c:pt>
                <c:pt idx="1603">
                  <c:v>41.891290322580637</c:v>
                </c:pt>
                <c:pt idx="1604">
                  <c:v>41.976129032258058</c:v>
                </c:pt>
                <c:pt idx="1605">
                  <c:v>42.051612903225795</c:v>
                </c:pt>
                <c:pt idx="1606">
                  <c:v>42.057419354838707</c:v>
                </c:pt>
                <c:pt idx="1607">
                  <c:v>42.074838709677408</c:v>
                </c:pt>
                <c:pt idx="1608">
                  <c:v>42.085483870967735</c:v>
                </c:pt>
                <c:pt idx="1609">
                  <c:v>42.053870967741936</c:v>
                </c:pt>
                <c:pt idx="1610">
                  <c:v>42.050322580645165</c:v>
                </c:pt>
                <c:pt idx="1611">
                  <c:v>42.16290322580646</c:v>
                </c:pt>
                <c:pt idx="1612">
                  <c:v>42.143870967741947</c:v>
                </c:pt>
                <c:pt idx="1613">
                  <c:v>42.085483870967757</c:v>
                </c:pt>
                <c:pt idx="1614">
                  <c:v>42.117096774193563</c:v>
                </c:pt>
                <c:pt idx="1615">
                  <c:v>42.201935483870983</c:v>
                </c:pt>
                <c:pt idx="1616">
                  <c:v>42.144193548387115</c:v>
                </c:pt>
                <c:pt idx="1617">
                  <c:v>42.139032258064539</c:v>
                </c:pt>
                <c:pt idx="1618">
                  <c:v>42.164193548387111</c:v>
                </c:pt>
                <c:pt idx="1619">
                  <c:v>42.190967741935488</c:v>
                </c:pt>
                <c:pt idx="1620">
                  <c:v>42.198064516129037</c:v>
                </c:pt>
                <c:pt idx="1621">
                  <c:v>42.150322580645167</c:v>
                </c:pt>
                <c:pt idx="1622">
                  <c:v>42.15870967741936</c:v>
                </c:pt>
                <c:pt idx="1623">
                  <c:v>42.240645161290317</c:v>
                </c:pt>
                <c:pt idx="1624">
                  <c:v>42.127741935483861</c:v>
                </c:pt>
                <c:pt idx="1625">
                  <c:v>42.185483870967737</c:v>
                </c:pt>
                <c:pt idx="1626">
                  <c:v>42.234516129032251</c:v>
                </c:pt>
                <c:pt idx="1627">
                  <c:v>42.264193548387084</c:v>
                </c:pt>
                <c:pt idx="1628">
                  <c:v>42.220967741935482</c:v>
                </c:pt>
                <c:pt idx="1629">
                  <c:v>42.244516129032256</c:v>
                </c:pt>
                <c:pt idx="1630">
                  <c:v>42.363870967741931</c:v>
                </c:pt>
                <c:pt idx="1631">
                  <c:v>42.295806451612897</c:v>
                </c:pt>
                <c:pt idx="1632">
                  <c:v>42.259354838709683</c:v>
                </c:pt>
                <c:pt idx="1633">
                  <c:v>42.241612903225807</c:v>
                </c:pt>
                <c:pt idx="1634">
                  <c:v>42.18096774193549</c:v>
                </c:pt>
                <c:pt idx="1635">
                  <c:v>42.182258064516134</c:v>
                </c:pt>
                <c:pt idx="1636">
                  <c:v>42.20000000000001</c:v>
                </c:pt>
                <c:pt idx="1637">
                  <c:v>42.301612903225809</c:v>
                </c:pt>
                <c:pt idx="1638">
                  <c:v>42.213870967741947</c:v>
                </c:pt>
                <c:pt idx="1639">
                  <c:v>42.220645161290328</c:v>
                </c:pt>
                <c:pt idx="1640">
                  <c:v>42.304193548387104</c:v>
                </c:pt>
                <c:pt idx="1641">
                  <c:v>42.377096774193561</c:v>
                </c:pt>
                <c:pt idx="1642">
                  <c:v>42.328709677419361</c:v>
                </c:pt>
                <c:pt idx="1643">
                  <c:v>42.359677419354831</c:v>
                </c:pt>
                <c:pt idx="1644">
                  <c:v>42.388387096774203</c:v>
                </c:pt>
                <c:pt idx="1645">
                  <c:v>42.418387096774204</c:v>
                </c:pt>
                <c:pt idx="1646">
                  <c:v>42.419677419354848</c:v>
                </c:pt>
                <c:pt idx="1647">
                  <c:v>42.380967741935493</c:v>
                </c:pt>
                <c:pt idx="1648">
                  <c:v>42.307096774193553</c:v>
                </c:pt>
                <c:pt idx="1649">
                  <c:v>42.265483870967742</c:v>
                </c:pt>
                <c:pt idx="1650">
                  <c:v>42.200322580645164</c:v>
                </c:pt>
                <c:pt idx="1651">
                  <c:v>42.107096774193543</c:v>
                </c:pt>
                <c:pt idx="1652">
                  <c:v>42.052580645161285</c:v>
                </c:pt>
                <c:pt idx="1653">
                  <c:v>41.974838709677414</c:v>
                </c:pt>
                <c:pt idx="1654">
                  <c:v>41.872580645161285</c:v>
                </c:pt>
                <c:pt idx="1655">
                  <c:v>41.967096774193543</c:v>
                </c:pt>
                <c:pt idx="1656">
                  <c:v>41.950967741935479</c:v>
                </c:pt>
                <c:pt idx="1657">
                  <c:v>41.965806451612899</c:v>
                </c:pt>
                <c:pt idx="1658">
                  <c:v>41.845161290322572</c:v>
                </c:pt>
                <c:pt idx="1659">
                  <c:v>41.877096774193554</c:v>
                </c:pt>
                <c:pt idx="1660">
                  <c:v>41.858064516129033</c:v>
                </c:pt>
                <c:pt idx="1661">
                  <c:v>41.853225806451611</c:v>
                </c:pt>
                <c:pt idx="1662">
                  <c:v>41.878709677419359</c:v>
                </c:pt>
                <c:pt idx="1663">
                  <c:v>41.846774193548384</c:v>
                </c:pt>
                <c:pt idx="1664">
                  <c:v>41.885161290322586</c:v>
                </c:pt>
                <c:pt idx="1665">
                  <c:v>41.88645161290323</c:v>
                </c:pt>
                <c:pt idx="1666">
                  <c:v>41.886774193548391</c:v>
                </c:pt>
                <c:pt idx="1667">
                  <c:v>41.785483870967745</c:v>
                </c:pt>
                <c:pt idx="1668">
                  <c:v>41.707419354838713</c:v>
                </c:pt>
                <c:pt idx="1669">
                  <c:v>41.782580645161289</c:v>
                </c:pt>
                <c:pt idx="1670">
                  <c:v>41.68741935483871</c:v>
                </c:pt>
                <c:pt idx="1671">
                  <c:v>41.650967741935489</c:v>
                </c:pt>
                <c:pt idx="1672">
                  <c:v>41.566774193548383</c:v>
                </c:pt>
                <c:pt idx="1673">
                  <c:v>41.604516129032255</c:v>
                </c:pt>
                <c:pt idx="1674">
                  <c:v>41.557741935483875</c:v>
                </c:pt>
                <c:pt idx="1675">
                  <c:v>41.591935483870969</c:v>
                </c:pt>
                <c:pt idx="1676">
                  <c:v>41.647741935483879</c:v>
                </c:pt>
                <c:pt idx="1677">
                  <c:v>41.645161290322584</c:v>
                </c:pt>
                <c:pt idx="1678">
                  <c:v>41.720322580645167</c:v>
                </c:pt>
                <c:pt idx="1679">
                  <c:v>41.702903225806452</c:v>
                </c:pt>
                <c:pt idx="1680">
                  <c:v>41.726129032258058</c:v>
                </c:pt>
                <c:pt idx="1681">
                  <c:v>41.749999999999993</c:v>
                </c:pt>
                <c:pt idx="1682">
                  <c:v>41.841935483870962</c:v>
                </c:pt>
                <c:pt idx="1683">
                  <c:v>41.865161290322575</c:v>
                </c:pt>
                <c:pt idx="1684">
                  <c:v>41.859032258064509</c:v>
                </c:pt>
                <c:pt idx="1685">
                  <c:v>41.926451612903229</c:v>
                </c:pt>
                <c:pt idx="1686">
                  <c:v>41.928709677419356</c:v>
                </c:pt>
                <c:pt idx="1687">
                  <c:v>41.843870967741935</c:v>
                </c:pt>
                <c:pt idx="1688">
                  <c:v>41.859677419354831</c:v>
                </c:pt>
                <c:pt idx="1689">
                  <c:v>41.856451612903214</c:v>
                </c:pt>
                <c:pt idx="1690">
                  <c:v>41.822580645161281</c:v>
                </c:pt>
                <c:pt idx="1691">
                  <c:v>41.802903225806446</c:v>
                </c:pt>
                <c:pt idx="1692">
                  <c:v>41.748064516129027</c:v>
                </c:pt>
                <c:pt idx="1693">
                  <c:v>41.797741935483863</c:v>
                </c:pt>
                <c:pt idx="1694">
                  <c:v>41.810967741935478</c:v>
                </c:pt>
                <c:pt idx="1695">
                  <c:v>41.813870967741927</c:v>
                </c:pt>
                <c:pt idx="1696">
                  <c:v>41.890967741935476</c:v>
                </c:pt>
                <c:pt idx="1697">
                  <c:v>41.88</c:v>
                </c:pt>
                <c:pt idx="1698">
                  <c:v>41.966129032258067</c:v>
                </c:pt>
                <c:pt idx="1699">
                  <c:v>42.087419354838708</c:v>
                </c:pt>
                <c:pt idx="1700">
                  <c:v>42.084193548387091</c:v>
                </c:pt>
                <c:pt idx="1701">
                  <c:v>42.164838709677419</c:v>
                </c:pt>
                <c:pt idx="1702">
                  <c:v>42.225483870967743</c:v>
                </c:pt>
                <c:pt idx="1703">
                  <c:v>42.343548387096774</c:v>
                </c:pt>
                <c:pt idx="1704">
                  <c:v>42.363870967741931</c:v>
                </c:pt>
                <c:pt idx="1705">
                  <c:v>42.456451612903223</c:v>
                </c:pt>
                <c:pt idx="1706">
                  <c:v>42.443548387096776</c:v>
                </c:pt>
                <c:pt idx="1707">
                  <c:v>42.47548387096775</c:v>
                </c:pt>
                <c:pt idx="1708">
                  <c:v>42.517096774193554</c:v>
                </c:pt>
                <c:pt idx="1709">
                  <c:v>42.589032258064513</c:v>
                </c:pt>
                <c:pt idx="1710">
                  <c:v>42.642580645161296</c:v>
                </c:pt>
                <c:pt idx="1711">
                  <c:v>42.743225806451612</c:v>
                </c:pt>
                <c:pt idx="1712">
                  <c:v>42.842903225806445</c:v>
                </c:pt>
                <c:pt idx="1713">
                  <c:v>42.868064516129024</c:v>
                </c:pt>
                <c:pt idx="1714">
                  <c:v>42.922258064516129</c:v>
                </c:pt>
                <c:pt idx="1715">
                  <c:v>42.977741935483863</c:v>
                </c:pt>
                <c:pt idx="1716">
                  <c:v>42.98</c:v>
                </c:pt>
                <c:pt idx="1717">
                  <c:v>43.015483870967735</c:v>
                </c:pt>
                <c:pt idx="1718">
                  <c:v>43.122258064516124</c:v>
                </c:pt>
                <c:pt idx="1719">
                  <c:v>43.132258064516137</c:v>
                </c:pt>
                <c:pt idx="1720">
                  <c:v>43.27</c:v>
                </c:pt>
                <c:pt idx="1721">
                  <c:v>43.329354838709676</c:v>
                </c:pt>
                <c:pt idx="1722">
                  <c:v>43.442580645161293</c:v>
                </c:pt>
                <c:pt idx="1723">
                  <c:v>43.465161290322577</c:v>
                </c:pt>
                <c:pt idx="1724">
                  <c:v>43.512580645161286</c:v>
                </c:pt>
                <c:pt idx="1725">
                  <c:v>43.58709677419354</c:v>
                </c:pt>
                <c:pt idx="1726">
                  <c:v>43.621935483870956</c:v>
                </c:pt>
                <c:pt idx="1727">
                  <c:v>43.685161290322576</c:v>
                </c:pt>
                <c:pt idx="1728">
                  <c:v>43.750645161290322</c:v>
                </c:pt>
                <c:pt idx="1729">
                  <c:v>43.763870967741937</c:v>
                </c:pt>
                <c:pt idx="1730">
                  <c:v>43.755806451612898</c:v>
                </c:pt>
                <c:pt idx="1731">
                  <c:v>43.764838709677413</c:v>
                </c:pt>
                <c:pt idx="1732">
                  <c:v>43.791290322580636</c:v>
                </c:pt>
                <c:pt idx="1733">
                  <c:v>43.718709677419348</c:v>
                </c:pt>
                <c:pt idx="1734">
                  <c:v>43.711290322580638</c:v>
                </c:pt>
                <c:pt idx="1735">
                  <c:v>43.689677419354837</c:v>
                </c:pt>
                <c:pt idx="1736">
                  <c:v>43.695806451612903</c:v>
                </c:pt>
                <c:pt idx="1737">
                  <c:v>43.749354838709671</c:v>
                </c:pt>
                <c:pt idx="1738">
                  <c:v>43.685806451612898</c:v>
                </c:pt>
                <c:pt idx="1739">
                  <c:v>43.62903225806452</c:v>
                </c:pt>
                <c:pt idx="1740">
                  <c:v>43.553225806451614</c:v>
                </c:pt>
                <c:pt idx="1741">
                  <c:v>43.623870967741944</c:v>
                </c:pt>
                <c:pt idx="1742">
                  <c:v>43.534516129032262</c:v>
                </c:pt>
                <c:pt idx="1743">
                  <c:v>43.417741935483868</c:v>
                </c:pt>
                <c:pt idx="1744">
                  <c:v>43.310967741935492</c:v>
                </c:pt>
                <c:pt idx="1745">
                  <c:v>43.321935483870966</c:v>
                </c:pt>
                <c:pt idx="1746">
                  <c:v>43.238064516129036</c:v>
                </c:pt>
                <c:pt idx="1747">
                  <c:v>43.260645161290327</c:v>
                </c:pt>
                <c:pt idx="1748">
                  <c:v>43.226451612903226</c:v>
                </c:pt>
                <c:pt idx="1749">
                  <c:v>43.224838709677421</c:v>
                </c:pt>
                <c:pt idx="1750">
                  <c:v>43.243225806451619</c:v>
                </c:pt>
                <c:pt idx="1751">
                  <c:v>43.181612903225812</c:v>
                </c:pt>
                <c:pt idx="1752">
                  <c:v>43.215483870967745</c:v>
                </c:pt>
                <c:pt idx="1753">
                  <c:v>43.175806451612914</c:v>
                </c:pt>
                <c:pt idx="1754">
                  <c:v>43.203225806451613</c:v>
                </c:pt>
                <c:pt idx="1755">
                  <c:v>43.146451612903228</c:v>
                </c:pt>
                <c:pt idx="1756">
                  <c:v>43.111612903225804</c:v>
                </c:pt>
                <c:pt idx="1757">
                  <c:v>42.995483870967739</c:v>
                </c:pt>
                <c:pt idx="1758">
                  <c:v>42.890645161290301</c:v>
                </c:pt>
                <c:pt idx="1759">
                  <c:v>42.839999999999989</c:v>
                </c:pt>
                <c:pt idx="1760">
                  <c:v>42.864516129032246</c:v>
                </c:pt>
                <c:pt idx="1761">
                  <c:v>42.723225806451602</c:v>
                </c:pt>
                <c:pt idx="1762">
                  <c:v>42.702903225806445</c:v>
                </c:pt>
                <c:pt idx="1763">
                  <c:v>42.638709677419349</c:v>
                </c:pt>
                <c:pt idx="1764">
                  <c:v>42.691290322580642</c:v>
                </c:pt>
                <c:pt idx="1765">
                  <c:v>42.654838709677414</c:v>
                </c:pt>
                <c:pt idx="1766">
                  <c:v>42.605483870967738</c:v>
                </c:pt>
                <c:pt idx="1767">
                  <c:v>42.502580645161288</c:v>
                </c:pt>
                <c:pt idx="1768">
                  <c:v>42.419032258064512</c:v>
                </c:pt>
                <c:pt idx="1769">
                  <c:v>42.385483870967747</c:v>
                </c:pt>
                <c:pt idx="1770">
                  <c:v>42.375806451612895</c:v>
                </c:pt>
                <c:pt idx="1771">
                  <c:v>42.312258064516122</c:v>
                </c:pt>
                <c:pt idx="1772">
                  <c:v>42.199677419354842</c:v>
                </c:pt>
                <c:pt idx="1773">
                  <c:v>42.147419354838718</c:v>
                </c:pt>
                <c:pt idx="1774">
                  <c:v>42.149032258064523</c:v>
                </c:pt>
                <c:pt idx="1775">
                  <c:v>42.235483870967741</c:v>
                </c:pt>
                <c:pt idx="1776">
                  <c:v>42.210967741935484</c:v>
                </c:pt>
                <c:pt idx="1777">
                  <c:v>42.249032258064517</c:v>
                </c:pt>
                <c:pt idx="1778">
                  <c:v>42.212258064516128</c:v>
                </c:pt>
                <c:pt idx="1779">
                  <c:v>42.116451612903219</c:v>
                </c:pt>
                <c:pt idx="1780">
                  <c:v>42.008387096774193</c:v>
                </c:pt>
                <c:pt idx="1781">
                  <c:v>41.94903225806452</c:v>
                </c:pt>
                <c:pt idx="1782">
                  <c:v>41.910645161290326</c:v>
                </c:pt>
                <c:pt idx="1783">
                  <c:v>41.892580645161296</c:v>
                </c:pt>
                <c:pt idx="1784">
                  <c:v>41.784838709677423</c:v>
                </c:pt>
                <c:pt idx="1785">
                  <c:v>41.748709677419356</c:v>
                </c:pt>
                <c:pt idx="1786">
                  <c:v>41.788064516129033</c:v>
                </c:pt>
                <c:pt idx="1787">
                  <c:v>41.741290322580646</c:v>
                </c:pt>
                <c:pt idx="1788">
                  <c:v>41.727419354838709</c:v>
                </c:pt>
                <c:pt idx="1789">
                  <c:v>41.721612903225811</c:v>
                </c:pt>
                <c:pt idx="1790">
                  <c:v>41.644838709677423</c:v>
                </c:pt>
                <c:pt idx="1791">
                  <c:v>41.539999999999992</c:v>
                </c:pt>
                <c:pt idx="1792">
                  <c:v>41.545161290322575</c:v>
                </c:pt>
                <c:pt idx="1793">
                  <c:v>41.54032258064516</c:v>
                </c:pt>
                <c:pt idx="1794">
                  <c:v>41.514193548387084</c:v>
                </c:pt>
                <c:pt idx="1795">
                  <c:v>41.411290322580633</c:v>
                </c:pt>
                <c:pt idx="1796">
                  <c:v>41.42903225806451</c:v>
                </c:pt>
                <c:pt idx="1797">
                  <c:v>41.459677419354833</c:v>
                </c:pt>
                <c:pt idx="1798">
                  <c:v>41.50967741935483</c:v>
                </c:pt>
                <c:pt idx="1799">
                  <c:v>41.534838709677416</c:v>
                </c:pt>
                <c:pt idx="1800">
                  <c:v>41.557096774193553</c:v>
                </c:pt>
                <c:pt idx="1801">
                  <c:v>41.490967741935485</c:v>
                </c:pt>
                <c:pt idx="1802">
                  <c:v>41.513870967741937</c:v>
                </c:pt>
                <c:pt idx="1803">
                  <c:v>41.562903225806444</c:v>
                </c:pt>
                <c:pt idx="1804">
                  <c:v>41.55</c:v>
                </c:pt>
                <c:pt idx="1805">
                  <c:v>41.552258064516131</c:v>
                </c:pt>
                <c:pt idx="1806">
                  <c:v>41.468387096774201</c:v>
                </c:pt>
                <c:pt idx="1807">
                  <c:v>41.428709677419356</c:v>
                </c:pt>
                <c:pt idx="1808">
                  <c:v>41.482258064516124</c:v>
                </c:pt>
                <c:pt idx="1809">
                  <c:v>41.459354838709672</c:v>
                </c:pt>
                <c:pt idx="1810">
                  <c:v>41.468709677419355</c:v>
                </c:pt>
                <c:pt idx="1811">
                  <c:v>41.490322580645163</c:v>
                </c:pt>
                <c:pt idx="1812">
                  <c:v>41.468064516129033</c:v>
                </c:pt>
                <c:pt idx="1813">
                  <c:v>41.49</c:v>
                </c:pt>
                <c:pt idx="1814">
                  <c:v>41.470000000000013</c:v>
                </c:pt>
                <c:pt idx="1815">
                  <c:v>41.513870967741944</c:v>
                </c:pt>
                <c:pt idx="1816">
                  <c:v>41.471935483870979</c:v>
                </c:pt>
                <c:pt idx="1817">
                  <c:v>41.378709677419366</c:v>
                </c:pt>
                <c:pt idx="1818">
                  <c:v>41.418064516129043</c:v>
                </c:pt>
                <c:pt idx="1819">
                  <c:v>41.510322580645166</c:v>
                </c:pt>
                <c:pt idx="1820">
                  <c:v>41.586451612903225</c:v>
                </c:pt>
                <c:pt idx="1821">
                  <c:v>41.661290322580648</c:v>
                </c:pt>
                <c:pt idx="1822">
                  <c:v>41.69580645161291</c:v>
                </c:pt>
                <c:pt idx="1823">
                  <c:v>41.793870967741938</c:v>
                </c:pt>
                <c:pt idx="1824">
                  <c:v>41.847741935483882</c:v>
                </c:pt>
                <c:pt idx="1825">
                  <c:v>41.867741935483885</c:v>
                </c:pt>
                <c:pt idx="1826">
                  <c:v>41.923225806451633</c:v>
                </c:pt>
                <c:pt idx="1827">
                  <c:v>41.854193548387109</c:v>
                </c:pt>
                <c:pt idx="1828">
                  <c:v>41.791935483870979</c:v>
                </c:pt>
                <c:pt idx="1829">
                  <c:v>41.776129032258069</c:v>
                </c:pt>
                <c:pt idx="1830">
                  <c:v>41.827096774193549</c:v>
                </c:pt>
                <c:pt idx="1831">
                  <c:v>41.779354838709686</c:v>
                </c:pt>
                <c:pt idx="1832">
                  <c:v>41.881290322580654</c:v>
                </c:pt>
                <c:pt idx="1833">
                  <c:v>41.872258064516139</c:v>
                </c:pt>
                <c:pt idx="1834">
                  <c:v>41.854516129032262</c:v>
                </c:pt>
                <c:pt idx="1835">
                  <c:v>41.93935483870969</c:v>
                </c:pt>
                <c:pt idx="1836">
                  <c:v>41.93516129032259</c:v>
                </c:pt>
                <c:pt idx="1837">
                  <c:v>41.934838709677422</c:v>
                </c:pt>
                <c:pt idx="1838">
                  <c:v>42.021290322580647</c:v>
                </c:pt>
                <c:pt idx="1839">
                  <c:v>41.964516129032255</c:v>
                </c:pt>
                <c:pt idx="1840">
                  <c:v>41.986774193548392</c:v>
                </c:pt>
                <c:pt idx="1841">
                  <c:v>42.002258064516127</c:v>
                </c:pt>
                <c:pt idx="1842">
                  <c:v>42.014838709677413</c:v>
                </c:pt>
                <c:pt idx="1843">
                  <c:v>42.029999999999994</c:v>
                </c:pt>
                <c:pt idx="1844">
                  <c:v>42.011935483870971</c:v>
                </c:pt>
                <c:pt idx="1845">
                  <c:v>42.035483870967745</c:v>
                </c:pt>
                <c:pt idx="1846">
                  <c:v>42.030322580645169</c:v>
                </c:pt>
                <c:pt idx="1847">
                  <c:v>42.018064516129037</c:v>
                </c:pt>
                <c:pt idx="1848">
                  <c:v>42.081290322580649</c:v>
                </c:pt>
                <c:pt idx="1849">
                  <c:v>42.029032258064525</c:v>
                </c:pt>
                <c:pt idx="1850">
                  <c:v>41.991935483870975</c:v>
                </c:pt>
                <c:pt idx="1851">
                  <c:v>41.903225806451616</c:v>
                </c:pt>
                <c:pt idx="1852">
                  <c:v>41.909032258064521</c:v>
                </c:pt>
                <c:pt idx="1853">
                  <c:v>41.927096774193558</c:v>
                </c:pt>
                <c:pt idx="1854">
                  <c:v>41.902903225806462</c:v>
                </c:pt>
                <c:pt idx="1855">
                  <c:v>41.910967741935494</c:v>
                </c:pt>
                <c:pt idx="1856">
                  <c:v>41.887741935483881</c:v>
                </c:pt>
                <c:pt idx="1857">
                  <c:v>41.825161290322583</c:v>
                </c:pt>
                <c:pt idx="1858">
                  <c:v>41.813225806451612</c:v>
                </c:pt>
                <c:pt idx="1859">
                  <c:v>41.795483870967743</c:v>
                </c:pt>
                <c:pt idx="1860">
                  <c:v>41.748709677419363</c:v>
                </c:pt>
                <c:pt idx="1861">
                  <c:v>41.73935483870968</c:v>
                </c:pt>
                <c:pt idx="1862">
                  <c:v>41.812258064516129</c:v>
                </c:pt>
                <c:pt idx="1863">
                  <c:v>41.815806451612907</c:v>
                </c:pt>
                <c:pt idx="1864">
                  <c:v>41.867096774193541</c:v>
                </c:pt>
                <c:pt idx="1865">
                  <c:v>41.871612903225802</c:v>
                </c:pt>
                <c:pt idx="1866">
                  <c:v>41.89387096774194</c:v>
                </c:pt>
                <c:pt idx="1867">
                  <c:v>41.917419354838714</c:v>
                </c:pt>
                <c:pt idx="1868">
                  <c:v>41.881935483870969</c:v>
                </c:pt>
                <c:pt idx="1869">
                  <c:v>41.851612903225799</c:v>
                </c:pt>
                <c:pt idx="1870">
                  <c:v>41.945483870967742</c:v>
                </c:pt>
                <c:pt idx="1871">
                  <c:v>41.98290322580646</c:v>
                </c:pt>
                <c:pt idx="1872">
                  <c:v>42.018064516129037</c:v>
                </c:pt>
                <c:pt idx="1873">
                  <c:v>42.009354838709676</c:v>
                </c:pt>
                <c:pt idx="1874">
                  <c:v>41.959677419354833</c:v>
                </c:pt>
                <c:pt idx="1875">
                  <c:v>41.966129032258067</c:v>
                </c:pt>
                <c:pt idx="1876">
                  <c:v>41.946774193548386</c:v>
                </c:pt>
                <c:pt idx="1877">
                  <c:v>42.018064516129023</c:v>
                </c:pt>
                <c:pt idx="1878">
                  <c:v>42.06903225806451</c:v>
                </c:pt>
                <c:pt idx="1879">
                  <c:v>42.043870967741924</c:v>
                </c:pt>
                <c:pt idx="1880">
                  <c:v>42.145483870967738</c:v>
                </c:pt>
                <c:pt idx="1881">
                  <c:v>42.123548387096768</c:v>
                </c:pt>
                <c:pt idx="1882">
                  <c:v>42.221612903225804</c:v>
                </c:pt>
                <c:pt idx="1883">
                  <c:v>42.166451612903224</c:v>
                </c:pt>
                <c:pt idx="1884">
                  <c:v>42.167419354838707</c:v>
                </c:pt>
                <c:pt idx="1885">
                  <c:v>42.097096774193538</c:v>
                </c:pt>
                <c:pt idx="1886">
                  <c:v>41.98419354838709</c:v>
                </c:pt>
                <c:pt idx="1887">
                  <c:v>42.065161290322571</c:v>
                </c:pt>
                <c:pt idx="1888">
                  <c:v>42.168709677419351</c:v>
                </c:pt>
                <c:pt idx="1889">
                  <c:v>42.241612903225807</c:v>
                </c:pt>
                <c:pt idx="1890">
                  <c:v>42.308709677419358</c:v>
                </c:pt>
                <c:pt idx="1891">
                  <c:v>42.389677419354847</c:v>
                </c:pt>
                <c:pt idx="1892">
                  <c:v>42.385161290322593</c:v>
                </c:pt>
                <c:pt idx="1893">
                  <c:v>42.375483870967756</c:v>
                </c:pt>
                <c:pt idx="1894">
                  <c:v>42.380000000000017</c:v>
                </c:pt>
                <c:pt idx="1895">
                  <c:v>42.456451612903237</c:v>
                </c:pt>
                <c:pt idx="1896">
                  <c:v>42.470645161290335</c:v>
                </c:pt>
                <c:pt idx="1897">
                  <c:v>42.444516129032266</c:v>
                </c:pt>
                <c:pt idx="1898">
                  <c:v>42.510645161290327</c:v>
                </c:pt>
                <c:pt idx="1899">
                  <c:v>42.663225806451614</c:v>
                </c:pt>
                <c:pt idx="1900">
                  <c:v>42.690322580645166</c:v>
                </c:pt>
                <c:pt idx="1901">
                  <c:v>42.685806451612905</c:v>
                </c:pt>
                <c:pt idx="1902">
                  <c:v>42.69064516129032</c:v>
                </c:pt>
                <c:pt idx="1903">
                  <c:v>42.728387096774192</c:v>
                </c:pt>
                <c:pt idx="1904">
                  <c:v>42.773870967741928</c:v>
                </c:pt>
                <c:pt idx="1905">
                  <c:v>42.923870967741934</c:v>
                </c:pt>
                <c:pt idx="1906">
                  <c:v>42.971935483870972</c:v>
                </c:pt>
                <c:pt idx="1907">
                  <c:v>42.990645161290324</c:v>
                </c:pt>
                <c:pt idx="1908">
                  <c:v>43.030967741935484</c:v>
                </c:pt>
                <c:pt idx="1909">
                  <c:v>43.075806451612905</c:v>
                </c:pt>
                <c:pt idx="1910">
                  <c:v>43.152580645161301</c:v>
                </c:pt>
                <c:pt idx="1911">
                  <c:v>43.184838709677429</c:v>
                </c:pt>
                <c:pt idx="1912">
                  <c:v>43.282258064516135</c:v>
                </c:pt>
                <c:pt idx="1913">
                  <c:v>43.25516129032259</c:v>
                </c:pt>
                <c:pt idx="1914">
                  <c:v>43.281612903225813</c:v>
                </c:pt>
                <c:pt idx="1915">
                  <c:v>43.311612903225814</c:v>
                </c:pt>
                <c:pt idx="1916">
                  <c:v>43.455806451612922</c:v>
                </c:pt>
                <c:pt idx="1917">
                  <c:v>43.540645161290328</c:v>
                </c:pt>
                <c:pt idx="1918">
                  <c:v>43.603225806451618</c:v>
                </c:pt>
                <c:pt idx="1919">
                  <c:v>43.588709677419359</c:v>
                </c:pt>
                <c:pt idx="1920">
                  <c:v>43.621935483870978</c:v>
                </c:pt>
                <c:pt idx="1921">
                  <c:v>43.704838709677425</c:v>
                </c:pt>
                <c:pt idx="1922">
                  <c:v>43.69580645161291</c:v>
                </c:pt>
                <c:pt idx="1923">
                  <c:v>43.748064516129034</c:v>
                </c:pt>
                <c:pt idx="1924">
                  <c:v>43.721290322580643</c:v>
                </c:pt>
                <c:pt idx="1925">
                  <c:v>43.711612903225806</c:v>
                </c:pt>
                <c:pt idx="1926">
                  <c:v>43.690322580645159</c:v>
                </c:pt>
                <c:pt idx="1927">
                  <c:v>43.752903225806442</c:v>
                </c:pt>
                <c:pt idx="1928">
                  <c:v>43.8074193548387</c:v>
                </c:pt>
                <c:pt idx="1929">
                  <c:v>43.780645161290316</c:v>
                </c:pt>
                <c:pt idx="1930">
                  <c:v>43.691935483870971</c:v>
                </c:pt>
                <c:pt idx="1931">
                  <c:v>43.602580645161289</c:v>
                </c:pt>
                <c:pt idx="1932">
                  <c:v>43.501290322580644</c:v>
                </c:pt>
                <c:pt idx="1933">
                  <c:v>43.486451612903224</c:v>
                </c:pt>
                <c:pt idx="1934">
                  <c:v>43.416451612903224</c:v>
                </c:pt>
                <c:pt idx="1935">
                  <c:v>43.454516129032257</c:v>
                </c:pt>
                <c:pt idx="1936">
                  <c:v>43.366451612903219</c:v>
                </c:pt>
                <c:pt idx="1937">
                  <c:v>43.292258064516126</c:v>
                </c:pt>
                <c:pt idx="1938">
                  <c:v>43.245806451612907</c:v>
                </c:pt>
                <c:pt idx="1939">
                  <c:v>43.159677419354836</c:v>
                </c:pt>
                <c:pt idx="1940">
                  <c:v>43.063870967741934</c:v>
                </c:pt>
                <c:pt idx="1941">
                  <c:v>43.002258064516127</c:v>
                </c:pt>
                <c:pt idx="1942">
                  <c:v>42.950645161290325</c:v>
                </c:pt>
                <c:pt idx="1943">
                  <c:v>42.916774193548385</c:v>
                </c:pt>
                <c:pt idx="1944">
                  <c:v>42.946129032258071</c:v>
                </c:pt>
                <c:pt idx="1945">
                  <c:v>42.981290322580648</c:v>
                </c:pt>
                <c:pt idx="1946">
                  <c:v>42.921935483870968</c:v>
                </c:pt>
                <c:pt idx="1947">
                  <c:v>42.767096774193547</c:v>
                </c:pt>
                <c:pt idx="1948">
                  <c:v>42.710645161290316</c:v>
                </c:pt>
                <c:pt idx="1949">
                  <c:v>42.643548387096772</c:v>
                </c:pt>
                <c:pt idx="1950">
                  <c:v>42.632580645161291</c:v>
                </c:pt>
                <c:pt idx="1951">
                  <c:v>42.52129032258064</c:v>
                </c:pt>
                <c:pt idx="1952">
                  <c:v>42.490645161290317</c:v>
                </c:pt>
                <c:pt idx="1953">
                  <c:v>42.498709677419356</c:v>
                </c:pt>
                <c:pt idx="1954">
                  <c:v>42.352580645161282</c:v>
                </c:pt>
                <c:pt idx="1955">
                  <c:v>42.374516129032266</c:v>
                </c:pt>
                <c:pt idx="1956">
                  <c:v>42.377419354838715</c:v>
                </c:pt>
                <c:pt idx="1957">
                  <c:v>42.326774193548381</c:v>
                </c:pt>
                <c:pt idx="1958">
                  <c:v>42.246129032258068</c:v>
                </c:pt>
                <c:pt idx="1959">
                  <c:v>42.226129032258065</c:v>
                </c:pt>
                <c:pt idx="1960">
                  <c:v>42.24</c:v>
                </c:pt>
                <c:pt idx="1961">
                  <c:v>42.182258064516134</c:v>
                </c:pt>
                <c:pt idx="1962">
                  <c:v>42.240645161290324</c:v>
                </c:pt>
                <c:pt idx="1963">
                  <c:v>42.268387096774191</c:v>
                </c:pt>
                <c:pt idx="1964">
                  <c:v>42.24</c:v>
                </c:pt>
                <c:pt idx="1965">
                  <c:v>42.239999999999995</c:v>
                </c:pt>
                <c:pt idx="1966">
                  <c:v>42.25</c:v>
                </c:pt>
                <c:pt idx="1967">
                  <c:v>42.260322580645159</c:v>
                </c:pt>
                <c:pt idx="1968">
                  <c:v>42.323870967741932</c:v>
                </c:pt>
                <c:pt idx="1969">
                  <c:v>42.297419354838702</c:v>
                </c:pt>
                <c:pt idx="1970">
                  <c:v>42.278387096774182</c:v>
                </c:pt>
                <c:pt idx="1971">
                  <c:v>42.356774193548382</c:v>
                </c:pt>
                <c:pt idx="1972">
                  <c:v>42.294516129032246</c:v>
                </c:pt>
                <c:pt idx="1973">
                  <c:v>42.285483870967738</c:v>
                </c:pt>
                <c:pt idx="1974">
                  <c:v>42.232258064516124</c:v>
                </c:pt>
                <c:pt idx="1975">
                  <c:v>42.138064516129035</c:v>
                </c:pt>
                <c:pt idx="1976">
                  <c:v>42.10290322580645</c:v>
                </c:pt>
                <c:pt idx="1977">
                  <c:v>42.072580645161295</c:v>
                </c:pt>
                <c:pt idx="1978">
                  <c:v>42.107741935483872</c:v>
                </c:pt>
                <c:pt idx="1979">
                  <c:v>42.092903225806459</c:v>
                </c:pt>
                <c:pt idx="1980">
                  <c:v>42.008387096774193</c:v>
                </c:pt>
                <c:pt idx="1981">
                  <c:v>41.937096774193556</c:v>
                </c:pt>
                <c:pt idx="1982">
                  <c:v>41.944516129032273</c:v>
                </c:pt>
                <c:pt idx="1983">
                  <c:v>41.89580645161292</c:v>
                </c:pt>
                <c:pt idx="1984">
                  <c:v>41.912580645161306</c:v>
                </c:pt>
                <c:pt idx="1985">
                  <c:v>41.992258064516136</c:v>
                </c:pt>
                <c:pt idx="1986">
                  <c:v>41.988709677419358</c:v>
                </c:pt>
                <c:pt idx="1987">
                  <c:v>41.917741935483875</c:v>
                </c:pt>
                <c:pt idx="1988">
                  <c:v>41.903870967741938</c:v>
                </c:pt>
                <c:pt idx="1989">
                  <c:v>41.907419354838709</c:v>
                </c:pt>
                <c:pt idx="1990">
                  <c:v>41.807741935483868</c:v>
                </c:pt>
                <c:pt idx="1991">
                  <c:v>41.817741935483873</c:v>
                </c:pt>
                <c:pt idx="1992">
                  <c:v>41.856451612903221</c:v>
                </c:pt>
                <c:pt idx="1993">
                  <c:v>41.840645161290325</c:v>
                </c:pt>
                <c:pt idx="1994">
                  <c:v>41.838709677419359</c:v>
                </c:pt>
                <c:pt idx="1995">
                  <c:v>41.885483870967754</c:v>
                </c:pt>
                <c:pt idx="1996">
                  <c:v>41.915806451612916</c:v>
                </c:pt>
                <c:pt idx="1997">
                  <c:v>41.806451612903231</c:v>
                </c:pt>
                <c:pt idx="1998">
                  <c:v>41.829032258064515</c:v>
                </c:pt>
                <c:pt idx="1999">
                  <c:v>41.763870967741937</c:v>
                </c:pt>
                <c:pt idx="2000">
                  <c:v>41.760322580645166</c:v>
                </c:pt>
                <c:pt idx="2001">
                  <c:v>41.708387096774189</c:v>
                </c:pt>
                <c:pt idx="2002">
                  <c:v>41.659032258064514</c:v>
                </c:pt>
                <c:pt idx="2003">
                  <c:v>41.640967741935484</c:v>
                </c:pt>
                <c:pt idx="2004">
                  <c:v>41.660645161290319</c:v>
                </c:pt>
                <c:pt idx="2005">
                  <c:v>41.618387096774185</c:v>
                </c:pt>
                <c:pt idx="2006">
                  <c:v>41.678709677419356</c:v>
                </c:pt>
                <c:pt idx="2007">
                  <c:v>41.649032258064516</c:v>
                </c:pt>
                <c:pt idx="2008">
                  <c:v>41.688064516129032</c:v>
                </c:pt>
                <c:pt idx="2009">
                  <c:v>41.756129032258059</c:v>
                </c:pt>
                <c:pt idx="2010">
                  <c:v>41.780322580645162</c:v>
                </c:pt>
                <c:pt idx="2011">
                  <c:v>41.889354838709679</c:v>
                </c:pt>
                <c:pt idx="2012">
                  <c:v>41.994838709677417</c:v>
                </c:pt>
                <c:pt idx="2013">
                  <c:v>42.05838709677419</c:v>
                </c:pt>
                <c:pt idx="2014">
                  <c:v>42.033548387096772</c:v>
                </c:pt>
                <c:pt idx="2015">
                  <c:v>42.008387096774193</c:v>
                </c:pt>
                <c:pt idx="2016">
                  <c:v>42.04</c:v>
                </c:pt>
                <c:pt idx="2017">
                  <c:v>42.069677419354832</c:v>
                </c:pt>
                <c:pt idx="2018">
                  <c:v>42.10612903225806</c:v>
                </c:pt>
                <c:pt idx="2019">
                  <c:v>42.038709677419355</c:v>
                </c:pt>
                <c:pt idx="2020">
                  <c:v>41.976774193548394</c:v>
                </c:pt>
                <c:pt idx="2021">
                  <c:v>42.02645161290323</c:v>
                </c:pt>
                <c:pt idx="2022">
                  <c:v>41.972903225806455</c:v>
                </c:pt>
                <c:pt idx="2023">
                  <c:v>42.049677419354843</c:v>
                </c:pt>
                <c:pt idx="2024">
                  <c:v>41.988387096774197</c:v>
                </c:pt>
                <c:pt idx="2025">
                  <c:v>42.039677419354838</c:v>
                </c:pt>
                <c:pt idx="2026">
                  <c:v>41.966451612903228</c:v>
                </c:pt>
                <c:pt idx="2027">
                  <c:v>41.968387096774194</c:v>
                </c:pt>
                <c:pt idx="2028">
                  <c:v>42.04774193548387</c:v>
                </c:pt>
                <c:pt idx="2029">
                  <c:v>42.05</c:v>
                </c:pt>
                <c:pt idx="2030">
                  <c:v>42.114193548387092</c:v>
                </c:pt>
                <c:pt idx="2031">
                  <c:v>42.105806451612899</c:v>
                </c:pt>
                <c:pt idx="2032">
                  <c:v>42.160322580645165</c:v>
                </c:pt>
                <c:pt idx="2033">
                  <c:v>42.187741935483871</c:v>
                </c:pt>
                <c:pt idx="2034">
                  <c:v>42.18741935483871</c:v>
                </c:pt>
                <c:pt idx="2035">
                  <c:v>42.170322580645163</c:v>
                </c:pt>
                <c:pt idx="2036">
                  <c:v>42.20322580645162</c:v>
                </c:pt>
                <c:pt idx="2037">
                  <c:v>42.224838709677421</c:v>
                </c:pt>
                <c:pt idx="2038">
                  <c:v>42.291935483870965</c:v>
                </c:pt>
                <c:pt idx="2039">
                  <c:v>42.242903225806451</c:v>
                </c:pt>
                <c:pt idx="2040">
                  <c:v>42.143225806451611</c:v>
                </c:pt>
                <c:pt idx="2041">
                  <c:v>42.226451612903233</c:v>
                </c:pt>
                <c:pt idx="2042">
                  <c:v>42.234516129032251</c:v>
                </c:pt>
                <c:pt idx="2043">
                  <c:v>42.189999999999991</c:v>
                </c:pt>
                <c:pt idx="2044">
                  <c:v>42.104193548387087</c:v>
                </c:pt>
                <c:pt idx="2045">
                  <c:v>42.066774193548383</c:v>
                </c:pt>
                <c:pt idx="2046">
                  <c:v>41.994838709677417</c:v>
                </c:pt>
                <c:pt idx="2047">
                  <c:v>41.98290322580646</c:v>
                </c:pt>
                <c:pt idx="2048">
                  <c:v>41.984516129032258</c:v>
                </c:pt>
                <c:pt idx="2049">
                  <c:v>41.917741935483882</c:v>
                </c:pt>
                <c:pt idx="2050">
                  <c:v>41.938064516129046</c:v>
                </c:pt>
                <c:pt idx="2051">
                  <c:v>41.995483870967753</c:v>
                </c:pt>
                <c:pt idx="2052">
                  <c:v>41.952903225806466</c:v>
                </c:pt>
                <c:pt idx="2053">
                  <c:v>41.999354838709692</c:v>
                </c:pt>
                <c:pt idx="2054">
                  <c:v>41.949032258064527</c:v>
                </c:pt>
                <c:pt idx="2055">
                  <c:v>41.951935483870976</c:v>
                </c:pt>
                <c:pt idx="2056">
                  <c:v>41.967419354838718</c:v>
                </c:pt>
                <c:pt idx="2057">
                  <c:v>42.009354838709683</c:v>
                </c:pt>
                <c:pt idx="2058">
                  <c:v>42.009677419354844</c:v>
                </c:pt>
                <c:pt idx="2059">
                  <c:v>42.028064516129028</c:v>
                </c:pt>
                <c:pt idx="2060">
                  <c:v>41.956129032258062</c:v>
                </c:pt>
                <c:pt idx="2061">
                  <c:v>41.923548387096773</c:v>
                </c:pt>
                <c:pt idx="2062">
                  <c:v>41.947096774193547</c:v>
                </c:pt>
                <c:pt idx="2063">
                  <c:v>41.959354838709672</c:v>
                </c:pt>
                <c:pt idx="2064">
                  <c:v>41.90870967741936</c:v>
                </c:pt>
                <c:pt idx="2065">
                  <c:v>41.941935483870971</c:v>
                </c:pt>
                <c:pt idx="2066">
                  <c:v>41.973870967741938</c:v>
                </c:pt>
                <c:pt idx="2067">
                  <c:v>41.971935483870972</c:v>
                </c:pt>
                <c:pt idx="2068">
                  <c:v>41.904516129032267</c:v>
                </c:pt>
                <c:pt idx="2069">
                  <c:v>41.875483870967756</c:v>
                </c:pt>
                <c:pt idx="2070">
                  <c:v>41.936774193548402</c:v>
                </c:pt>
                <c:pt idx="2071">
                  <c:v>41.977741935483884</c:v>
                </c:pt>
                <c:pt idx="2072">
                  <c:v>41.972580645161301</c:v>
                </c:pt>
                <c:pt idx="2073">
                  <c:v>41.910000000000011</c:v>
                </c:pt>
                <c:pt idx="2074">
                  <c:v>41.910645161290326</c:v>
                </c:pt>
                <c:pt idx="2075">
                  <c:v>41.955806451612908</c:v>
                </c:pt>
                <c:pt idx="2076">
                  <c:v>42.057096774193553</c:v>
                </c:pt>
                <c:pt idx="2077">
                  <c:v>42.125161290322588</c:v>
                </c:pt>
                <c:pt idx="2078">
                  <c:v>42.034838709677423</c:v>
                </c:pt>
                <c:pt idx="2079">
                  <c:v>42.030322580645162</c:v>
                </c:pt>
                <c:pt idx="2080">
                  <c:v>42.116774193548387</c:v>
                </c:pt>
                <c:pt idx="2081">
                  <c:v>42.178709677419356</c:v>
                </c:pt>
                <c:pt idx="2082">
                  <c:v>42.152580645161287</c:v>
                </c:pt>
                <c:pt idx="2083">
                  <c:v>42.204838709677418</c:v>
                </c:pt>
                <c:pt idx="2084">
                  <c:v>42.103225806451611</c:v>
                </c:pt>
                <c:pt idx="2085">
                  <c:v>42.147741935483879</c:v>
                </c:pt>
                <c:pt idx="2086">
                  <c:v>42.246451612903229</c:v>
                </c:pt>
                <c:pt idx="2087">
                  <c:v>42.216774193548396</c:v>
                </c:pt>
                <c:pt idx="2088">
                  <c:v>42.226774193548394</c:v>
                </c:pt>
                <c:pt idx="2089">
                  <c:v>42.27</c:v>
                </c:pt>
                <c:pt idx="2090">
                  <c:v>42.248387096774195</c:v>
                </c:pt>
                <c:pt idx="2091">
                  <c:v>42.229354838709682</c:v>
                </c:pt>
                <c:pt idx="2092">
                  <c:v>42.208387096774196</c:v>
                </c:pt>
                <c:pt idx="2093">
                  <c:v>42.212258064516135</c:v>
                </c:pt>
                <c:pt idx="2094">
                  <c:v>42.235483870967741</c:v>
                </c:pt>
                <c:pt idx="2095">
                  <c:v>42.254193548387093</c:v>
                </c:pt>
                <c:pt idx="2096">
                  <c:v>42.252903225806449</c:v>
                </c:pt>
                <c:pt idx="2097">
                  <c:v>42.231612903225795</c:v>
                </c:pt>
                <c:pt idx="2098">
                  <c:v>42.274193548387089</c:v>
                </c:pt>
                <c:pt idx="2099">
                  <c:v>42.296451612903212</c:v>
                </c:pt>
                <c:pt idx="2100">
                  <c:v>42.321935483870966</c:v>
                </c:pt>
                <c:pt idx="2101">
                  <c:v>42.274193548387096</c:v>
                </c:pt>
                <c:pt idx="2102">
                  <c:v>42.2458064516129</c:v>
                </c:pt>
                <c:pt idx="2103">
                  <c:v>42.248709677419356</c:v>
                </c:pt>
                <c:pt idx="2104">
                  <c:v>42.274193548387096</c:v>
                </c:pt>
                <c:pt idx="2105">
                  <c:v>42.222580645161301</c:v>
                </c:pt>
                <c:pt idx="2106">
                  <c:v>42.183225806451624</c:v>
                </c:pt>
                <c:pt idx="2107">
                  <c:v>42.130322580645171</c:v>
                </c:pt>
                <c:pt idx="2108">
                  <c:v>42.165161290322587</c:v>
                </c:pt>
                <c:pt idx="2109">
                  <c:v>42.273870967741942</c:v>
                </c:pt>
                <c:pt idx="2110">
                  <c:v>42.227096774193555</c:v>
                </c:pt>
                <c:pt idx="2111">
                  <c:v>42.231290322580648</c:v>
                </c:pt>
                <c:pt idx="2112">
                  <c:v>42.164516129032265</c:v>
                </c:pt>
                <c:pt idx="2113">
                  <c:v>42.185806451612905</c:v>
                </c:pt>
                <c:pt idx="2114">
                  <c:v>42.186451612903241</c:v>
                </c:pt>
                <c:pt idx="2115">
                  <c:v>42.25193548387098</c:v>
                </c:pt>
                <c:pt idx="2116">
                  <c:v>42.254516129032261</c:v>
                </c:pt>
                <c:pt idx="2117">
                  <c:v>42.228064516129038</c:v>
                </c:pt>
                <c:pt idx="2118">
                  <c:v>42.185806451612905</c:v>
                </c:pt>
                <c:pt idx="2119">
                  <c:v>42.193548387096776</c:v>
                </c:pt>
                <c:pt idx="2120">
                  <c:v>42.143225806451611</c:v>
                </c:pt>
                <c:pt idx="2121">
                  <c:v>42.163870967741929</c:v>
                </c:pt>
                <c:pt idx="2122">
                  <c:v>42.244516129032256</c:v>
                </c:pt>
                <c:pt idx="2123">
                  <c:v>42.275161290322579</c:v>
                </c:pt>
                <c:pt idx="2124">
                  <c:v>42.26</c:v>
                </c:pt>
                <c:pt idx="2125">
                  <c:v>42.214193548387094</c:v>
                </c:pt>
                <c:pt idx="2126">
                  <c:v>42.200645161290318</c:v>
                </c:pt>
                <c:pt idx="2127">
                  <c:v>42.287419354838704</c:v>
                </c:pt>
                <c:pt idx="2128">
                  <c:v>42.280322580645155</c:v>
                </c:pt>
                <c:pt idx="2129">
                  <c:v>42.194193548387091</c:v>
                </c:pt>
                <c:pt idx="2130">
                  <c:v>42.234838709677412</c:v>
                </c:pt>
                <c:pt idx="2131">
                  <c:v>42.205806451612894</c:v>
                </c:pt>
                <c:pt idx="2132">
                  <c:v>42.287096774193543</c:v>
                </c:pt>
                <c:pt idx="2133">
                  <c:v>42.32451612903224</c:v>
                </c:pt>
                <c:pt idx="2134">
                  <c:v>42.313225806451598</c:v>
                </c:pt>
                <c:pt idx="2135">
                  <c:v>42.254193548387086</c:v>
                </c:pt>
                <c:pt idx="2136">
                  <c:v>42.256774193548374</c:v>
                </c:pt>
                <c:pt idx="2137">
                  <c:v>42.355161290322563</c:v>
                </c:pt>
                <c:pt idx="2138">
                  <c:v>42.378387096774176</c:v>
                </c:pt>
                <c:pt idx="2139">
                  <c:v>42.284516129032248</c:v>
                </c:pt>
                <c:pt idx="2140">
                  <c:v>42.286129032258053</c:v>
                </c:pt>
                <c:pt idx="2141">
                  <c:v>42.332258064516125</c:v>
                </c:pt>
                <c:pt idx="2142">
                  <c:v>42.315483870967746</c:v>
                </c:pt>
                <c:pt idx="2143">
                  <c:v>42.399032258064523</c:v>
                </c:pt>
                <c:pt idx="2144">
                  <c:v>42.425161290322592</c:v>
                </c:pt>
                <c:pt idx="2145">
                  <c:v>42.405161290322589</c:v>
                </c:pt>
                <c:pt idx="2146">
                  <c:v>42.361935483870965</c:v>
                </c:pt>
                <c:pt idx="2147">
                  <c:v>42.335161290322581</c:v>
                </c:pt>
                <c:pt idx="2148">
                  <c:v>42.316774193548383</c:v>
                </c:pt>
                <c:pt idx="2149">
                  <c:v>42.339354838709674</c:v>
                </c:pt>
                <c:pt idx="2150">
                  <c:v>42.339999999999996</c:v>
                </c:pt>
                <c:pt idx="2151">
                  <c:v>42.341612903225801</c:v>
                </c:pt>
                <c:pt idx="2152">
                  <c:v>42.355806451612892</c:v>
                </c:pt>
                <c:pt idx="2153">
                  <c:v>42.279354838709665</c:v>
                </c:pt>
                <c:pt idx="2154">
                  <c:v>42.215483870967731</c:v>
                </c:pt>
                <c:pt idx="2155">
                  <c:v>42.227419354838702</c:v>
                </c:pt>
                <c:pt idx="2156">
                  <c:v>42.277419354838706</c:v>
                </c:pt>
                <c:pt idx="2157">
                  <c:v>42.282258064516121</c:v>
                </c:pt>
                <c:pt idx="2158">
                  <c:v>42.179032258064517</c:v>
                </c:pt>
                <c:pt idx="2159">
                  <c:v>42.171290322580646</c:v>
                </c:pt>
                <c:pt idx="2160">
                  <c:v>42.17677419354839</c:v>
                </c:pt>
                <c:pt idx="2161">
                  <c:v>42.128064516129022</c:v>
                </c:pt>
                <c:pt idx="2162">
                  <c:v>42.092580645161284</c:v>
                </c:pt>
                <c:pt idx="2163">
                  <c:v>42.04774193548387</c:v>
                </c:pt>
                <c:pt idx="2164">
                  <c:v>42.100967741935484</c:v>
                </c:pt>
                <c:pt idx="2165">
                  <c:v>42.097741935483874</c:v>
                </c:pt>
                <c:pt idx="2166">
                  <c:v>42.170322580645163</c:v>
                </c:pt>
                <c:pt idx="2167">
                  <c:v>42.214193548387108</c:v>
                </c:pt>
                <c:pt idx="2168">
                  <c:v>42.148387096774208</c:v>
                </c:pt>
                <c:pt idx="2169">
                  <c:v>42.164516129032265</c:v>
                </c:pt>
                <c:pt idx="2170">
                  <c:v>42.162903225806453</c:v>
                </c:pt>
                <c:pt idx="2171">
                  <c:v>42.047419354838702</c:v>
                </c:pt>
                <c:pt idx="2172">
                  <c:v>41.939677419354844</c:v>
                </c:pt>
                <c:pt idx="2173">
                  <c:v>41.86774193548387</c:v>
                </c:pt>
                <c:pt idx="2174">
                  <c:v>41.782258064516128</c:v>
                </c:pt>
                <c:pt idx="2175">
                  <c:v>41.77548387096774</c:v>
                </c:pt>
                <c:pt idx="2176">
                  <c:v>41.822580645161288</c:v>
                </c:pt>
                <c:pt idx="2177">
                  <c:v>41.803225806451607</c:v>
                </c:pt>
                <c:pt idx="2178">
                  <c:v>41.762903225806447</c:v>
                </c:pt>
                <c:pt idx="2179">
                  <c:v>41.756129032258059</c:v>
                </c:pt>
                <c:pt idx="2180">
                  <c:v>41.728387096774192</c:v>
                </c:pt>
                <c:pt idx="2181">
                  <c:v>41.752258064516134</c:v>
                </c:pt>
                <c:pt idx="2182">
                  <c:v>41.705483870967747</c:v>
                </c:pt>
                <c:pt idx="2183">
                  <c:v>41.591612903225808</c:v>
                </c:pt>
                <c:pt idx="2184">
                  <c:v>41.643225806451625</c:v>
                </c:pt>
                <c:pt idx="2185">
                  <c:v>41.67032258064517</c:v>
                </c:pt>
                <c:pt idx="2186">
                  <c:v>41.671612903225807</c:v>
                </c:pt>
                <c:pt idx="2187">
                  <c:v>41.686774193548395</c:v>
                </c:pt>
                <c:pt idx="2188">
                  <c:v>41.70000000000001</c:v>
                </c:pt>
                <c:pt idx="2189">
                  <c:v>41.685483870967744</c:v>
                </c:pt>
                <c:pt idx="2190">
                  <c:v>41.626774193548378</c:v>
                </c:pt>
                <c:pt idx="2191">
                  <c:v>41.654516129032267</c:v>
                </c:pt>
                <c:pt idx="2192">
                  <c:v>41.722580645161294</c:v>
                </c:pt>
                <c:pt idx="2193">
                  <c:v>41.752903225806449</c:v>
                </c:pt>
                <c:pt idx="2194">
                  <c:v>41.727096774193541</c:v>
                </c:pt>
                <c:pt idx="2195">
                  <c:v>41.617741935483863</c:v>
                </c:pt>
                <c:pt idx="2196">
                  <c:v>41.598387096774182</c:v>
                </c:pt>
                <c:pt idx="2197">
                  <c:v>41.570322580645154</c:v>
                </c:pt>
                <c:pt idx="2198">
                  <c:v>41.544193548387092</c:v>
                </c:pt>
                <c:pt idx="2199">
                  <c:v>41.551935483870963</c:v>
                </c:pt>
                <c:pt idx="2200">
                  <c:v>41.516129032258071</c:v>
                </c:pt>
                <c:pt idx="2201">
                  <c:v>41.558064516129043</c:v>
                </c:pt>
                <c:pt idx="2202">
                  <c:v>41.558709677419365</c:v>
                </c:pt>
                <c:pt idx="2203">
                  <c:v>41.6</c:v>
                </c:pt>
                <c:pt idx="2204">
                  <c:v>41.641290322580659</c:v>
                </c:pt>
                <c:pt idx="2205">
                  <c:v>41.635161290322593</c:v>
                </c:pt>
                <c:pt idx="2206">
                  <c:v>41.628064516129044</c:v>
                </c:pt>
                <c:pt idx="2207">
                  <c:v>41.619032258064529</c:v>
                </c:pt>
                <c:pt idx="2208">
                  <c:v>41.71806451612904</c:v>
                </c:pt>
                <c:pt idx="2209">
                  <c:v>41.759032258064522</c:v>
                </c:pt>
                <c:pt idx="2210">
                  <c:v>41.743225806451619</c:v>
                </c:pt>
                <c:pt idx="2211">
                  <c:v>41.724838709677421</c:v>
                </c:pt>
                <c:pt idx="2212">
                  <c:v>41.723225806451616</c:v>
                </c:pt>
                <c:pt idx="2213">
                  <c:v>41.795483870967743</c:v>
                </c:pt>
                <c:pt idx="2214">
                  <c:v>41.839677419354835</c:v>
                </c:pt>
                <c:pt idx="2215">
                  <c:v>41.864838709677414</c:v>
                </c:pt>
                <c:pt idx="2216">
                  <c:v>41.857419354838711</c:v>
                </c:pt>
                <c:pt idx="2217">
                  <c:v>41.84645161290323</c:v>
                </c:pt>
                <c:pt idx="2218">
                  <c:v>41.744838709677424</c:v>
                </c:pt>
                <c:pt idx="2219">
                  <c:v>41.720000000000006</c:v>
                </c:pt>
                <c:pt idx="2220">
                  <c:v>41.755806451612912</c:v>
                </c:pt>
                <c:pt idx="2221">
                  <c:v>41.737419354838721</c:v>
                </c:pt>
                <c:pt idx="2222">
                  <c:v>41.799354838709682</c:v>
                </c:pt>
                <c:pt idx="2223">
                  <c:v>41.553225806451614</c:v>
                </c:pt>
                <c:pt idx="2224">
                  <c:v>41.618064516129031</c:v>
                </c:pt>
                <c:pt idx="2225">
                  <c:v>41.553548387096768</c:v>
                </c:pt>
                <c:pt idx="2226">
                  <c:v>41.723225806451616</c:v>
                </c:pt>
                <c:pt idx="2227">
                  <c:v>41.633225806451598</c:v>
                </c:pt>
                <c:pt idx="2228">
                  <c:v>41.614516129032253</c:v>
                </c:pt>
                <c:pt idx="2229">
                  <c:v>41.72032258064516</c:v>
                </c:pt>
                <c:pt idx="2230">
                  <c:v>41.82741935483871</c:v>
                </c:pt>
                <c:pt idx="2231">
                  <c:v>41.779354838709686</c:v>
                </c:pt>
                <c:pt idx="2232">
                  <c:v>41.658709677419367</c:v>
                </c:pt>
                <c:pt idx="2233">
                  <c:v>41.508064516129039</c:v>
                </c:pt>
                <c:pt idx="2234">
                  <c:v>41.359677419354846</c:v>
                </c:pt>
                <c:pt idx="2235">
                  <c:v>41.485161290322587</c:v>
                </c:pt>
                <c:pt idx="2236">
                  <c:v>41.516774193548393</c:v>
                </c:pt>
                <c:pt idx="2237">
                  <c:v>41.576129032258066</c:v>
                </c:pt>
                <c:pt idx="2238">
                  <c:v>41.502258064516134</c:v>
                </c:pt>
                <c:pt idx="2239">
                  <c:v>41.306129032258063</c:v>
                </c:pt>
                <c:pt idx="2240">
                  <c:v>41.093225806451606</c:v>
                </c:pt>
                <c:pt idx="2241">
                  <c:v>41.083548387096762</c:v>
                </c:pt>
                <c:pt idx="2242">
                  <c:v>40.978709677419346</c:v>
                </c:pt>
                <c:pt idx="2243">
                  <c:v>41.049354838709661</c:v>
                </c:pt>
                <c:pt idx="2244">
                  <c:v>40.919354838709666</c:v>
                </c:pt>
                <c:pt idx="2245">
                  <c:v>41.03322580645159</c:v>
                </c:pt>
                <c:pt idx="2246">
                  <c:v>40.77677419354837</c:v>
                </c:pt>
                <c:pt idx="2247">
                  <c:v>40.595161290322572</c:v>
                </c:pt>
                <c:pt idx="2248">
                  <c:v>40.476129032258058</c:v>
                </c:pt>
                <c:pt idx="2249">
                  <c:v>40.324516129032247</c:v>
                </c:pt>
                <c:pt idx="2250">
                  <c:v>40.327096774193535</c:v>
                </c:pt>
                <c:pt idx="2251">
                  <c:v>40.167741935483868</c:v>
                </c:pt>
                <c:pt idx="2252">
                  <c:v>39.994838709677417</c:v>
                </c:pt>
                <c:pt idx="2253">
                  <c:v>39.913870967741936</c:v>
                </c:pt>
                <c:pt idx="2254">
                  <c:v>40.062258064516129</c:v>
                </c:pt>
                <c:pt idx="2255">
                  <c:v>40.114838709677414</c:v>
                </c:pt>
                <c:pt idx="2256">
                  <c:v>40.329354838709669</c:v>
                </c:pt>
                <c:pt idx="2257">
                  <c:v>40.317419354838705</c:v>
                </c:pt>
                <c:pt idx="2258">
                  <c:v>40.364193548387092</c:v>
                </c:pt>
                <c:pt idx="2259">
                  <c:v>40.22</c:v>
                </c:pt>
                <c:pt idx="2260">
                  <c:v>39.964193548387101</c:v>
                </c:pt>
                <c:pt idx="2261">
                  <c:v>39.702258064516137</c:v>
                </c:pt>
                <c:pt idx="2262">
                  <c:v>39.594838709677425</c:v>
                </c:pt>
                <c:pt idx="2263">
                  <c:v>39.562258064516136</c:v>
                </c:pt>
                <c:pt idx="2264">
                  <c:v>39.54</c:v>
                </c:pt>
                <c:pt idx="2265">
                  <c:v>39.509032258064515</c:v>
                </c:pt>
                <c:pt idx="2266">
                  <c:v>39.207096774193552</c:v>
                </c:pt>
                <c:pt idx="2267">
                  <c:v>39.008387096774186</c:v>
                </c:pt>
                <c:pt idx="2268">
                  <c:v>38.766129032258057</c:v>
                </c:pt>
                <c:pt idx="2269">
                  <c:v>38.671935483870968</c:v>
                </c:pt>
                <c:pt idx="2270">
                  <c:v>38.686129032258059</c:v>
                </c:pt>
                <c:pt idx="2271">
                  <c:v>38.656774193548387</c:v>
                </c:pt>
                <c:pt idx="2272">
                  <c:v>38.531612903225806</c:v>
                </c:pt>
                <c:pt idx="2273">
                  <c:v>38.483225806451607</c:v>
                </c:pt>
                <c:pt idx="2274">
                  <c:v>38.206451612903216</c:v>
                </c:pt>
                <c:pt idx="2275">
                  <c:v>36.960645161290316</c:v>
                </c:pt>
                <c:pt idx="2276">
                  <c:v>35.497096774193544</c:v>
                </c:pt>
                <c:pt idx="2277">
                  <c:v>34.36677419354838</c:v>
                </c:pt>
                <c:pt idx="2278">
                  <c:v>33.237419354838707</c:v>
                </c:pt>
                <c:pt idx="2279">
                  <c:v>32.027419354838713</c:v>
                </c:pt>
                <c:pt idx="2280">
                  <c:v>30.880967741935489</c:v>
                </c:pt>
                <c:pt idx="2281">
                  <c:v>29.557419354838718</c:v>
                </c:pt>
                <c:pt idx="2282">
                  <c:v>28.381935483870972</c:v>
                </c:pt>
                <c:pt idx="2283">
                  <c:v>27.249032258064521</c:v>
                </c:pt>
                <c:pt idx="2284">
                  <c:v>25.935161290322579</c:v>
                </c:pt>
                <c:pt idx="2285">
                  <c:v>24.615161290322582</c:v>
                </c:pt>
                <c:pt idx="2286">
                  <c:v>23.140645161290323</c:v>
                </c:pt>
                <c:pt idx="2287">
                  <c:v>21.673225806451615</c:v>
                </c:pt>
                <c:pt idx="2288">
                  <c:v>20.223870967741938</c:v>
                </c:pt>
                <c:pt idx="2289">
                  <c:v>18.884193548387099</c:v>
                </c:pt>
                <c:pt idx="2290">
                  <c:v>17.684838709677418</c:v>
                </c:pt>
                <c:pt idx="2291">
                  <c:v>17.801935483870967</c:v>
                </c:pt>
                <c:pt idx="2292">
                  <c:v>17.957096774193552</c:v>
                </c:pt>
                <c:pt idx="2293">
                  <c:v>18.107741935483872</c:v>
                </c:pt>
                <c:pt idx="2294">
                  <c:v>18.297741935483867</c:v>
                </c:pt>
                <c:pt idx="2295">
                  <c:v>18.507096774193549</c:v>
                </c:pt>
                <c:pt idx="2296">
                  <c:v>18.764193548387098</c:v>
                </c:pt>
                <c:pt idx="2297">
                  <c:v>18.919032258064515</c:v>
                </c:pt>
                <c:pt idx="2298">
                  <c:v>19.112580645161291</c:v>
                </c:pt>
                <c:pt idx="2299">
                  <c:v>19.274193548387096</c:v>
                </c:pt>
                <c:pt idx="2300">
                  <c:v>19.47258064516129</c:v>
                </c:pt>
                <c:pt idx="2301">
                  <c:v>19.545483870967736</c:v>
                </c:pt>
                <c:pt idx="2302">
                  <c:v>19.804516129032258</c:v>
                </c:pt>
                <c:pt idx="2303">
                  <c:v>19.907419354838709</c:v>
                </c:pt>
                <c:pt idx="2304">
                  <c:v>20.160322580645161</c:v>
                </c:pt>
                <c:pt idx="2305">
                  <c:v>20.336129032258068</c:v>
                </c:pt>
                <c:pt idx="2306">
                  <c:v>21.72129032258065</c:v>
                </c:pt>
                <c:pt idx="2307">
                  <c:v>23.081935483870971</c:v>
                </c:pt>
                <c:pt idx="2308">
                  <c:v>24.372580645161293</c:v>
                </c:pt>
                <c:pt idx="2309">
                  <c:v>25.719677419354841</c:v>
                </c:pt>
                <c:pt idx="2310">
                  <c:v>27.02741935483871</c:v>
                </c:pt>
                <c:pt idx="2311">
                  <c:v>28.379354838709677</c:v>
                </c:pt>
                <c:pt idx="2312">
                  <c:v>29.698709677419355</c:v>
                </c:pt>
                <c:pt idx="2313">
                  <c:v>31.054838709677416</c:v>
                </c:pt>
                <c:pt idx="2314">
                  <c:v>32.361290322580643</c:v>
                </c:pt>
                <c:pt idx="2315">
                  <c:v>33.670645161290324</c:v>
                </c:pt>
                <c:pt idx="2316">
                  <c:v>35.034516129032255</c:v>
                </c:pt>
                <c:pt idx="2317">
                  <c:v>36.404193548387099</c:v>
                </c:pt>
                <c:pt idx="2318">
                  <c:v>37.707096774193552</c:v>
                </c:pt>
                <c:pt idx="2319">
                  <c:v>39.032580645161289</c:v>
                </c:pt>
                <c:pt idx="2320">
                  <c:v>40.373548387096768</c:v>
                </c:pt>
                <c:pt idx="2321">
                  <c:v>41.692580645161293</c:v>
                </c:pt>
                <c:pt idx="2322">
                  <c:v>41.715483870967738</c:v>
                </c:pt>
                <c:pt idx="2323">
                  <c:v>41.707419354838706</c:v>
                </c:pt>
                <c:pt idx="2324">
                  <c:v>41.664193548387097</c:v>
                </c:pt>
                <c:pt idx="2325">
                  <c:v>41.673225806451605</c:v>
                </c:pt>
                <c:pt idx="2326">
                  <c:v>41.670967741935485</c:v>
                </c:pt>
                <c:pt idx="2327">
                  <c:v>41.647419354838711</c:v>
                </c:pt>
                <c:pt idx="2328">
                  <c:v>41.722258064516126</c:v>
                </c:pt>
                <c:pt idx="2329">
                  <c:v>41.697741935483869</c:v>
                </c:pt>
                <c:pt idx="2330">
                  <c:v>41.651935483870965</c:v>
                </c:pt>
                <c:pt idx="2331">
                  <c:v>41.653548387096777</c:v>
                </c:pt>
                <c:pt idx="2332">
                  <c:v>41.687419354838717</c:v>
                </c:pt>
                <c:pt idx="2333">
                  <c:v>41.592903225806445</c:v>
                </c:pt>
                <c:pt idx="2334">
                  <c:v>41.647419354838711</c:v>
                </c:pt>
                <c:pt idx="2335">
                  <c:v>41.537419354838704</c:v>
                </c:pt>
                <c:pt idx="2336">
                  <c:v>41.459354838709672</c:v>
                </c:pt>
                <c:pt idx="2337">
                  <c:v>41.446129032258057</c:v>
                </c:pt>
                <c:pt idx="2338">
                  <c:v>41.501612903225798</c:v>
                </c:pt>
                <c:pt idx="2339">
                  <c:v>41.517096774193547</c:v>
                </c:pt>
                <c:pt idx="2340">
                  <c:v>41.490967741935485</c:v>
                </c:pt>
                <c:pt idx="2341">
                  <c:v>41.520322580645171</c:v>
                </c:pt>
                <c:pt idx="2342">
                  <c:v>41.549354838709682</c:v>
                </c:pt>
                <c:pt idx="2343">
                  <c:v>41.64806451612904</c:v>
                </c:pt>
                <c:pt idx="2344">
                  <c:v>41.644193548387108</c:v>
                </c:pt>
                <c:pt idx="2345">
                  <c:v>41.69161290322581</c:v>
                </c:pt>
                <c:pt idx="2346">
                  <c:v>41.758064516129039</c:v>
                </c:pt>
                <c:pt idx="2347">
                  <c:v>41.811290322580653</c:v>
                </c:pt>
                <c:pt idx="2348">
                  <c:v>41.78161290322582</c:v>
                </c:pt>
                <c:pt idx="2349">
                  <c:v>41.882258064516144</c:v>
                </c:pt>
                <c:pt idx="2350">
                  <c:v>41.95419354838711</c:v>
                </c:pt>
                <c:pt idx="2351">
                  <c:v>42.01903225806452</c:v>
                </c:pt>
                <c:pt idx="2352">
                  <c:v>42.095161290322572</c:v>
                </c:pt>
                <c:pt idx="2353">
                  <c:v>42.077096774193549</c:v>
                </c:pt>
                <c:pt idx="2354">
                  <c:v>42.039032258064516</c:v>
                </c:pt>
                <c:pt idx="2355">
                  <c:v>42.13645161290323</c:v>
                </c:pt>
                <c:pt idx="2356">
                  <c:v>42.023870967741928</c:v>
                </c:pt>
                <c:pt idx="2357">
                  <c:v>42.028064516129028</c:v>
                </c:pt>
                <c:pt idx="2358">
                  <c:v>41.955161290322586</c:v>
                </c:pt>
                <c:pt idx="2359">
                  <c:v>41.943225806451615</c:v>
                </c:pt>
                <c:pt idx="2360">
                  <c:v>42.015806451612903</c:v>
                </c:pt>
                <c:pt idx="2361">
                  <c:v>42.025161290322572</c:v>
                </c:pt>
                <c:pt idx="2362">
                  <c:v>41.922258064516129</c:v>
                </c:pt>
                <c:pt idx="2363">
                  <c:v>41.976451612903219</c:v>
                </c:pt>
                <c:pt idx="2364">
                  <c:v>41.990645161290317</c:v>
                </c:pt>
                <c:pt idx="2365">
                  <c:v>42.025806451612894</c:v>
                </c:pt>
                <c:pt idx="2366">
                  <c:v>42.108709677419348</c:v>
                </c:pt>
                <c:pt idx="2367">
                  <c:v>42.144838709677423</c:v>
                </c:pt>
                <c:pt idx="2368">
                  <c:v>42.167096774193553</c:v>
                </c:pt>
                <c:pt idx="2369">
                  <c:v>42.097096774193545</c:v>
                </c:pt>
                <c:pt idx="2370">
                  <c:v>42.084193548387091</c:v>
                </c:pt>
                <c:pt idx="2371">
                  <c:v>42.120645161290312</c:v>
                </c:pt>
                <c:pt idx="2372">
                  <c:v>42.086451612903225</c:v>
                </c:pt>
                <c:pt idx="2373">
                  <c:v>42.077419354838703</c:v>
                </c:pt>
                <c:pt idx="2374">
                  <c:v>42.072580645161281</c:v>
                </c:pt>
                <c:pt idx="2375">
                  <c:v>42.100645161290316</c:v>
                </c:pt>
                <c:pt idx="2376">
                  <c:v>42.058064516129029</c:v>
                </c:pt>
                <c:pt idx="2377">
                  <c:v>42.013870967741944</c:v>
                </c:pt>
                <c:pt idx="2378">
                  <c:v>41.948387096774205</c:v>
                </c:pt>
                <c:pt idx="2379">
                  <c:v>41.96806451612904</c:v>
                </c:pt>
                <c:pt idx="2380">
                  <c:v>41.934838709677436</c:v>
                </c:pt>
                <c:pt idx="2381">
                  <c:v>41.906129032258079</c:v>
                </c:pt>
                <c:pt idx="2382">
                  <c:v>41.8325806451613</c:v>
                </c:pt>
                <c:pt idx="2383">
                  <c:v>41.759677419354851</c:v>
                </c:pt>
                <c:pt idx="2384">
                  <c:v>41.772258064516137</c:v>
                </c:pt>
                <c:pt idx="2385">
                  <c:v>41.843548387096781</c:v>
                </c:pt>
                <c:pt idx="2386">
                  <c:v>41.822903225806449</c:v>
                </c:pt>
                <c:pt idx="2387">
                  <c:v>41.938387096774193</c:v>
                </c:pt>
                <c:pt idx="2388">
                  <c:v>42.013225806451608</c:v>
                </c:pt>
                <c:pt idx="2389">
                  <c:v>42.108709677419348</c:v>
                </c:pt>
                <c:pt idx="2390">
                  <c:v>42.09225806451613</c:v>
                </c:pt>
                <c:pt idx="2391">
                  <c:v>42.103225806451604</c:v>
                </c:pt>
                <c:pt idx="2392">
                  <c:v>42.201612903225808</c:v>
                </c:pt>
                <c:pt idx="2393">
                  <c:v>42.205161290322586</c:v>
                </c:pt>
                <c:pt idx="2394">
                  <c:v>42.168709677419358</c:v>
                </c:pt>
                <c:pt idx="2395">
                  <c:v>42.16935483870968</c:v>
                </c:pt>
                <c:pt idx="2396">
                  <c:v>42.142903225806457</c:v>
                </c:pt>
                <c:pt idx="2397">
                  <c:v>42.063870967741941</c:v>
                </c:pt>
                <c:pt idx="2398">
                  <c:v>42.112580645161309</c:v>
                </c:pt>
                <c:pt idx="2399">
                  <c:v>42.045806451612911</c:v>
                </c:pt>
                <c:pt idx="2400">
                  <c:v>42.0741935483871</c:v>
                </c:pt>
                <c:pt idx="2401">
                  <c:v>42.115161290322582</c:v>
                </c:pt>
                <c:pt idx="2402">
                  <c:v>42.128064516129037</c:v>
                </c:pt>
                <c:pt idx="2403">
                  <c:v>42.18</c:v>
                </c:pt>
                <c:pt idx="2404">
                  <c:v>42.225483870967743</c:v>
                </c:pt>
                <c:pt idx="2405">
                  <c:v>42.199999999999996</c:v>
                </c:pt>
                <c:pt idx="2406">
                  <c:v>42.157096774193548</c:v>
                </c:pt>
                <c:pt idx="2407">
                  <c:v>42.237419354838714</c:v>
                </c:pt>
                <c:pt idx="2408">
                  <c:v>42.22870967741936</c:v>
                </c:pt>
                <c:pt idx="2409">
                  <c:v>42.22774193548387</c:v>
                </c:pt>
                <c:pt idx="2410">
                  <c:v>42.206451612903223</c:v>
                </c:pt>
                <c:pt idx="2411">
                  <c:v>42.22774193548387</c:v>
                </c:pt>
                <c:pt idx="2412">
                  <c:v>42.215806451612906</c:v>
                </c:pt>
                <c:pt idx="2413">
                  <c:v>42.279677419354833</c:v>
                </c:pt>
                <c:pt idx="2414">
                  <c:v>42.329677419354837</c:v>
                </c:pt>
                <c:pt idx="2415">
                  <c:v>42.325806451612898</c:v>
                </c:pt>
                <c:pt idx="2416">
                  <c:v>42.272903225806445</c:v>
                </c:pt>
                <c:pt idx="2417">
                  <c:v>42.254516129032254</c:v>
                </c:pt>
                <c:pt idx="2418">
                  <c:v>42.160322580645158</c:v>
                </c:pt>
                <c:pt idx="2419">
                  <c:v>42.075483870967737</c:v>
                </c:pt>
                <c:pt idx="2420">
                  <c:v>41.971612903225804</c:v>
                </c:pt>
                <c:pt idx="2421">
                  <c:v>42.022580645161284</c:v>
                </c:pt>
                <c:pt idx="2422">
                  <c:v>42.029354838709665</c:v>
                </c:pt>
                <c:pt idx="2423">
                  <c:v>41.983666666666664</c:v>
                </c:pt>
                <c:pt idx="2424">
                  <c:v>42.021379310344827</c:v>
                </c:pt>
                <c:pt idx="2425">
                  <c:v>42.034285714285708</c:v>
                </c:pt>
                <c:pt idx="2426">
                  <c:v>42.071851851851847</c:v>
                </c:pt>
                <c:pt idx="2427">
                  <c:v>42.059999999999988</c:v>
                </c:pt>
                <c:pt idx="2428">
                  <c:v>42.125599999999991</c:v>
                </c:pt>
                <c:pt idx="2429">
                  <c:v>42.089999999999996</c:v>
                </c:pt>
                <c:pt idx="2430">
                  <c:v>42.130869565217388</c:v>
                </c:pt>
                <c:pt idx="2431">
                  <c:v>42.109090909090909</c:v>
                </c:pt>
                <c:pt idx="2432">
                  <c:v>42.1447619047619</c:v>
                </c:pt>
                <c:pt idx="2433">
                  <c:v>42.128</c:v>
                </c:pt>
                <c:pt idx="2434">
                  <c:v>42.134736842105269</c:v>
                </c:pt>
                <c:pt idx="2435">
                  <c:v>42.034444444444453</c:v>
                </c:pt>
                <c:pt idx="2436">
                  <c:v>41.976470588235301</c:v>
                </c:pt>
                <c:pt idx="2437">
                  <c:v>42.008750000000006</c:v>
                </c:pt>
                <c:pt idx="2438">
                  <c:v>41.93333333333333</c:v>
                </c:pt>
                <c:pt idx="2439">
                  <c:v>41.999285714285712</c:v>
                </c:pt>
                <c:pt idx="2440">
                  <c:v>42.009230769230768</c:v>
                </c:pt>
                <c:pt idx="2441">
                  <c:v>42.052500000000002</c:v>
                </c:pt>
                <c:pt idx="2442">
                  <c:v>41.953636363636363</c:v>
                </c:pt>
                <c:pt idx="2443">
                  <c:v>41.943000000000005</c:v>
                </c:pt>
                <c:pt idx="2444">
                  <c:v>41.794444444444444</c:v>
                </c:pt>
                <c:pt idx="2445">
                  <c:v>41.701250000000002</c:v>
                </c:pt>
                <c:pt idx="2446">
                  <c:v>41.83</c:v>
                </c:pt>
                <c:pt idx="2447">
                  <c:v>41.994999999999997</c:v>
                </c:pt>
                <c:pt idx="2448">
                  <c:v>41.94</c:v>
                </c:pt>
                <c:pt idx="2449">
                  <c:v>42.237499999999997</c:v>
                </c:pt>
                <c:pt idx="2450">
                  <c:v>42.543333333333329</c:v>
                </c:pt>
                <c:pt idx="2451">
                  <c:v>43.55</c:v>
                </c:pt>
              </c:numCache>
            </c:numRef>
          </c:val>
          <c:smooth val="0"/>
          <c:extLst>
            <c:ext xmlns:c16="http://schemas.microsoft.com/office/drawing/2014/chart" uri="{C3380CC4-5D6E-409C-BE32-E72D297353CC}">
              <c16:uniqueId val="{00000000-29A8-CF42-9633-B19AC805DF98}"/>
            </c:ext>
          </c:extLst>
        </c:ser>
        <c:ser>
          <c:idx val="1"/>
          <c:order val="1"/>
          <c:tx>
            <c:strRef>
              <c:f>'DRT Rolling Mean'!$D$1</c:f>
              <c:strCache>
                <c:ptCount val="1"/>
                <c:pt idx="0">
                  <c:v>Volumetric Flow Meter 2</c:v>
                </c:pt>
              </c:strCache>
            </c:strRef>
          </c:tx>
          <c:spPr>
            <a:ln w="28575" cap="rnd">
              <a:solidFill>
                <a:schemeClr val="accent2"/>
              </a:solidFill>
              <a:round/>
            </a:ln>
            <a:effectLst/>
          </c:spPr>
          <c:marker>
            <c:symbol val="none"/>
          </c:marker>
          <c:cat>
            <c:numRef>
              <c:f>'DRT Rolling Mean'!$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D$2:$D$2453</c:f>
              <c:numCache>
                <c:formatCode>#,##0.00</c:formatCode>
                <c:ptCount val="2452"/>
                <c:pt idx="0">
                  <c:v>41.757419354838696</c:v>
                </c:pt>
                <c:pt idx="1">
                  <c:v>41.740645161290317</c:v>
                </c:pt>
                <c:pt idx="2">
                  <c:v>41.794838709677407</c:v>
                </c:pt>
                <c:pt idx="3">
                  <c:v>41.828387096774186</c:v>
                </c:pt>
                <c:pt idx="4">
                  <c:v>41.912903225806453</c:v>
                </c:pt>
                <c:pt idx="5">
                  <c:v>41.901935483870972</c:v>
                </c:pt>
                <c:pt idx="6">
                  <c:v>42.003225806451624</c:v>
                </c:pt>
                <c:pt idx="7">
                  <c:v>41.973870967741938</c:v>
                </c:pt>
                <c:pt idx="8">
                  <c:v>42.00516129032259</c:v>
                </c:pt>
                <c:pt idx="9">
                  <c:v>41.987741935483882</c:v>
                </c:pt>
                <c:pt idx="10">
                  <c:v>42.016774193548393</c:v>
                </c:pt>
                <c:pt idx="11">
                  <c:v>42.075483870967751</c:v>
                </c:pt>
                <c:pt idx="12">
                  <c:v>41.996451612903236</c:v>
                </c:pt>
                <c:pt idx="13">
                  <c:v>41.931612903225805</c:v>
                </c:pt>
                <c:pt idx="14">
                  <c:v>41.87903225806452</c:v>
                </c:pt>
                <c:pt idx="15">
                  <c:v>41.84032258064515</c:v>
                </c:pt>
                <c:pt idx="16">
                  <c:v>41.891935483870967</c:v>
                </c:pt>
                <c:pt idx="17">
                  <c:v>41.893225806451611</c:v>
                </c:pt>
                <c:pt idx="18">
                  <c:v>41.887096774193552</c:v>
                </c:pt>
                <c:pt idx="19">
                  <c:v>41.877741935483883</c:v>
                </c:pt>
                <c:pt idx="20">
                  <c:v>41.851935483870967</c:v>
                </c:pt>
                <c:pt idx="21">
                  <c:v>41.911612903225809</c:v>
                </c:pt>
                <c:pt idx="22">
                  <c:v>41.849032258064518</c:v>
                </c:pt>
                <c:pt idx="23">
                  <c:v>41.920645161290331</c:v>
                </c:pt>
                <c:pt idx="24">
                  <c:v>41.937741935483878</c:v>
                </c:pt>
                <c:pt idx="25">
                  <c:v>41.936129032258073</c:v>
                </c:pt>
                <c:pt idx="26">
                  <c:v>42.028064516129035</c:v>
                </c:pt>
                <c:pt idx="27">
                  <c:v>42.021935483870969</c:v>
                </c:pt>
                <c:pt idx="28">
                  <c:v>42.075161290322583</c:v>
                </c:pt>
                <c:pt idx="29">
                  <c:v>42.030967741935484</c:v>
                </c:pt>
                <c:pt idx="30">
                  <c:v>42.016774193548393</c:v>
                </c:pt>
                <c:pt idx="31">
                  <c:v>42.105483870967745</c:v>
                </c:pt>
                <c:pt idx="32">
                  <c:v>42.09225806451613</c:v>
                </c:pt>
                <c:pt idx="33">
                  <c:v>42.015161290322588</c:v>
                </c:pt>
                <c:pt idx="34">
                  <c:v>42.007741935483878</c:v>
                </c:pt>
                <c:pt idx="35">
                  <c:v>41.97225806451614</c:v>
                </c:pt>
                <c:pt idx="36">
                  <c:v>41.920645161290338</c:v>
                </c:pt>
                <c:pt idx="37">
                  <c:v>41.827419354838717</c:v>
                </c:pt>
                <c:pt idx="38">
                  <c:v>41.923548387096787</c:v>
                </c:pt>
                <c:pt idx="39">
                  <c:v>41.910645161290333</c:v>
                </c:pt>
                <c:pt idx="40">
                  <c:v>41.980000000000004</c:v>
                </c:pt>
                <c:pt idx="41">
                  <c:v>42.001612903225812</c:v>
                </c:pt>
                <c:pt idx="42">
                  <c:v>41.924838709677424</c:v>
                </c:pt>
                <c:pt idx="43">
                  <c:v>41.948387096774198</c:v>
                </c:pt>
                <c:pt idx="44">
                  <c:v>41.959677419354833</c:v>
                </c:pt>
                <c:pt idx="45">
                  <c:v>42.009032258064508</c:v>
                </c:pt>
                <c:pt idx="46">
                  <c:v>41.98096774193548</c:v>
                </c:pt>
                <c:pt idx="47">
                  <c:v>41.977096774193541</c:v>
                </c:pt>
                <c:pt idx="48">
                  <c:v>41.946774193548386</c:v>
                </c:pt>
                <c:pt idx="49">
                  <c:v>41.912903225806453</c:v>
                </c:pt>
                <c:pt idx="50">
                  <c:v>42.024516129032257</c:v>
                </c:pt>
                <c:pt idx="51">
                  <c:v>41.991935483870968</c:v>
                </c:pt>
                <c:pt idx="52">
                  <c:v>41.902903225806462</c:v>
                </c:pt>
                <c:pt idx="53">
                  <c:v>41.99774193548388</c:v>
                </c:pt>
                <c:pt idx="54">
                  <c:v>42.00516129032259</c:v>
                </c:pt>
                <c:pt idx="55">
                  <c:v>42.03387096774194</c:v>
                </c:pt>
                <c:pt idx="56">
                  <c:v>42.020645161290332</c:v>
                </c:pt>
                <c:pt idx="57">
                  <c:v>41.953870967741949</c:v>
                </c:pt>
                <c:pt idx="58">
                  <c:v>41.882258064516137</c:v>
                </c:pt>
                <c:pt idx="59">
                  <c:v>41.887741935483874</c:v>
                </c:pt>
                <c:pt idx="60">
                  <c:v>41.975483870967743</c:v>
                </c:pt>
                <c:pt idx="61">
                  <c:v>41.984516129032272</c:v>
                </c:pt>
                <c:pt idx="62">
                  <c:v>41.9467741935484</c:v>
                </c:pt>
                <c:pt idx="63">
                  <c:v>41.945806451612917</c:v>
                </c:pt>
                <c:pt idx="64">
                  <c:v>42.020322580645171</c:v>
                </c:pt>
                <c:pt idx="65">
                  <c:v>41.985161290322587</c:v>
                </c:pt>
                <c:pt idx="66">
                  <c:v>41.950322580645164</c:v>
                </c:pt>
                <c:pt idx="67">
                  <c:v>42.011935483870964</c:v>
                </c:pt>
                <c:pt idx="68">
                  <c:v>42.023225806451606</c:v>
                </c:pt>
                <c:pt idx="69">
                  <c:v>41.980967741935473</c:v>
                </c:pt>
                <c:pt idx="70">
                  <c:v>41.930322580645154</c:v>
                </c:pt>
                <c:pt idx="71">
                  <c:v>41.928064516129027</c:v>
                </c:pt>
                <c:pt idx="72">
                  <c:v>41.880967741935471</c:v>
                </c:pt>
                <c:pt idx="73">
                  <c:v>41.970967741935482</c:v>
                </c:pt>
                <c:pt idx="74">
                  <c:v>41.973548387096777</c:v>
                </c:pt>
                <c:pt idx="75">
                  <c:v>42.036774193548389</c:v>
                </c:pt>
                <c:pt idx="76">
                  <c:v>42.023225806451613</c:v>
                </c:pt>
                <c:pt idx="77">
                  <c:v>42.037741935483872</c:v>
                </c:pt>
                <c:pt idx="78">
                  <c:v>41.962580645161289</c:v>
                </c:pt>
                <c:pt idx="79">
                  <c:v>41.933870967741939</c:v>
                </c:pt>
                <c:pt idx="80">
                  <c:v>42.021935483870955</c:v>
                </c:pt>
                <c:pt idx="81">
                  <c:v>41.953870967741921</c:v>
                </c:pt>
                <c:pt idx="82">
                  <c:v>41.955806451612894</c:v>
                </c:pt>
                <c:pt idx="83">
                  <c:v>42.049354838709668</c:v>
                </c:pt>
                <c:pt idx="84">
                  <c:v>41.958387096774189</c:v>
                </c:pt>
                <c:pt idx="85">
                  <c:v>41.92</c:v>
                </c:pt>
                <c:pt idx="86">
                  <c:v>41.861612903225804</c:v>
                </c:pt>
                <c:pt idx="87">
                  <c:v>41.862580645161287</c:v>
                </c:pt>
                <c:pt idx="88">
                  <c:v>41.877419354838722</c:v>
                </c:pt>
                <c:pt idx="89">
                  <c:v>41.894516129032269</c:v>
                </c:pt>
                <c:pt idx="90">
                  <c:v>41.888064516129042</c:v>
                </c:pt>
                <c:pt idx="91">
                  <c:v>41.795806451612904</c:v>
                </c:pt>
                <c:pt idx="92">
                  <c:v>41.871935483870963</c:v>
                </c:pt>
                <c:pt idx="93">
                  <c:v>41.847741935483867</c:v>
                </c:pt>
                <c:pt idx="94">
                  <c:v>41.9216129032258</c:v>
                </c:pt>
                <c:pt idx="95">
                  <c:v>41.93967741935483</c:v>
                </c:pt>
                <c:pt idx="96">
                  <c:v>41.913548387096768</c:v>
                </c:pt>
                <c:pt idx="97">
                  <c:v>41.919677419354841</c:v>
                </c:pt>
                <c:pt idx="98">
                  <c:v>41.833225806451601</c:v>
                </c:pt>
                <c:pt idx="99">
                  <c:v>41.882258064516115</c:v>
                </c:pt>
                <c:pt idx="100">
                  <c:v>41.832580645161279</c:v>
                </c:pt>
                <c:pt idx="101">
                  <c:v>41.840967741935472</c:v>
                </c:pt>
                <c:pt idx="102">
                  <c:v>41.847419354838706</c:v>
                </c:pt>
                <c:pt idx="103">
                  <c:v>41.834516129032252</c:v>
                </c:pt>
                <c:pt idx="104">
                  <c:v>41.836129032258057</c:v>
                </c:pt>
                <c:pt idx="105">
                  <c:v>41.801935483870956</c:v>
                </c:pt>
                <c:pt idx="106">
                  <c:v>41.783225806451604</c:v>
                </c:pt>
                <c:pt idx="107">
                  <c:v>41.7416129032258</c:v>
                </c:pt>
                <c:pt idx="108">
                  <c:v>41.76</c:v>
                </c:pt>
                <c:pt idx="109">
                  <c:v>41.813548387096773</c:v>
                </c:pt>
                <c:pt idx="110">
                  <c:v>41.836774193548379</c:v>
                </c:pt>
                <c:pt idx="111">
                  <c:v>41.865806451612897</c:v>
                </c:pt>
                <c:pt idx="112">
                  <c:v>41.830322580645159</c:v>
                </c:pt>
                <c:pt idx="113">
                  <c:v>41.928709677419356</c:v>
                </c:pt>
                <c:pt idx="114">
                  <c:v>41.87580645161291</c:v>
                </c:pt>
                <c:pt idx="115">
                  <c:v>41.870645161290334</c:v>
                </c:pt>
                <c:pt idx="116">
                  <c:v>41.84322580645162</c:v>
                </c:pt>
                <c:pt idx="117">
                  <c:v>41.85032258064517</c:v>
                </c:pt>
                <c:pt idx="118">
                  <c:v>41.805483870967748</c:v>
                </c:pt>
                <c:pt idx="119">
                  <c:v>41.775806451612908</c:v>
                </c:pt>
                <c:pt idx="120">
                  <c:v>41.757096774193549</c:v>
                </c:pt>
                <c:pt idx="121">
                  <c:v>41.732903225806446</c:v>
                </c:pt>
                <c:pt idx="122">
                  <c:v>41.819677419354832</c:v>
                </c:pt>
                <c:pt idx="123">
                  <c:v>41.738064516129029</c:v>
                </c:pt>
                <c:pt idx="124">
                  <c:v>41.743548387096766</c:v>
                </c:pt>
                <c:pt idx="125">
                  <c:v>41.725483870967743</c:v>
                </c:pt>
                <c:pt idx="126">
                  <c:v>41.667096774193553</c:v>
                </c:pt>
                <c:pt idx="127">
                  <c:v>41.783225806451611</c:v>
                </c:pt>
                <c:pt idx="128">
                  <c:v>41.771935483870969</c:v>
                </c:pt>
                <c:pt idx="129">
                  <c:v>41.839354838709681</c:v>
                </c:pt>
                <c:pt idx="130">
                  <c:v>41.797419354838716</c:v>
                </c:pt>
                <c:pt idx="131">
                  <c:v>41.84225806451613</c:v>
                </c:pt>
                <c:pt idx="132">
                  <c:v>41.913225806451621</c:v>
                </c:pt>
                <c:pt idx="133">
                  <c:v>41.844838709677418</c:v>
                </c:pt>
                <c:pt idx="134">
                  <c:v>41.908064516129031</c:v>
                </c:pt>
                <c:pt idx="135">
                  <c:v>41.876129032258056</c:v>
                </c:pt>
                <c:pt idx="136">
                  <c:v>41.902580645161294</c:v>
                </c:pt>
                <c:pt idx="137">
                  <c:v>41.903225806451616</c:v>
                </c:pt>
                <c:pt idx="138">
                  <c:v>41.926129032258068</c:v>
                </c:pt>
                <c:pt idx="139">
                  <c:v>41.904516129032267</c:v>
                </c:pt>
                <c:pt idx="140">
                  <c:v>41.826451612903234</c:v>
                </c:pt>
                <c:pt idx="141">
                  <c:v>41.748064516129041</c:v>
                </c:pt>
                <c:pt idx="142">
                  <c:v>41.730967741935501</c:v>
                </c:pt>
                <c:pt idx="143">
                  <c:v>41.812258064516143</c:v>
                </c:pt>
                <c:pt idx="144">
                  <c:v>41.761290322580656</c:v>
                </c:pt>
                <c:pt idx="145">
                  <c:v>41.786774193548403</c:v>
                </c:pt>
                <c:pt idx="146">
                  <c:v>41.772903225806466</c:v>
                </c:pt>
                <c:pt idx="147">
                  <c:v>41.818387096774202</c:v>
                </c:pt>
                <c:pt idx="148">
                  <c:v>41.894516129032262</c:v>
                </c:pt>
                <c:pt idx="149">
                  <c:v>41.968387096774194</c:v>
                </c:pt>
                <c:pt idx="150">
                  <c:v>42.054193548387097</c:v>
                </c:pt>
                <c:pt idx="151">
                  <c:v>42.050967741935487</c:v>
                </c:pt>
                <c:pt idx="152">
                  <c:v>42.068709677419356</c:v>
                </c:pt>
                <c:pt idx="153">
                  <c:v>42.041935483870972</c:v>
                </c:pt>
                <c:pt idx="154">
                  <c:v>42.114838709677436</c:v>
                </c:pt>
                <c:pt idx="155">
                  <c:v>42.165483870967755</c:v>
                </c:pt>
                <c:pt idx="156">
                  <c:v>42.145806451612906</c:v>
                </c:pt>
                <c:pt idx="157">
                  <c:v>42.181290322580644</c:v>
                </c:pt>
                <c:pt idx="158">
                  <c:v>42.159032258064514</c:v>
                </c:pt>
                <c:pt idx="159">
                  <c:v>42.134838709677425</c:v>
                </c:pt>
                <c:pt idx="160">
                  <c:v>42.159677419354843</c:v>
                </c:pt>
                <c:pt idx="161">
                  <c:v>42.220645161290321</c:v>
                </c:pt>
                <c:pt idx="162">
                  <c:v>42.203225806451613</c:v>
                </c:pt>
                <c:pt idx="163">
                  <c:v>42.187096774193563</c:v>
                </c:pt>
                <c:pt idx="164">
                  <c:v>42.176451612903236</c:v>
                </c:pt>
                <c:pt idx="165">
                  <c:v>42.173870967741948</c:v>
                </c:pt>
                <c:pt idx="166">
                  <c:v>42.181290322580658</c:v>
                </c:pt>
                <c:pt idx="167">
                  <c:v>42.17870967741937</c:v>
                </c:pt>
                <c:pt idx="168">
                  <c:v>42.151290322580664</c:v>
                </c:pt>
                <c:pt idx="169">
                  <c:v>42.179032258064524</c:v>
                </c:pt>
                <c:pt idx="170">
                  <c:v>42.244516129032263</c:v>
                </c:pt>
                <c:pt idx="171">
                  <c:v>42.326451612903227</c:v>
                </c:pt>
                <c:pt idx="172">
                  <c:v>42.428709677419356</c:v>
                </c:pt>
                <c:pt idx="173">
                  <c:v>42.323870967741932</c:v>
                </c:pt>
                <c:pt idx="174">
                  <c:v>42.289354838709677</c:v>
                </c:pt>
                <c:pt idx="175">
                  <c:v>42.308709677419351</c:v>
                </c:pt>
                <c:pt idx="176">
                  <c:v>42.215161290322577</c:v>
                </c:pt>
                <c:pt idx="177">
                  <c:v>42.215806451612899</c:v>
                </c:pt>
                <c:pt idx="178">
                  <c:v>42.15290322580644</c:v>
                </c:pt>
                <c:pt idx="179">
                  <c:v>42.151612903225796</c:v>
                </c:pt>
                <c:pt idx="180">
                  <c:v>42.103225806451597</c:v>
                </c:pt>
                <c:pt idx="181">
                  <c:v>42.034193548387087</c:v>
                </c:pt>
                <c:pt idx="182">
                  <c:v>42.040645161290314</c:v>
                </c:pt>
                <c:pt idx="183">
                  <c:v>42.059999999999988</c:v>
                </c:pt>
                <c:pt idx="184">
                  <c:v>42.076774193548381</c:v>
                </c:pt>
                <c:pt idx="185">
                  <c:v>41.984838709677419</c:v>
                </c:pt>
                <c:pt idx="186">
                  <c:v>41.922903225806458</c:v>
                </c:pt>
                <c:pt idx="187">
                  <c:v>41.968387096774201</c:v>
                </c:pt>
                <c:pt idx="188">
                  <c:v>41.894193548387101</c:v>
                </c:pt>
                <c:pt idx="189">
                  <c:v>41.804193548387097</c:v>
                </c:pt>
                <c:pt idx="190">
                  <c:v>41.852580645161289</c:v>
                </c:pt>
                <c:pt idx="191">
                  <c:v>41.776774193548384</c:v>
                </c:pt>
                <c:pt idx="192">
                  <c:v>41.770645161290318</c:v>
                </c:pt>
                <c:pt idx="193">
                  <c:v>41.817419354838698</c:v>
                </c:pt>
                <c:pt idx="194">
                  <c:v>41.748709677419349</c:v>
                </c:pt>
                <c:pt idx="195">
                  <c:v>41.814516129032249</c:v>
                </c:pt>
                <c:pt idx="196">
                  <c:v>41.841935483870941</c:v>
                </c:pt>
                <c:pt idx="197">
                  <c:v>41.788064516129019</c:v>
                </c:pt>
                <c:pt idx="198">
                  <c:v>41.823870967741925</c:v>
                </c:pt>
                <c:pt idx="199">
                  <c:v>41.772580645161277</c:v>
                </c:pt>
                <c:pt idx="200">
                  <c:v>41.791290322580643</c:v>
                </c:pt>
                <c:pt idx="201">
                  <c:v>41.750645161290315</c:v>
                </c:pt>
                <c:pt idx="202">
                  <c:v>41.714838709677416</c:v>
                </c:pt>
                <c:pt idx="203">
                  <c:v>41.608709677419355</c:v>
                </c:pt>
                <c:pt idx="204">
                  <c:v>41.686774193548388</c:v>
                </c:pt>
                <c:pt idx="205">
                  <c:v>41.699354838709674</c:v>
                </c:pt>
                <c:pt idx="206">
                  <c:v>41.625806451612895</c:v>
                </c:pt>
                <c:pt idx="207">
                  <c:v>41.63548387096774</c:v>
                </c:pt>
                <c:pt idx="208">
                  <c:v>41.655483870967736</c:v>
                </c:pt>
                <c:pt idx="209">
                  <c:v>41.748387096774181</c:v>
                </c:pt>
                <c:pt idx="210">
                  <c:v>41.694193548387091</c:v>
                </c:pt>
                <c:pt idx="211">
                  <c:v>41.635161290322586</c:v>
                </c:pt>
                <c:pt idx="212">
                  <c:v>41.599032258064511</c:v>
                </c:pt>
                <c:pt idx="213">
                  <c:v>41.727419354838709</c:v>
                </c:pt>
                <c:pt idx="214">
                  <c:v>41.753870967741939</c:v>
                </c:pt>
                <c:pt idx="215">
                  <c:v>41.791612903225804</c:v>
                </c:pt>
                <c:pt idx="216">
                  <c:v>41.928064516129041</c:v>
                </c:pt>
                <c:pt idx="217">
                  <c:v>41.980322580645165</c:v>
                </c:pt>
                <c:pt idx="218">
                  <c:v>41.965806451612906</c:v>
                </c:pt>
                <c:pt idx="219">
                  <c:v>42.101612903225806</c:v>
                </c:pt>
                <c:pt idx="220">
                  <c:v>42.164193548387097</c:v>
                </c:pt>
                <c:pt idx="221">
                  <c:v>42.191935483870964</c:v>
                </c:pt>
                <c:pt idx="222">
                  <c:v>42.254193548387086</c:v>
                </c:pt>
                <c:pt idx="223">
                  <c:v>42.282580645161282</c:v>
                </c:pt>
                <c:pt idx="224">
                  <c:v>42.332580645161286</c:v>
                </c:pt>
                <c:pt idx="225">
                  <c:v>42.418709677419358</c:v>
                </c:pt>
                <c:pt idx="226">
                  <c:v>42.377419354838715</c:v>
                </c:pt>
                <c:pt idx="227">
                  <c:v>42.328064516129025</c:v>
                </c:pt>
                <c:pt idx="228">
                  <c:v>42.399354838709684</c:v>
                </c:pt>
                <c:pt idx="229">
                  <c:v>42.482903225806453</c:v>
                </c:pt>
                <c:pt idx="230">
                  <c:v>42.545806451612897</c:v>
                </c:pt>
                <c:pt idx="231">
                  <c:v>42.589677419354828</c:v>
                </c:pt>
                <c:pt idx="232">
                  <c:v>42.704193548387089</c:v>
                </c:pt>
                <c:pt idx="233">
                  <c:v>42.745806451612893</c:v>
                </c:pt>
                <c:pt idx="234">
                  <c:v>42.868709677419346</c:v>
                </c:pt>
                <c:pt idx="235">
                  <c:v>42.861290322580643</c:v>
                </c:pt>
                <c:pt idx="236">
                  <c:v>42.884838709677425</c:v>
                </c:pt>
                <c:pt idx="237">
                  <c:v>43.02967741935484</c:v>
                </c:pt>
                <c:pt idx="238">
                  <c:v>43.097741935483874</c:v>
                </c:pt>
                <c:pt idx="239">
                  <c:v>43.219032258064523</c:v>
                </c:pt>
                <c:pt idx="240">
                  <c:v>43.217419354838718</c:v>
                </c:pt>
                <c:pt idx="241">
                  <c:v>43.238064516129036</c:v>
                </c:pt>
                <c:pt idx="242">
                  <c:v>43.293548387096777</c:v>
                </c:pt>
                <c:pt idx="243">
                  <c:v>43.424193548387102</c:v>
                </c:pt>
                <c:pt idx="244">
                  <c:v>43.438064516129039</c:v>
                </c:pt>
                <c:pt idx="245">
                  <c:v>43.366451612903226</c:v>
                </c:pt>
                <c:pt idx="246">
                  <c:v>43.341935483870962</c:v>
                </c:pt>
                <c:pt idx="247">
                  <c:v>43.354838709677416</c:v>
                </c:pt>
                <c:pt idx="248">
                  <c:v>43.393870967741933</c:v>
                </c:pt>
                <c:pt idx="249">
                  <c:v>43.411935483870963</c:v>
                </c:pt>
                <c:pt idx="250">
                  <c:v>43.418064516129029</c:v>
                </c:pt>
                <c:pt idx="251">
                  <c:v>43.415806451612902</c:v>
                </c:pt>
                <c:pt idx="252">
                  <c:v>43.468709677419348</c:v>
                </c:pt>
                <c:pt idx="253">
                  <c:v>43.438064516129032</c:v>
                </c:pt>
                <c:pt idx="254">
                  <c:v>43.431612903225812</c:v>
                </c:pt>
                <c:pt idx="255">
                  <c:v>43.372258064516117</c:v>
                </c:pt>
                <c:pt idx="256">
                  <c:v>43.295483870967743</c:v>
                </c:pt>
                <c:pt idx="257">
                  <c:v>43.235806451612902</c:v>
                </c:pt>
                <c:pt idx="258">
                  <c:v>43.219677419354838</c:v>
                </c:pt>
                <c:pt idx="259">
                  <c:v>43.13225806451613</c:v>
                </c:pt>
                <c:pt idx="260">
                  <c:v>43.038387096774187</c:v>
                </c:pt>
                <c:pt idx="261">
                  <c:v>42.996774193548376</c:v>
                </c:pt>
                <c:pt idx="262">
                  <c:v>42.927096774193544</c:v>
                </c:pt>
                <c:pt idx="263">
                  <c:v>42.80419354838709</c:v>
                </c:pt>
                <c:pt idx="264">
                  <c:v>42.694516129032252</c:v>
                </c:pt>
                <c:pt idx="265">
                  <c:v>42.625161290322573</c:v>
                </c:pt>
                <c:pt idx="266">
                  <c:v>42.552580645161292</c:v>
                </c:pt>
                <c:pt idx="267">
                  <c:v>42.469032258064516</c:v>
                </c:pt>
                <c:pt idx="268">
                  <c:v>42.337741935483869</c:v>
                </c:pt>
                <c:pt idx="269">
                  <c:v>42.262903225806461</c:v>
                </c:pt>
                <c:pt idx="270">
                  <c:v>42.133225806451634</c:v>
                </c:pt>
                <c:pt idx="271">
                  <c:v>42.112580645161309</c:v>
                </c:pt>
                <c:pt idx="272">
                  <c:v>42.082903225806461</c:v>
                </c:pt>
                <c:pt idx="273">
                  <c:v>42.061935483870975</c:v>
                </c:pt>
                <c:pt idx="274">
                  <c:v>42.04548387096775</c:v>
                </c:pt>
                <c:pt idx="275">
                  <c:v>42.019677419354842</c:v>
                </c:pt>
                <c:pt idx="276">
                  <c:v>42.044838709677421</c:v>
                </c:pt>
                <c:pt idx="277">
                  <c:v>41.941612903225817</c:v>
                </c:pt>
                <c:pt idx="278">
                  <c:v>41.843225806451613</c:v>
                </c:pt>
                <c:pt idx="279">
                  <c:v>41.732258064516131</c:v>
                </c:pt>
                <c:pt idx="280">
                  <c:v>41.702903225806459</c:v>
                </c:pt>
                <c:pt idx="281">
                  <c:v>41.565483870967746</c:v>
                </c:pt>
                <c:pt idx="282">
                  <c:v>41.607419354838711</c:v>
                </c:pt>
                <c:pt idx="283">
                  <c:v>41.470000000000006</c:v>
                </c:pt>
                <c:pt idx="284">
                  <c:v>41.409354838709682</c:v>
                </c:pt>
                <c:pt idx="285">
                  <c:v>41.358709677419363</c:v>
                </c:pt>
                <c:pt idx="286">
                  <c:v>41.335161290322581</c:v>
                </c:pt>
                <c:pt idx="287">
                  <c:v>41.330967741935481</c:v>
                </c:pt>
                <c:pt idx="288">
                  <c:v>41.385161290322579</c:v>
                </c:pt>
                <c:pt idx="289">
                  <c:v>41.357096774193543</c:v>
                </c:pt>
                <c:pt idx="290">
                  <c:v>41.388387096774196</c:v>
                </c:pt>
                <c:pt idx="291">
                  <c:v>41.450322580645164</c:v>
                </c:pt>
                <c:pt idx="292">
                  <c:v>41.538709677419355</c:v>
                </c:pt>
                <c:pt idx="293">
                  <c:v>41.470967741935482</c:v>
                </c:pt>
                <c:pt idx="294">
                  <c:v>41.47354838709677</c:v>
                </c:pt>
                <c:pt idx="295">
                  <c:v>41.585483870967735</c:v>
                </c:pt>
                <c:pt idx="296">
                  <c:v>41.579999999999991</c:v>
                </c:pt>
                <c:pt idx="297">
                  <c:v>41.582258064516132</c:v>
                </c:pt>
                <c:pt idx="298">
                  <c:v>41.682903225806449</c:v>
                </c:pt>
                <c:pt idx="299">
                  <c:v>41.792903225806448</c:v>
                </c:pt>
                <c:pt idx="300">
                  <c:v>41.803870967741936</c:v>
                </c:pt>
                <c:pt idx="301">
                  <c:v>41.803225806451614</c:v>
                </c:pt>
                <c:pt idx="302">
                  <c:v>41.730645161290319</c:v>
                </c:pt>
                <c:pt idx="303">
                  <c:v>41.809677419354834</c:v>
                </c:pt>
                <c:pt idx="304">
                  <c:v>41.814516129032256</c:v>
                </c:pt>
                <c:pt idx="305">
                  <c:v>41.814516129032256</c:v>
                </c:pt>
                <c:pt idx="306">
                  <c:v>41.792258064516133</c:v>
                </c:pt>
                <c:pt idx="307">
                  <c:v>41.698064516129037</c:v>
                </c:pt>
                <c:pt idx="308">
                  <c:v>41.789354838709677</c:v>
                </c:pt>
                <c:pt idx="309">
                  <c:v>41.825161290322576</c:v>
                </c:pt>
                <c:pt idx="310">
                  <c:v>41.887419354838713</c:v>
                </c:pt>
                <c:pt idx="311">
                  <c:v>41.855806451612899</c:v>
                </c:pt>
                <c:pt idx="312">
                  <c:v>41.881935483870969</c:v>
                </c:pt>
                <c:pt idx="313">
                  <c:v>41.800645161290319</c:v>
                </c:pt>
                <c:pt idx="314">
                  <c:v>41.916774193548385</c:v>
                </c:pt>
                <c:pt idx="315">
                  <c:v>41.932903225806449</c:v>
                </c:pt>
                <c:pt idx="316">
                  <c:v>41.881612903225793</c:v>
                </c:pt>
                <c:pt idx="317">
                  <c:v>41.873870967741915</c:v>
                </c:pt>
                <c:pt idx="318">
                  <c:v>41.864516129032246</c:v>
                </c:pt>
                <c:pt idx="319">
                  <c:v>41.867096774193541</c:v>
                </c:pt>
                <c:pt idx="320">
                  <c:v>41.958709677419357</c:v>
                </c:pt>
                <c:pt idx="321">
                  <c:v>41.986129032258063</c:v>
                </c:pt>
                <c:pt idx="322">
                  <c:v>41.961612903225806</c:v>
                </c:pt>
                <c:pt idx="323">
                  <c:v>41.945161290322581</c:v>
                </c:pt>
                <c:pt idx="324">
                  <c:v>41.969354838709677</c:v>
                </c:pt>
                <c:pt idx="325">
                  <c:v>41.945483870967742</c:v>
                </c:pt>
                <c:pt idx="326">
                  <c:v>41.894193548387101</c:v>
                </c:pt>
                <c:pt idx="327">
                  <c:v>41.928387096774195</c:v>
                </c:pt>
                <c:pt idx="328">
                  <c:v>42.012580645161286</c:v>
                </c:pt>
                <c:pt idx="329">
                  <c:v>42.016774193548386</c:v>
                </c:pt>
                <c:pt idx="330">
                  <c:v>41.916129032258063</c:v>
                </c:pt>
                <c:pt idx="331">
                  <c:v>41.961290322580638</c:v>
                </c:pt>
                <c:pt idx="332">
                  <c:v>41.94387096774193</c:v>
                </c:pt>
                <c:pt idx="333">
                  <c:v>41.958064516129028</c:v>
                </c:pt>
                <c:pt idx="334">
                  <c:v>41.931935483870966</c:v>
                </c:pt>
                <c:pt idx="335">
                  <c:v>41.944516129032259</c:v>
                </c:pt>
                <c:pt idx="336">
                  <c:v>41.865806451612897</c:v>
                </c:pt>
                <c:pt idx="337">
                  <c:v>41.885806451612908</c:v>
                </c:pt>
                <c:pt idx="338">
                  <c:v>41.924838709677431</c:v>
                </c:pt>
                <c:pt idx="339">
                  <c:v>41.943548387096783</c:v>
                </c:pt>
                <c:pt idx="340">
                  <c:v>41.927096774193551</c:v>
                </c:pt>
                <c:pt idx="341">
                  <c:v>41.960645161290323</c:v>
                </c:pt>
                <c:pt idx="342">
                  <c:v>42.046451612903219</c:v>
                </c:pt>
                <c:pt idx="343">
                  <c:v>42.092258064516123</c:v>
                </c:pt>
                <c:pt idx="344">
                  <c:v>42.141290322580645</c:v>
                </c:pt>
                <c:pt idx="345">
                  <c:v>42.051612903225802</c:v>
                </c:pt>
                <c:pt idx="346">
                  <c:v>42.125483870967734</c:v>
                </c:pt>
                <c:pt idx="347">
                  <c:v>42.184193548387086</c:v>
                </c:pt>
                <c:pt idx="348">
                  <c:v>42.223870967741924</c:v>
                </c:pt>
                <c:pt idx="349">
                  <c:v>42.255161290322562</c:v>
                </c:pt>
                <c:pt idx="350">
                  <c:v>42.283548387096751</c:v>
                </c:pt>
                <c:pt idx="351">
                  <c:v>42.217096774193543</c:v>
                </c:pt>
                <c:pt idx="352">
                  <c:v>42.195161290322574</c:v>
                </c:pt>
                <c:pt idx="353">
                  <c:v>42.212258064516121</c:v>
                </c:pt>
                <c:pt idx="354">
                  <c:v>42.192258064516125</c:v>
                </c:pt>
                <c:pt idx="355">
                  <c:v>42.185483870967737</c:v>
                </c:pt>
                <c:pt idx="356">
                  <c:v>42.257741935483871</c:v>
                </c:pt>
                <c:pt idx="357">
                  <c:v>42.21290322580645</c:v>
                </c:pt>
                <c:pt idx="358">
                  <c:v>42.157096774193541</c:v>
                </c:pt>
                <c:pt idx="359">
                  <c:v>42.078387096774179</c:v>
                </c:pt>
                <c:pt idx="360">
                  <c:v>42.033870967741919</c:v>
                </c:pt>
                <c:pt idx="361">
                  <c:v>42.012580645161272</c:v>
                </c:pt>
                <c:pt idx="362">
                  <c:v>41.959999999999987</c:v>
                </c:pt>
                <c:pt idx="363">
                  <c:v>41.98419354838709</c:v>
                </c:pt>
                <c:pt idx="364">
                  <c:v>42.059677419354827</c:v>
                </c:pt>
                <c:pt idx="365">
                  <c:v>41.968387096774194</c:v>
                </c:pt>
                <c:pt idx="366">
                  <c:v>42.008709677419354</c:v>
                </c:pt>
                <c:pt idx="367">
                  <c:v>42.018709677419352</c:v>
                </c:pt>
                <c:pt idx="368">
                  <c:v>41.973225806451616</c:v>
                </c:pt>
                <c:pt idx="369">
                  <c:v>41.992903225806458</c:v>
                </c:pt>
                <c:pt idx="370">
                  <c:v>41.920645161290338</c:v>
                </c:pt>
                <c:pt idx="371">
                  <c:v>41.88000000000001</c:v>
                </c:pt>
                <c:pt idx="372">
                  <c:v>41.8725806451613</c:v>
                </c:pt>
                <c:pt idx="373">
                  <c:v>41.787419354838711</c:v>
                </c:pt>
                <c:pt idx="374">
                  <c:v>41.721612903225811</c:v>
                </c:pt>
                <c:pt idx="375">
                  <c:v>41.705806451612901</c:v>
                </c:pt>
                <c:pt idx="376">
                  <c:v>41.678387096774188</c:v>
                </c:pt>
                <c:pt idx="377">
                  <c:v>41.672258064516122</c:v>
                </c:pt>
                <c:pt idx="378">
                  <c:v>41.626129032258056</c:v>
                </c:pt>
                <c:pt idx="379">
                  <c:v>41.650967741935474</c:v>
                </c:pt>
                <c:pt idx="380">
                  <c:v>41.664838709677419</c:v>
                </c:pt>
                <c:pt idx="381">
                  <c:v>41.64612903225806</c:v>
                </c:pt>
                <c:pt idx="382">
                  <c:v>41.643548387096772</c:v>
                </c:pt>
                <c:pt idx="383">
                  <c:v>41.659354838709682</c:v>
                </c:pt>
                <c:pt idx="384">
                  <c:v>41.66290322580646</c:v>
                </c:pt>
                <c:pt idx="385">
                  <c:v>41.690000000000005</c:v>
                </c:pt>
                <c:pt idx="386">
                  <c:v>41.686451612903241</c:v>
                </c:pt>
                <c:pt idx="387">
                  <c:v>41.614838709677421</c:v>
                </c:pt>
                <c:pt idx="388">
                  <c:v>41.642903225806464</c:v>
                </c:pt>
                <c:pt idx="389">
                  <c:v>41.693548387096783</c:v>
                </c:pt>
                <c:pt idx="390">
                  <c:v>41.693548387096776</c:v>
                </c:pt>
                <c:pt idx="391">
                  <c:v>41.650645161290328</c:v>
                </c:pt>
                <c:pt idx="392">
                  <c:v>41.71935483870967</c:v>
                </c:pt>
                <c:pt idx="393">
                  <c:v>41.795483870967736</c:v>
                </c:pt>
                <c:pt idx="394">
                  <c:v>41.828709677419347</c:v>
                </c:pt>
                <c:pt idx="395">
                  <c:v>41.794838709677414</c:v>
                </c:pt>
                <c:pt idx="396">
                  <c:v>41.802903225806446</c:v>
                </c:pt>
                <c:pt idx="397">
                  <c:v>41.789032258064509</c:v>
                </c:pt>
                <c:pt idx="398">
                  <c:v>41.860322580645153</c:v>
                </c:pt>
                <c:pt idx="399">
                  <c:v>41.804516129032251</c:v>
                </c:pt>
                <c:pt idx="400">
                  <c:v>41.866451612903219</c:v>
                </c:pt>
                <c:pt idx="401">
                  <c:v>41.831935483870964</c:v>
                </c:pt>
                <c:pt idx="402">
                  <c:v>41.846774193548377</c:v>
                </c:pt>
                <c:pt idx="403">
                  <c:v>41.845806451612894</c:v>
                </c:pt>
                <c:pt idx="404">
                  <c:v>41.938064516129025</c:v>
                </c:pt>
                <c:pt idx="405">
                  <c:v>41.938387096774193</c:v>
                </c:pt>
                <c:pt idx="406">
                  <c:v>41.909354838709675</c:v>
                </c:pt>
                <c:pt idx="407">
                  <c:v>41.918709677419351</c:v>
                </c:pt>
                <c:pt idx="408">
                  <c:v>41.875483870967734</c:v>
                </c:pt>
                <c:pt idx="409">
                  <c:v>41.950322580645164</c:v>
                </c:pt>
                <c:pt idx="410">
                  <c:v>41.893870967741933</c:v>
                </c:pt>
                <c:pt idx="411">
                  <c:v>41.915483870967741</c:v>
                </c:pt>
                <c:pt idx="412">
                  <c:v>41.953225806451613</c:v>
                </c:pt>
                <c:pt idx="413">
                  <c:v>41.970645161290321</c:v>
                </c:pt>
                <c:pt idx="414">
                  <c:v>41.886129032258069</c:v>
                </c:pt>
                <c:pt idx="415">
                  <c:v>41.858709677419355</c:v>
                </c:pt>
                <c:pt idx="416">
                  <c:v>41.784838709677423</c:v>
                </c:pt>
                <c:pt idx="417">
                  <c:v>41.788387096774201</c:v>
                </c:pt>
                <c:pt idx="418">
                  <c:v>41.808387096774197</c:v>
                </c:pt>
                <c:pt idx="419">
                  <c:v>41.876774193548393</c:v>
                </c:pt>
                <c:pt idx="420">
                  <c:v>41.81</c:v>
                </c:pt>
                <c:pt idx="421">
                  <c:v>41.916774193548399</c:v>
                </c:pt>
                <c:pt idx="422">
                  <c:v>41.940322580645166</c:v>
                </c:pt>
                <c:pt idx="423">
                  <c:v>41.878709677419359</c:v>
                </c:pt>
                <c:pt idx="424">
                  <c:v>41.833870967741923</c:v>
                </c:pt>
                <c:pt idx="425">
                  <c:v>41.824838709677415</c:v>
                </c:pt>
                <c:pt idx="426">
                  <c:v>41.816451612903215</c:v>
                </c:pt>
                <c:pt idx="427">
                  <c:v>41.916451612903224</c:v>
                </c:pt>
                <c:pt idx="428">
                  <c:v>41.947741935483869</c:v>
                </c:pt>
                <c:pt idx="429">
                  <c:v>41.917419354838707</c:v>
                </c:pt>
                <c:pt idx="430">
                  <c:v>42.00548387096773</c:v>
                </c:pt>
                <c:pt idx="431">
                  <c:v>41.992580645161283</c:v>
                </c:pt>
                <c:pt idx="432">
                  <c:v>42.085806451612903</c:v>
                </c:pt>
                <c:pt idx="433">
                  <c:v>42.100645161290323</c:v>
                </c:pt>
                <c:pt idx="434">
                  <c:v>42.057419354838707</c:v>
                </c:pt>
                <c:pt idx="435">
                  <c:v>41.970645161290335</c:v>
                </c:pt>
                <c:pt idx="436">
                  <c:v>42.067096774193551</c:v>
                </c:pt>
                <c:pt idx="437">
                  <c:v>42.078064516129039</c:v>
                </c:pt>
                <c:pt idx="438">
                  <c:v>42.077096774193549</c:v>
                </c:pt>
                <c:pt idx="439">
                  <c:v>42.046774193548387</c:v>
                </c:pt>
                <c:pt idx="440">
                  <c:v>42.010967741935488</c:v>
                </c:pt>
                <c:pt idx="441">
                  <c:v>41.988064516129036</c:v>
                </c:pt>
                <c:pt idx="442">
                  <c:v>41.989677419354841</c:v>
                </c:pt>
                <c:pt idx="443">
                  <c:v>41.894193548387108</c:v>
                </c:pt>
                <c:pt idx="444">
                  <c:v>41.948064516129037</c:v>
                </c:pt>
                <c:pt idx="445">
                  <c:v>42.020967741935479</c:v>
                </c:pt>
                <c:pt idx="446">
                  <c:v>42.035483870967738</c:v>
                </c:pt>
                <c:pt idx="447">
                  <c:v>42.085806451612896</c:v>
                </c:pt>
                <c:pt idx="448">
                  <c:v>42.101935483870953</c:v>
                </c:pt>
                <c:pt idx="449">
                  <c:v>42.166129032258056</c:v>
                </c:pt>
                <c:pt idx="450">
                  <c:v>42.151612903225796</c:v>
                </c:pt>
                <c:pt idx="451">
                  <c:v>42.26064516129032</c:v>
                </c:pt>
                <c:pt idx="452">
                  <c:v>42.24064516129031</c:v>
                </c:pt>
                <c:pt idx="453">
                  <c:v>42.281612903225792</c:v>
                </c:pt>
                <c:pt idx="454">
                  <c:v>42.368064516129024</c:v>
                </c:pt>
                <c:pt idx="455">
                  <c:v>42.336451612903211</c:v>
                </c:pt>
                <c:pt idx="456">
                  <c:v>42.395483870967745</c:v>
                </c:pt>
                <c:pt idx="457">
                  <c:v>42.354516129032255</c:v>
                </c:pt>
                <c:pt idx="458">
                  <c:v>42.263870967741937</c:v>
                </c:pt>
                <c:pt idx="459">
                  <c:v>42.177741935483873</c:v>
                </c:pt>
                <c:pt idx="460">
                  <c:v>42.132580645161298</c:v>
                </c:pt>
                <c:pt idx="461">
                  <c:v>42.040322580645167</c:v>
                </c:pt>
                <c:pt idx="462">
                  <c:v>42.01580645161291</c:v>
                </c:pt>
                <c:pt idx="463">
                  <c:v>42.030000000000008</c:v>
                </c:pt>
                <c:pt idx="464">
                  <c:v>42.006451612903234</c:v>
                </c:pt>
                <c:pt idx="465">
                  <c:v>41.960967741935491</c:v>
                </c:pt>
                <c:pt idx="466">
                  <c:v>41.934838709677429</c:v>
                </c:pt>
                <c:pt idx="467">
                  <c:v>41.812258064516129</c:v>
                </c:pt>
                <c:pt idx="468">
                  <c:v>41.844193548387089</c:v>
                </c:pt>
                <c:pt idx="469">
                  <c:v>41.945161290322574</c:v>
                </c:pt>
                <c:pt idx="470">
                  <c:v>42.048709677419353</c:v>
                </c:pt>
                <c:pt idx="471">
                  <c:v>42.03</c:v>
                </c:pt>
                <c:pt idx="472">
                  <c:v>42.065483870967739</c:v>
                </c:pt>
                <c:pt idx="473">
                  <c:v>42.038709677419355</c:v>
                </c:pt>
                <c:pt idx="474">
                  <c:v>42.064516129032263</c:v>
                </c:pt>
                <c:pt idx="475">
                  <c:v>42.037741935483872</c:v>
                </c:pt>
                <c:pt idx="476">
                  <c:v>42.008387096774193</c:v>
                </c:pt>
                <c:pt idx="477">
                  <c:v>41.962258064516128</c:v>
                </c:pt>
                <c:pt idx="478">
                  <c:v>41.930645161290322</c:v>
                </c:pt>
                <c:pt idx="479">
                  <c:v>41.910322580645165</c:v>
                </c:pt>
                <c:pt idx="480">
                  <c:v>41.848064516129028</c:v>
                </c:pt>
                <c:pt idx="481">
                  <c:v>41.794838709677414</c:v>
                </c:pt>
                <c:pt idx="482">
                  <c:v>41.754516129032261</c:v>
                </c:pt>
                <c:pt idx="483">
                  <c:v>41.744838709677424</c:v>
                </c:pt>
                <c:pt idx="484">
                  <c:v>41.690000000000005</c:v>
                </c:pt>
                <c:pt idx="485">
                  <c:v>41.618387096774192</c:v>
                </c:pt>
                <c:pt idx="486">
                  <c:v>41.701935483870969</c:v>
                </c:pt>
                <c:pt idx="487">
                  <c:v>41.613870967741931</c:v>
                </c:pt>
                <c:pt idx="488">
                  <c:v>41.65</c:v>
                </c:pt>
                <c:pt idx="489">
                  <c:v>41.731290322580648</c:v>
                </c:pt>
                <c:pt idx="490">
                  <c:v>41.709032258064518</c:v>
                </c:pt>
                <c:pt idx="491">
                  <c:v>41.681612903225805</c:v>
                </c:pt>
                <c:pt idx="492">
                  <c:v>41.759677419354837</c:v>
                </c:pt>
                <c:pt idx="493">
                  <c:v>41.725483870967736</c:v>
                </c:pt>
                <c:pt idx="494">
                  <c:v>41.682258064516127</c:v>
                </c:pt>
                <c:pt idx="495">
                  <c:v>41.674516129032249</c:v>
                </c:pt>
                <c:pt idx="496">
                  <c:v>41.710645161290316</c:v>
                </c:pt>
                <c:pt idx="497">
                  <c:v>41.725161290322582</c:v>
                </c:pt>
                <c:pt idx="498">
                  <c:v>41.738064516129036</c:v>
                </c:pt>
                <c:pt idx="499">
                  <c:v>41.719677419354845</c:v>
                </c:pt>
                <c:pt idx="500">
                  <c:v>41.707741935483881</c:v>
                </c:pt>
                <c:pt idx="501">
                  <c:v>41.704516129032278</c:v>
                </c:pt>
                <c:pt idx="502">
                  <c:v>41.703225806451627</c:v>
                </c:pt>
                <c:pt idx="503">
                  <c:v>41.640967741935498</c:v>
                </c:pt>
                <c:pt idx="504">
                  <c:v>41.704193548387103</c:v>
                </c:pt>
                <c:pt idx="505">
                  <c:v>41.735806451612909</c:v>
                </c:pt>
                <c:pt idx="506">
                  <c:v>41.755483870967751</c:v>
                </c:pt>
                <c:pt idx="507">
                  <c:v>41.777096774193559</c:v>
                </c:pt>
                <c:pt idx="508">
                  <c:v>41.740000000000009</c:v>
                </c:pt>
                <c:pt idx="509">
                  <c:v>41.796129032258079</c:v>
                </c:pt>
                <c:pt idx="510">
                  <c:v>41.886129032258083</c:v>
                </c:pt>
                <c:pt idx="511">
                  <c:v>41.973548387096777</c:v>
                </c:pt>
                <c:pt idx="512">
                  <c:v>42.017741935483869</c:v>
                </c:pt>
                <c:pt idx="513">
                  <c:v>41.98193548387097</c:v>
                </c:pt>
                <c:pt idx="514">
                  <c:v>41.960322580645162</c:v>
                </c:pt>
                <c:pt idx="515">
                  <c:v>41.994516129032242</c:v>
                </c:pt>
                <c:pt idx="516">
                  <c:v>42.085483870967721</c:v>
                </c:pt>
                <c:pt idx="517">
                  <c:v>42.108387096774173</c:v>
                </c:pt>
                <c:pt idx="518">
                  <c:v>42.144838709677394</c:v>
                </c:pt>
                <c:pt idx="519">
                  <c:v>42.199677419354828</c:v>
                </c:pt>
                <c:pt idx="520">
                  <c:v>42.146451612903213</c:v>
                </c:pt>
                <c:pt idx="521">
                  <c:v>42.190967741935481</c:v>
                </c:pt>
                <c:pt idx="522">
                  <c:v>42.278709677419343</c:v>
                </c:pt>
                <c:pt idx="523">
                  <c:v>42.246774193548383</c:v>
                </c:pt>
                <c:pt idx="524">
                  <c:v>42.211290322580638</c:v>
                </c:pt>
                <c:pt idx="525">
                  <c:v>42.205161290322572</c:v>
                </c:pt>
                <c:pt idx="526">
                  <c:v>42.270967741935486</c:v>
                </c:pt>
                <c:pt idx="527">
                  <c:v>42.264516129032259</c:v>
                </c:pt>
                <c:pt idx="528">
                  <c:v>42.354516129032255</c:v>
                </c:pt>
                <c:pt idx="529">
                  <c:v>42.457741935483881</c:v>
                </c:pt>
                <c:pt idx="530">
                  <c:v>42.426451612903236</c:v>
                </c:pt>
                <c:pt idx="531">
                  <c:v>42.398387096774201</c:v>
                </c:pt>
                <c:pt idx="532">
                  <c:v>42.391612903225813</c:v>
                </c:pt>
                <c:pt idx="533">
                  <c:v>42.454193548387103</c:v>
                </c:pt>
                <c:pt idx="534">
                  <c:v>42.576774193548388</c:v>
                </c:pt>
                <c:pt idx="535">
                  <c:v>42.531935483870974</c:v>
                </c:pt>
                <c:pt idx="536">
                  <c:v>42.566451612903229</c:v>
                </c:pt>
                <c:pt idx="537">
                  <c:v>42.469032258064516</c:v>
                </c:pt>
                <c:pt idx="538">
                  <c:v>42.414516129032258</c:v>
                </c:pt>
                <c:pt idx="539">
                  <c:v>42.502580645161288</c:v>
                </c:pt>
                <c:pt idx="540">
                  <c:v>42.494193548387095</c:v>
                </c:pt>
                <c:pt idx="541">
                  <c:v>42.370322580645151</c:v>
                </c:pt>
                <c:pt idx="542">
                  <c:v>42.268387096774191</c:v>
                </c:pt>
                <c:pt idx="543">
                  <c:v>42.295806451612897</c:v>
                </c:pt>
                <c:pt idx="544">
                  <c:v>42.25741935483871</c:v>
                </c:pt>
                <c:pt idx="545">
                  <c:v>42.254516129032261</c:v>
                </c:pt>
                <c:pt idx="546">
                  <c:v>42.212580645161289</c:v>
                </c:pt>
                <c:pt idx="547">
                  <c:v>42.212580645161289</c:v>
                </c:pt>
                <c:pt idx="548">
                  <c:v>42.165806451612909</c:v>
                </c:pt>
                <c:pt idx="549">
                  <c:v>42.20967741935484</c:v>
                </c:pt>
                <c:pt idx="550">
                  <c:v>42.194193548387091</c:v>
                </c:pt>
                <c:pt idx="551">
                  <c:v>42.222258064516119</c:v>
                </c:pt>
                <c:pt idx="552">
                  <c:v>42.217419354838704</c:v>
                </c:pt>
                <c:pt idx="553">
                  <c:v>42.149032258064508</c:v>
                </c:pt>
                <c:pt idx="554">
                  <c:v>42.199677419354842</c:v>
                </c:pt>
                <c:pt idx="555">
                  <c:v>42.214193548387101</c:v>
                </c:pt>
                <c:pt idx="556">
                  <c:v>42.263225806451615</c:v>
                </c:pt>
                <c:pt idx="557">
                  <c:v>42.267741935483876</c:v>
                </c:pt>
                <c:pt idx="558">
                  <c:v>42.333870967741937</c:v>
                </c:pt>
                <c:pt idx="559">
                  <c:v>42.221935483870972</c:v>
                </c:pt>
                <c:pt idx="560">
                  <c:v>42.22451612903226</c:v>
                </c:pt>
                <c:pt idx="561">
                  <c:v>42.32</c:v>
                </c:pt>
                <c:pt idx="562">
                  <c:v>42.248387096774195</c:v>
                </c:pt>
                <c:pt idx="563">
                  <c:v>42.147741935483872</c:v>
                </c:pt>
                <c:pt idx="564">
                  <c:v>42.109032258064516</c:v>
                </c:pt>
                <c:pt idx="565">
                  <c:v>42.02967741935484</c:v>
                </c:pt>
                <c:pt idx="566">
                  <c:v>42.01580645161291</c:v>
                </c:pt>
                <c:pt idx="567">
                  <c:v>41.962258064516128</c:v>
                </c:pt>
                <c:pt idx="568">
                  <c:v>41.962903225806464</c:v>
                </c:pt>
                <c:pt idx="569">
                  <c:v>42.007419354838717</c:v>
                </c:pt>
                <c:pt idx="570">
                  <c:v>41.995161290322592</c:v>
                </c:pt>
                <c:pt idx="571">
                  <c:v>41.910645161290333</c:v>
                </c:pt>
                <c:pt idx="572">
                  <c:v>41.99354838709678</c:v>
                </c:pt>
                <c:pt idx="573">
                  <c:v>42.101935483870975</c:v>
                </c:pt>
                <c:pt idx="574">
                  <c:v>41.983225806451621</c:v>
                </c:pt>
                <c:pt idx="575">
                  <c:v>42.006129032258066</c:v>
                </c:pt>
                <c:pt idx="576">
                  <c:v>41.992903225806451</c:v>
                </c:pt>
                <c:pt idx="577">
                  <c:v>42.05</c:v>
                </c:pt>
                <c:pt idx="578">
                  <c:v>42.019032258064513</c:v>
                </c:pt>
                <c:pt idx="579">
                  <c:v>42.00741935483871</c:v>
                </c:pt>
                <c:pt idx="580">
                  <c:v>41.926129032258068</c:v>
                </c:pt>
                <c:pt idx="581">
                  <c:v>41.890322580645169</c:v>
                </c:pt>
                <c:pt idx="582">
                  <c:v>41.844193548387103</c:v>
                </c:pt>
                <c:pt idx="583">
                  <c:v>41.857096774193558</c:v>
                </c:pt>
                <c:pt idx="584">
                  <c:v>41.836774193548393</c:v>
                </c:pt>
                <c:pt idx="585">
                  <c:v>41.772580645161291</c:v>
                </c:pt>
                <c:pt idx="586">
                  <c:v>41.799032258064521</c:v>
                </c:pt>
                <c:pt idx="587">
                  <c:v>41.730000000000004</c:v>
                </c:pt>
                <c:pt idx="588">
                  <c:v>41.643548387096786</c:v>
                </c:pt>
                <c:pt idx="589">
                  <c:v>41.65451612903226</c:v>
                </c:pt>
                <c:pt idx="590">
                  <c:v>41.74</c:v>
                </c:pt>
                <c:pt idx="591">
                  <c:v>41.674516129032263</c:v>
                </c:pt>
                <c:pt idx="592">
                  <c:v>41.624516129032266</c:v>
                </c:pt>
                <c:pt idx="593">
                  <c:v>41.663548387096782</c:v>
                </c:pt>
                <c:pt idx="594">
                  <c:v>41.752258064516127</c:v>
                </c:pt>
                <c:pt idx="595">
                  <c:v>41.810645161290317</c:v>
                </c:pt>
                <c:pt idx="596">
                  <c:v>41.884838709677425</c:v>
                </c:pt>
                <c:pt idx="597">
                  <c:v>41.953225806451613</c:v>
                </c:pt>
                <c:pt idx="598">
                  <c:v>42.01161290322581</c:v>
                </c:pt>
                <c:pt idx="599">
                  <c:v>42.085161290322574</c:v>
                </c:pt>
                <c:pt idx="600">
                  <c:v>42.047419354838709</c:v>
                </c:pt>
                <c:pt idx="601">
                  <c:v>42.0083870967742</c:v>
                </c:pt>
                <c:pt idx="602">
                  <c:v>42.122903225806461</c:v>
                </c:pt>
                <c:pt idx="603">
                  <c:v>42.157096774193562</c:v>
                </c:pt>
                <c:pt idx="604">
                  <c:v>42.173870967741948</c:v>
                </c:pt>
                <c:pt idx="605">
                  <c:v>42.333870967741944</c:v>
                </c:pt>
                <c:pt idx="606">
                  <c:v>42.438709677419368</c:v>
                </c:pt>
                <c:pt idx="607">
                  <c:v>42.469354838709691</c:v>
                </c:pt>
                <c:pt idx="608">
                  <c:v>42.513225806451622</c:v>
                </c:pt>
                <c:pt idx="609">
                  <c:v>42.569354838709671</c:v>
                </c:pt>
                <c:pt idx="610">
                  <c:v>42.601290322580638</c:v>
                </c:pt>
                <c:pt idx="611">
                  <c:v>42.679677419354839</c:v>
                </c:pt>
                <c:pt idx="612">
                  <c:v>42.73</c:v>
                </c:pt>
                <c:pt idx="613">
                  <c:v>42.833548387096769</c:v>
                </c:pt>
                <c:pt idx="614">
                  <c:v>42.890645161290323</c:v>
                </c:pt>
                <c:pt idx="615">
                  <c:v>42.977741935483863</c:v>
                </c:pt>
                <c:pt idx="616">
                  <c:v>43.035806451612892</c:v>
                </c:pt>
                <c:pt idx="617">
                  <c:v>43.112903225806448</c:v>
                </c:pt>
                <c:pt idx="618">
                  <c:v>43.196774193548393</c:v>
                </c:pt>
                <c:pt idx="619">
                  <c:v>43.27322580645162</c:v>
                </c:pt>
                <c:pt idx="620">
                  <c:v>43.308064516129043</c:v>
                </c:pt>
                <c:pt idx="621">
                  <c:v>43.368064516129031</c:v>
                </c:pt>
                <c:pt idx="622">
                  <c:v>43.423225806451626</c:v>
                </c:pt>
                <c:pt idx="623">
                  <c:v>43.434516129032268</c:v>
                </c:pt>
                <c:pt idx="624">
                  <c:v>43.485161290322594</c:v>
                </c:pt>
                <c:pt idx="625">
                  <c:v>43.491290322580653</c:v>
                </c:pt>
                <c:pt idx="626">
                  <c:v>43.488709677419358</c:v>
                </c:pt>
                <c:pt idx="627">
                  <c:v>43.475806451612904</c:v>
                </c:pt>
                <c:pt idx="628">
                  <c:v>43.451290322580647</c:v>
                </c:pt>
                <c:pt idx="629">
                  <c:v>43.498387096774195</c:v>
                </c:pt>
                <c:pt idx="630">
                  <c:v>43.549677419354836</c:v>
                </c:pt>
                <c:pt idx="631">
                  <c:v>43.690967741935488</c:v>
                </c:pt>
                <c:pt idx="632">
                  <c:v>43.718387096774201</c:v>
                </c:pt>
                <c:pt idx="633">
                  <c:v>43.661290322580648</c:v>
                </c:pt>
                <c:pt idx="634">
                  <c:v>43.662580645161292</c:v>
                </c:pt>
                <c:pt idx="635">
                  <c:v>43.635483870967747</c:v>
                </c:pt>
                <c:pt idx="636">
                  <c:v>43.57</c:v>
                </c:pt>
                <c:pt idx="637">
                  <c:v>43.50322580645161</c:v>
                </c:pt>
                <c:pt idx="638">
                  <c:v>43.573548387096764</c:v>
                </c:pt>
                <c:pt idx="639">
                  <c:v>43.527419354838706</c:v>
                </c:pt>
                <c:pt idx="640">
                  <c:v>43.526774193548377</c:v>
                </c:pt>
                <c:pt idx="641">
                  <c:v>43.595806451612887</c:v>
                </c:pt>
                <c:pt idx="642">
                  <c:v>43.569354838709671</c:v>
                </c:pt>
                <c:pt idx="643">
                  <c:v>43.545161290322561</c:v>
                </c:pt>
                <c:pt idx="644">
                  <c:v>43.511290322580635</c:v>
                </c:pt>
                <c:pt idx="645">
                  <c:v>43.39967741935483</c:v>
                </c:pt>
                <c:pt idx="646">
                  <c:v>43.30225806451611</c:v>
                </c:pt>
                <c:pt idx="647">
                  <c:v>43.265483870967728</c:v>
                </c:pt>
                <c:pt idx="648">
                  <c:v>43.239677419354827</c:v>
                </c:pt>
                <c:pt idx="649">
                  <c:v>43.134193548387081</c:v>
                </c:pt>
                <c:pt idx="650">
                  <c:v>43.095483870967733</c:v>
                </c:pt>
                <c:pt idx="651">
                  <c:v>42.957419354838706</c:v>
                </c:pt>
                <c:pt idx="652">
                  <c:v>42.908387096774184</c:v>
                </c:pt>
                <c:pt idx="653">
                  <c:v>42.865161290322568</c:v>
                </c:pt>
                <c:pt idx="654">
                  <c:v>42.851612903225792</c:v>
                </c:pt>
                <c:pt idx="655">
                  <c:v>42.77032258064515</c:v>
                </c:pt>
                <c:pt idx="656">
                  <c:v>42.774193548387096</c:v>
                </c:pt>
                <c:pt idx="657">
                  <c:v>42.744838709677417</c:v>
                </c:pt>
                <c:pt idx="658">
                  <c:v>42.767419354838701</c:v>
                </c:pt>
                <c:pt idx="659">
                  <c:v>42.735483870967741</c:v>
                </c:pt>
                <c:pt idx="660">
                  <c:v>42.605806451612899</c:v>
                </c:pt>
                <c:pt idx="661">
                  <c:v>42.542258064516133</c:v>
                </c:pt>
                <c:pt idx="662">
                  <c:v>42.472903225806462</c:v>
                </c:pt>
                <c:pt idx="663">
                  <c:v>42.408064516129045</c:v>
                </c:pt>
                <c:pt idx="664">
                  <c:v>42.446129032258078</c:v>
                </c:pt>
                <c:pt idx="665">
                  <c:v>42.352580645161297</c:v>
                </c:pt>
                <c:pt idx="666">
                  <c:v>42.24774193548388</c:v>
                </c:pt>
                <c:pt idx="667">
                  <c:v>42.177419354838719</c:v>
                </c:pt>
                <c:pt idx="668">
                  <c:v>42.112903225806456</c:v>
                </c:pt>
                <c:pt idx="669">
                  <c:v>42.086774193548386</c:v>
                </c:pt>
                <c:pt idx="670">
                  <c:v>42.109677419354838</c:v>
                </c:pt>
                <c:pt idx="671">
                  <c:v>42.001290322580644</c:v>
                </c:pt>
                <c:pt idx="672">
                  <c:v>41.853548387096772</c:v>
                </c:pt>
                <c:pt idx="673">
                  <c:v>41.895806451612906</c:v>
                </c:pt>
                <c:pt idx="674">
                  <c:v>41.825806451612905</c:v>
                </c:pt>
                <c:pt idx="675">
                  <c:v>41.842580645161291</c:v>
                </c:pt>
                <c:pt idx="676">
                  <c:v>41.921612903225807</c:v>
                </c:pt>
                <c:pt idx="677">
                  <c:v>41.960645161290316</c:v>
                </c:pt>
                <c:pt idx="678">
                  <c:v>41.967419354838711</c:v>
                </c:pt>
                <c:pt idx="679">
                  <c:v>41.97870967741936</c:v>
                </c:pt>
                <c:pt idx="680">
                  <c:v>42.055483870967748</c:v>
                </c:pt>
                <c:pt idx="681">
                  <c:v>42.091290322580647</c:v>
                </c:pt>
                <c:pt idx="682">
                  <c:v>42.136129032258069</c:v>
                </c:pt>
                <c:pt idx="683">
                  <c:v>42.145161290322584</c:v>
                </c:pt>
                <c:pt idx="684">
                  <c:v>42.153870967741938</c:v>
                </c:pt>
                <c:pt idx="685">
                  <c:v>42.095806451612894</c:v>
                </c:pt>
                <c:pt idx="686">
                  <c:v>42.138387096774196</c:v>
                </c:pt>
                <c:pt idx="687">
                  <c:v>42.11258064516128</c:v>
                </c:pt>
                <c:pt idx="688">
                  <c:v>42.087741935483862</c:v>
                </c:pt>
                <c:pt idx="689">
                  <c:v>42.058387096774183</c:v>
                </c:pt>
                <c:pt idx="690">
                  <c:v>42.11258064516128</c:v>
                </c:pt>
                <c:pt idx="691">
                  <c:v>42.087741935483862</c:v>
                </c:pt>
                <c:pt idx="692">
                  <c:v>42.025806451612887</c:v>
                </c:pt>
                <c:pt idx="693">
                  <c:v>42.011290322580628</c:v>
                </c:pt>
                <c:pt idx="694">
                  <c:v>42.030645161290302</c:v>
                </c:pt>
                <c:pt idx="695">
                  <c:v>41.99806451612902</c:v>
                </c:pt>
                <c:pt idx="696">
                  <c:v>41.977419354838702</c:v>
                </c:pt>
                <c:pt idx="697">
                  <c:v>42.027096774193545</c:v>
                </c:pt>
                <c:pt idx="698">
                  <c:v>42.026774193548384</c:v>
                </c:pt>
                <c:pt idx="699">
                  <c:v>42.064838709677424</c:v>
                </c:pt>
                <c:pt idx="700">
                  <c:v>41.986451612903238</c:v>
                </c:pt>
                <c:pt idx="701">
                  <c:v>41.980322580645165</c:v>
                </c:pt>
                <c:pt idx="702">
                  <c:v>42.013225806451615</c:v>
                </c:pt>
                <c:pt idx="703">
                  <c:v>42.063225806451612</c:v>
                </c:pt>
                <c:pt idx="704">
                  <c:v>42.053870967741929</c:v>
                </c:pt>
                <c:pt idx="705">
                  <c:v>42.091612903225801</c:v>
                </c:pt>
                <c:pt idx="706">
                  <c:v>42.058064516129029</c:v>
                </c:pt>
                <c:pt idx="707">
                  <c:v>42.068709677419349</c:v>
                </c:pt>
                <c:pt idx="708">
                  <c:v>42.083225806451608</c:v>
                </c:pt>
                <c:pt idx="709">
                  <c:v>42.11354838709677</c:v>
                </c:pt>
                <c:pt idx="710">
                  <c:v>42.074838709677422</c:v>
                </c:pt>
                <c:pt idx="711">
                  <c:v>42.053225806451621</c:v>
                </c:pt>
                <c:pt idx="712">
                  <c:v>42.052258064516131</c:v>
                </c:pt>
                <c:pt idx="713">
                  <c:v>42.084516129032259</c:v>
                </c:pt>
                <c:pt idx="714">
                  <c:v>42.094193548387096</c:v>
                </c:pt>
                <c:pt idx="715">
                  <c:v>42.022903225806452</c:v>
                </c:pt>
                <c:pt idx="716">
                  <c:v>42.093225806451613</c:v>
                </c:pt>
                <c:pt idx="717">
                  <c:v>42.096129032258069</c:v>
                </c:pt>
                <c:pt idx="718">
                  <c:v>42.076774193548395</c:v>
                </c:pt>
                <c:pt idx="719">
                  <c:v>42.101935483870975</c:v>
                </c:pt>
                <c:pt idx="720">
                  <c:v>42.125161290322588</c:v>
                </c:pt>
                <c:pt idx="721">
                  <c:v>42.135483870967747</c:v>
                </c:pt>
                <c:pt idx="722">
                  <c:v>42.252903225806442</c:v>
                </c:pt>
                <c:pt idx="723">
                  <c:v>42.25967741935483</c:v>
                </c:pt>
                <c:pt idx="724">
                  <c:v>42.310645161290317</c:v>
                </c:pt>
                <c:pt idx="725">
                  <c:v>42.395483870967745</c:v>
                </c:pt>
                <c:pt idx="726">
                  <c:v>42.33064516129032</c:v>
                </c:pt>
                <c:pt idx="727">
                  <c:v>42.328064516129032</c:v>
                </c:pt>
                <c:pt idx="728">
                  <c:v>42.337419354838715</c:v>
                </c:pt>
                <c:pt idx="729">
                  <c:v>42.3241935483871</c:v>
                </c:pt>
                <c:pt idx="730">
                  <c:v>42.399677419354845</c:v>
                </c:pt>
                <c:pt idx="731">
                  <c:v>42.351935483870967</c:v>
                </c:pt>
                <c:pt idx="732">
                  <c:v>42.368064516129031</c:v>
                </c:pt>
                <c:pt idx="733">
                  <c:v>42.376774193548378</c:v>
                </c:pt>
                <c:pt idx="734">
                  <c:v>42.403870967741938</c:v>
                </c:pt>
                <c:pt idx="735">
                  <c:v>42.33709677419354</c:v>
                </c:pt>
                <c:pt idx="736">
                  <c:v>42.378387096774198</c:v>
                </c:pt>
                <c:pt idx="737">
                  <c:v>42.398387096774201</c:v>
                </c:pt>
                <c:pt idx="738">
                  <c:v>42.377419354838715</c:v>
                </c:pt>
                <c:pt idx="739">
                  <c:v>42.378387096774205</c:v>
                </c:pt>
                <c:pt idx="740">
                  <c:v>42.358709677419355</c:v>
                </c:pt>
                <c:pt idx="741">
                  <c:v>42.390967741935491</c:v>
                </c:pt>
                <c:pt idx="742">
                  <c:v>42.332580645161293</c:v>
                </c:pt>
                <c:pt idx="743">
                  <c:v>42.30193548387097</c:v>
                </c:pt>
                <c:pt idx="744">
                  <c:v>42.272258064516123</c:v>
                </c:pt>
                <c:pt idx="745">
                  <c:v>42.206774193548391</c:v>
                </c:pt>
                <c:pt idx="746">
                  <c:v>42.276129032258062</c:v>
                </c:pt>
                <c:pt idx="747">
                  <c:v>42.207741935483867</c:v>
                </c:pt>
                <c:pt idx="748">
                  <c:v>42.219032258064502</c:v>
                </c:pt>
                <c:pt idx="749">
                  <c:v>42.194516129032252</c:v>
                </c:pt>
                <c:pt idx="750">
                  <c:v>42.195806451612903</c:v>
                </c:pt>
                <c:pt idx="751">
                  <c:v>42.138709677419357</c:v>
                </c:pt>
                <c:pt idx="752">
                  <c:v>42.112903225806448</c:v>
                </c:pt>
                <c:pt idx="753">
                  <c:v>42.104838709677423</c:v>
                </c:pt>
                <c:pt idx="754">
                  <c:v>42.160000000000004</c:v>
                </c:pt>
                <c:pt idx="755">
                  <c:v>42.042903225806455</c:v>
                </c:pt>
                <c:pt idx="756">
                  <c:v>41.971935483870965</c:v>
                </c:pt>
                <c:pt idx="757">
                  <c:v>41.982258064516131</c:v>
                </c:pt>
                <c:pt idx="758">
                  <c:v>41.994516129032256</c:v>
                </c:pt>
                <c:pt idx="759">
                  <c:v>42.030322580645148</c:v>
                </c:pt>
                <c:pt idx="760">
                  <c:v>42.083225806451608</c:v>
                </c:pt>
                <c:pt idx="761">
                  <c:v>42.038709677419348</c:v>
                </c:pt>
                <c:pt idx="762">
                  <c:v>42.092580645161284</c:v>
                </c:pt>
                <c:pt idx="763">
                  <c:v>41.99258064516129</c:v>
                </c:pt>
                <c:pt idx="764">
                  <c:v>42.007741935483871</c:v>
                </c:pt>
                <c:pt idx="765">
                  <c:v>42.015806451612903</c:v>
                </c:pt>
                <c:pt idx="766">
                  <c:v>41.995806451612907</c:v>
                </c:pt>
                <c:pt idx="767">
                  <c:v>41.96387096774194</c:v>
                </c:pt>
                <c:pt idx="768">
                  <c:v>41.947741935483876</c:v>
                </c:pt>
                <c:pt idx="769">
                  <c:v>41.891290322580652</c:v>
                </c:pt>
                <c:pt idx="770">
                  <c:v>41.926451612903229</c:v>
                </c:pt>
                <c:pt idx="771">
                  <c:v>41.877096774193539</c:v>
                </c:pt>
                <c:pt idx="772">
                  <c:v>41.807096774193532</c:v>
                </c:pt>
                <c:pt idx="773">
                  <c:v>41.867741935483856</c:v>
                </c:pt>
                <c:pt idx="774">
                  <c:v>41.89709677419355</c:v>
                </c:pt>
                <c:pt idx="775">
                  <c:v>41.856774193548375</c:v>
                </c:pt>
                <c:pt idx="776">
                  <c:v>41.867741935483856</c:v>
                </c:pt>
                <c:pt idx="777">
                  <c:v>41.885161290322564</c:v>
                </c:pt>
                <c:pt idx="778">
                  <c:v>41.935806451612898</c:v>
                </c:pt>
                <c:pt idx="779">
                  <c:v>41.957419354838699</c:v>
                </c:pt>
                <c:pt idx="780">
                  <c:v>41.931290322580644</c:v>
                </c:pt>
                <c:pt idx="781">
                  <c:v>41.936129032258059</c:v>
                </c:pt>
                <c:pt idx="782">
                  <c:v>41.975483870967736</c:v>
                </c:pt>
                <c:pt idx="783">
                  <c:v>41.919032258064526</c:v>
                </c:pt>
                <c:pt idx="784">
                  <c:v>41.808387096774197</c:v>
                </c:pt>
                <c:pt idx="785">
                  <c:v>41.841290322580647</c:v>
                </c:pt>
                <c:pt idx="786">
                  <c:v>41.922903225806451</c:v>
                </c:pt>
                <c:pt idx="787">
                  <c:v>41.959032258064511</c:v>
                </c:pt>
                <c:pt idx="788">
                  <c:v>41.945806451612903</c:v>
                </c:pt>
                <c:pt idx="789">
                  <c:v>41.951612903225808</c:v>
                </c:pt>
                <c:pt idx="790">
                  <c:v>41.971612903225804</c:v>
                </c:pt>
                <c:pt idx="791">
                  <c:v>41.936129032258066</c:v>
                </c:pt>
                <c:pt idx="792">
                  <c:v>41.931612903225805</c:v>
                </c:pt>
                <c:pt idx="793">
                  <c:v>41.953225806451613</c:v>
                </c:pt>
                <c:pt idx="794">
                  <c:v>41.960645161290323</c:v>
                </c:pt>
                <c:pt idx="795">
                  <c:v>41.976451612903226</c:v>
                </c:pt>
                <c:pt idx="796">
                  <c:v>41.905161290322582</c:v>
                </c:pt>
                <c:pt idx="797">
                  <c:v>41.912258064516131</c:v>
                </c:pt>
                <c:pt idx="798">
                  <c:v>41.922903225806458</c:v>
                </c:pt>
                <c:pt idx="799">
                  <c:v>41.86032258064516</c:v>
                </c:pt>
                <c:pt idx="800">
                  <c:v>41.932258064516141</c:v>
                </c:pt>
                <c:pt idx="801">
                  <c:v>41.840967741935486</c:v>
                </c:pt>
                <c:pt idx="802">
                  <c:v>41.907741935483877</c:v>
                </c:pt>
                <c:pt idx="803">
                  <c:v>41.907096774193562</c:v>
                </c:pt>
                <c:pt idx="804">
                  <c:v>41.8725806451613</c:v>
                </c:pt>
                <c:pt idx="805">
                  <c:v>41.837096774193554</c:v>
                </c:pt>
                <c:pt idx="806">
                  <c:v>41.887419354838727</c:v>
                </c:pt>
                <c:pt idx="807">
                  <c:v>41.919354838709687</c:v>
                </c:pt>
                <c:pt idx="808">
                  <c:v>41.845161290322586</c:v>
                </c:pt>
                <c:pt idx="809">
                  <c:v>41.816451612903229</c:v>
                </c:pt>
                <c:pt idx="810">
                  <c:v>41.797096774193548</c:v>
                </c:pt>
                <c:pt idx="811">
                  <c:v>41.89806451612904</c:v>
                </c:pt>
                <c:pt idx="812">
                  <c:v>41.886774193548391</c:v>
                </c:pt>
                <c:pt idx="813">
                  <c:v>41.82741935483871</c:v>
                </c:pt>
                <c:pt idx="814">
                  <c:v>41.904193548387106</c:v>
                </c:pt>
                <c:pt idx="815">
                  <c:v>41.905483870967743</c:v>
                </c:pt>
                <c:pt idx="816">
                  <c:v>41.867419354838709</c:v>
                </c:pt>
                <c:pt idx="817">
                  <c:v>41.780645161290323</c:v>
                </c:pt>
                <c:pt idx="818">
                  <c:v>41.717419354838711</c:v>
                </c:pt>
                <c:pt idx="819">
                  <c:v>41.755483870967737</c:v>
                </c:pt>
                <c:pt idx="820">
                  <c:v>41.818387096774195</c:v>
                </c:pt>
                <c:pt idx="821">
                  <c:v>41.807096774193546</c:v>
                </c:pt>
                <c:pt idx="822">
                  <c:v>41.859032258064509</c:v>
                </c:pt>
                <c:pt idx="823">
                  <c:v>41.877096774193532</c:v>
                </c:pt>
                <c:pt idx="824">
                  <c:v>41.815806451612893</c:v>
                </c:pt>
                <c:pt idx="825">
                  <c:v>41.817419354838705</c:v>
                </c:pt>
                <c:pt idx="826">
                  <c:v>41.812580645161283</c:v>
                </c:pt>
                <c:pt idx="827">
                  <c:v>41.880967741935486</c:v>
                </c:pt>
                <c:pt idx="828">
                  <c:v>41.913548387096768</c:v>
                </c:pt>
                <c:pt idx="829">
                  <c:v>41.878709677419344</c:v>
                </c:pt>
                <c:pt idx="830">
                  <c:v>41.899354838709677</c:v>
                </c:pt>
                <c:pt idx="831">
                  <c:v>41.8732258064516</c:v>
                </c:pt>
                <c:pt idx="832">
                  <c:v>41.920322580645156</c:v>
                </c:pt>
                <c:pt idx="833">
                  <c:v>41.827741935483871</c:v>
                </c:pt>
                <c:pt idx="834">
                  <c:v>41.810322580645163</c:v>
                </c:pt>
                <c:pt idx="835">
                  <c:v>41.851290322580653</c:v>
                </c:pt>
                <c:pt idx="836">
                  <c:v>41.800322580645165</c:v>
                </c:pt>
                <c:pt idx="837">
                  <c:v>41.840322580645164</c:v>
                </c:pt>
                <c:pt idx="838">
                  <c:v>41.753225806451617</c:v>
                </c:pt>
                <c:pt idx="839">
                  <c:v>41.779032258064518</c:v>
                </c:pt>
                <c:pt idx="840">
                  <c:v>41.862258064516126</c:v>
                </c:pt>
                <c:pt idx="841">
                  <c:v>41.849354838709672</c:v>
                </c:pt>
                <c:pt idx="842">
                  <c:v>41.827419354838703</c:v>
                </c:pt>
                <c:pt idx="843">
                  <c:v>41.793870967741931</c:v>
                </c:pt>
                <c:pt idx="844">
                  <c:v>41.806451612903224</c:v>
                </c:pt>
                <c:pt idx="845">
                  <c:v>41.746451612903222</c:v>
                </c:pt>
                <c:pt idx="846">
                  <c:v>41.757419354838703</c:v>
                </c:pt>
                <c:pt idx="847">
                  <c:v>41.78387096774194</c:v>
                </c:pt>
                <c:pt idx="848">
                  <c:v>41.86</c:v>
                </c:pt>
                <c:pt idx="849">
                  <c:v>41.935806451612912</c:v>
                </c:pt>
                <c:pt idx="850">
                  <c:v>41.980322580645172</c:v>
                </c:pt>
                <c:pt idx="851">
                  <c:v>41.983548387096782</c:v>
                </c:pt>
                <c:pt idx="852">
                  <c:v>41.990645161290324</c:v>
                </c:pt>
                <c:pt idx="853">
                  <c:v>41.948387096774198</c:v>
                </c:pt>
                <c:pt idx="854">
                  <c:v>41.976451612903226</c:v>
                </c:pt>
                <c:pt idx="855">
                  <c:v>41.973548387096777</c:v>
                </c:pt>
                <c:pt idx="856">
                  <c:v>42.065483870967739</c:v>
                </c:pt>
                <c:pt idx="857">
                  <c:v>42.008064516129025</c:v>
                </c:pt>
                <c:pt idx="858">
                  <c:v>41.967419354838704</c:v>
                </c:pt>
                <c:pt idx="859">
                  <c:v>42.00967741935483</c:v>
                </c:pt>
                <c:pt idx="860">
                  <c:v>42.087419354838694</c:v>
                </c:pt>
                <c:pt idx="861">
                  <c:v>42.066451612903222</c:v>
                </c:pt>
                <c:pt idx="862">
                  <c:v>42.102580645161282</c:v>
                </c:pt>
                <c:pt idx="863">
                  <c:v>42.104516129032255</c:v>
                </c:pt>
                <c:pt idx="864">
                  <c:v>42.08806451612903</c:v>
                </c:pt>
                <c:pt idx="865">
                  <c:v>42.191935483870964</c:v>
                </c:pt>
                <c:pt idx="866">
                  <c:v>42.213225806451604</c:v>
                </c:pt>
                <c:pt idx="867">
                  <c:v>42.3</c:v>
                </c:pt>
                <c:pt idx="868">
                  <c:v>42.307741935483868</c:v>
                </c:pt>
                <c:pt idx="869">
                  <c:v>42.355161290322584</c:v>
                </c:pt>
                <c:pt idx="870">
                  <c:v>42.405806451612911</c:v>
                </c:pt>
                <c:pt idx="871">
                  <c:v>42.377096774193561</c:v>
                </c:pt>
                <c:pt idx="872">
                  <c:v>42.347741935483882</c:v>
                </c:pt>
                <c:pt idx="873">
                  <c:v>42.347096774193545</c:v>
                </c:pt>
                <c:pt idx="874">
                  <c:v>42.370967741935495</c:v>
                </c:pt>
                <c:pt idx="875">
                  <c:v>42.349032258064526</c:v>
                </c:pt>
                <c:pt idx="876">
                  <c:v>42.344838709677425</c:v>
                </c:pt>
                <c:pt idx="877">
                  <c:v>42.363870967741939</c:v>
                </c:pt>
                <c:pt idx="878">
                  <c:v>42.320645161290329</c:v>
                </c:pt>
                <c:pt idx="879">
                  <c:v>42.298064516129031</c:v>
                </c:pt>
                <c:pt idx="880">
                  <c:v>42.324516129032254</c:v>
                </c:pt>
                <c:pt idx="881">
                  <c:v>42.272258064516123</c:v>
                </c:pt>
                <c:pt idx="882">
                  <c:v>42.223870967741931</c:v>
                </c:pt>
                <c:pt idx="883">
                  <c:v>42.198064516129023</c:v>
                </c:pt>
                <c:pt idx="884">
                  <c:v>42.264193548387091</c:v>
                </c:pt>
                <c:pt idx="885">
                  <c:v>42.179677419354832</c:v>
                </c:pt>
                <c:pt idx="886">
                  <c:v>42.264516129032252</c:v>
                </c:pt>
                <c:pt idx="887">
                  <c:v>42.214838709677416</c:v>
                </c:pt>
                <c:pt idx="888">
                  <c:v>42.234193548387097</c:v>
                </c:pt>
                <c:pt idx="889">
                  <c:v>42.290645161290321</c:v>
                </c:pt>
                <c:pt idx="890">
                  <c:v>42.259999999999991</c:v>
                </c:pt>
                <c:pt idx="891">
                  <c:v>42.154838709677421</c:v>
                </c:pt>
                <c:pt idx="892">
                  <c:v>42.192903225806454</c:v>
                </c:pt>
                <c:pt idx="893">
                  <c:v>42.196129032258064</c:v>
                </c:pt>
                <c:pt idx="894">
                  <c:v>42.16193548387097</c:v>
                </c:pt>
                <c:pt idx="895">
                  <c:v>42.193225806451615</c:v>
                </c:pt>
                <c:pt idx="896">
                  <c:v>42.131612903225808</c:v>
                </c:pt>
                <c:pt idx="897">
                  <c:v>42.114838709677414</c:v>
                </c:pt>
                <c:pt idx="898">
                  <c:v>42.130645161290325</c:v>
                </c:pt>
                <c:pt idx="899">
                  <c:v>42.027741935483867</c:v>
                </c:pt>
                <c:pt idx="900">
                  <c:v>42.008387096774193</c:v>
                </c:pt>
                <c:pt idx="901">
                  <c:v>41.985483870967748</c:v>
                </c:pt>
                <c:pt idx="902">
                  <c:v>41.941290322580649</c:v>
                </c:pt>
                <c:pt idx="903">
                  <c:v>42.029032258064518</c:v>
                </c:pt>
                <c:pt idx="904">
                  <c:v>41.996451612903229</c:v>
                </c:pt>
                <c:pt idx="905">
                  <c:v>42.049032258064514</c:v>
                </c:pt>
                <c:pt idx="906">
                  <c:v>42.050322580645165</c:v>
                </c:pt>
                <c:pt idx="907">
                  <c:v>42.019677419354828</c:v>
                </c:pt>
                <c:pt idx="908">
                  <c:v>42.083548387096769</c:v>
                </c:pt>
                <c:pt idx="909">
                  <c:v>42.045806451612904</c:v>
                </c:pt>
                <c:pt idx="910">
                  <c:v>42.038387096774194</c:v>
                </c:pt>
                <c:pt idx="911">
                  <c:v>41.934516129032268</c:v>
                </c:pt>
                <c:pt idx="912">
                  <c:v>41.968387096774201</c:v>
                </c:pt>
                <c:pt idx="913">
                  <c:v>42.022903225806459</c:v>
                </c:pt>
                <c:pt idx="914">
                  <c:v>41.971290322580657</c:v>
                </c:pt>
                <c:pt idx="915">
                  <c:v>41.982580645161292</c:v>
                </c:pt>
                <c:pt idx="916">
                  <c:v>42.014193548387098</c:v>
                </c:pt>
                <c:pt idx="917">
                  <c:v>41.933225806451617</c:v>
                </c:pt>
                <c:pt idx="918">
                  <c:v>41.9341935483871</c:v>
                </c:pt>
                <c:pt idx="919">
                  <c:v>41.890967741935476</c:v>
                </c:pt>
                <c:pt idx="920">
                  <c:v>41.821612903225798</c:v>
                </c:pt>
                <c:pt idx="921">
                  <c:v>41.78193548387096</c:v>
                </c:pt>
                <c:pt idx="922">
                  <c:v>41.87903225806452</c:v>
                </c:pt>
                <c:pt idx="923">
                  <c:v>41.874516129032251</c:v>
                </c:pt>
                <c:pt idx="924">
                  <c:v>41.806774193548385</c:v>
                </c:pt>
                <c:pt idx="925">
                  <c:v>41.862258064516126</c:v>
                </c:pt>
                <c:pt idx="926">
                  <c:v>41.945806451612903</c:v>
                </c:pt>
                <c:pt idx="927">
                  <c:v>41.950645161290318</c:v>
                </c:pt>
                <c:pt idx="928">
                  <c:v>41.96709677419355</c:v>
                </c:pt>
                <c:pt idx="929">
                  <c:v>41.878064516129044</c:v>
                </c:pt>
                <c:pt idx="930">
                  <c:v>41.911290322580655</c:v>
                </c:pt>
                <c:pt idx="931">
                  <c:v>41.945483870967756</c:v>
                </c:pt>
                <c:pt idx="932">
                  <c:v>41.902903225806469</c:v>
                </c:pt>
                <c:pt idx="933">
                  <c:v>41.875161290322595</c:v>
                </c:pt>
                <c:pt idx="934">
                  <c:v>41.812580645161304</c:v>
                </c:pt>
                <c:pt idx="935">
                  <c:v>41.834516129032266</c:v>
                </c:pt>
                <c:pt idx="936">
                  <c:v>41.719677419354852</c:v>
                </c:pt>
                <c:pt idx="937">
                  <c:v>41.731935483870977</c:v>
                </c:pt>
                <c:pt idx="938">
                  <c:v>41.819677419354846</c:v>
                </c:pt>
                <c:pt idx="939">
                  <c:v>41.778064516129035</c:v>
                </c:pt>
                <c:pt idx="940">
                  <c:v>41.795161290322582</c:v>
                </c:pt>
                <c:pt idx="941">
                  <c:v>41.775806451612908</c:v>
                </c:pt>
                <c:pt idx="942">
                  <c:v>41.811612903225807</c:v>
                </c:pt>
                <c:pt idx="943">
                  <c:v>41.830322580645166</c:v>
                </c:pt>
                <c:pt idx="944">
                  <c:v>41.792903225806455</c:v>
                </c:pt>
                <c:pt idx="945">
                  <c:v>41.82741935483871</c:v>
                </c:pt>
                <c:pt idx="946">
                  <c:v>41.832258064516132</c:v>
                </c:pt>
                <c:pt idx="947">
                  <c:v>41.809354838709687</c:v>
                </c:pt>
                <c:pt idx="948">
                  <c:v>41.851935483870975</c:v>
                </c:pt>
                <c:pt idx="949">
                  <c:v>41.879354838709688</c:v>
                </c:pt>
                <c:pt idx="950">
                  <c:v>41.971290322580657</c:v>
                </c:pt>
                <c:pt idx="951">
                  <c:v>41.980967741935487</c:v>
                </c:pt>
                <c:pt idx="952">
                  <c:v>42.028709677419364</c:v>
                </c:pt>
                <c:pt idx="953">
                  <c:v>42.014516129032266</c:v>
                </c:pt>
                <c:pt idx="954">
                  <c:v>41.963548387096779</c:v>
                </c:pt>
                <c:pt idx="955">
                  <c:v>42.04451612903226</c:v>
                </c:pt>
                <c:pt idx="956">
                  <c:v>42.002580645161288</c:v>
                </c:pt>
                <c:pt idx="957">
                  <c:v>41.893870967741933</c:v>
                </c:pt>
                <c:pt idx="958">
                  <c:v>41.925483870967739</c:v>
                </c:pt>
                <c:pt idx="959">
                  <c:v>41.933548387096778</c:v>
                </c:pt>
                <c:pt idx="960">
                  <c:v>41.932580645161295</c:v>
                </c:pt>
                <c:pt idx="961">
                  <c:v>42.006774193548388</c:v>
                </c:pt>
                <c:pt idx="962">
                  <c:v>41.949032258064527</c:v>
                </c:pt>
                <c:pt idx="963">
                  <c:v>42.024516129032264</c:v>
                </c:pt>
                <c:pt idx="964">
                  <c:v>42.09</c:v>
                </c:pt>
                <c:pt idx="965">
                  <c:v>42.114838709677421</c:v>
                </c:pt>
                <c:pt idx="966">
                  <c:v>42.056774193548392</c:v>
                </c:pt>
                <c:pt idx="967">
                  <c:v>42.053225806451621</c:v>
                </c:pt>
                <c:pt idx="968">
                  <c:v>42.126451612903239</c:v>
                </c:pt>
                <c:pt idx="969">
                  <c:v>42.079999999999991</c:v>
                </c:pt>
                <c:pt idx="970">
                  <c:v>42.104838709677416</c:v>
                </c:pt>
                <c:pt idx="971">
                  <c:v>42.179999999999993</c:v>
                </c:pt>
                <c:pt idx="972">
                  <c:v>42.187096774193542</c:v>
                </c:pt>
                <c:pt idx="973">
                  <c:v>42.173870967741934</c:v>
                </c:pt>
                <c:pt idx="974">
                  <c:v>42.206129032258069</c:v>
                </c:pt>
                <c:pt idx="975">
                  <c:v>42.187741935483878</c:v>
                </c:pt>
                <c:pt idx="976">
                  <c:v>42.164193548387104</c:v>
                </c:pt>
                <c:pt idx="977">
                  <c:v>42.115806451612904</c:v>
                </c:pt>
                <c:pt idx="978">
                  <c:v>42.125483870967749</c:v>
                </c:pt>
                <c:pt idx="979">
                  <c:v>42.171612903225807</c:v>
                </c:pt>
                <c:pt idx="980">
                  <c:v>42.171612903225814</c:v>
                </c:pt>
                <c:pt idx="981">
                  <c:v>42.131612903225815</c:v>
                </c:pt>
                <c:pt idx="982">
                  <c:v>42.109354838709685</c:v>
                </c:pt>
                <c:pt idx="983">
                  <c:v>42.049677419354843</c:v>
                </c:pt>
                <c:pt idx="984">
                  <c:v>42.019677419354842</c:v>
                </c:pt>
                <c:pt idx="985">
                  <c:v>42.053548387096775</c:v>
                </c:pt>
                <c:pt idx="986">
                  <c:v>41.960967741935484</c:v>
                </c:pt>
                <c:pt idx="987">
                  <c:v>41.9874193548387</c:v>
                </c:pt>
                <c:pt idx="988">
                  <c:v>42.084516129032252</c:v>
                </c:pt>
                <c:pt idx="989">
                  <c:v>42.062258064516122</c:v>
                </c:pt>
                <c:pt idx="990">
                  <c:v>41.958387096774196</c:v>
                </c:pt>
                <c:pt idx="991">
                  <c:v>42.071290322580644</c:v>
                </c:pt>
                <c:pt idx="992">
                  <c:v>41.994838709677431</c:v>
                </c:pt>
                <c:pt idx="993">
                  <c:v>42.063225806451619</c:v>
                </c:pt>
                <c:pt idx="994">
                  <c:v>42.051935483870963</c:v>
                </c:pt>
                <c:pt idx="995">
                  <c:v>41.997096774193551</c:v>
                </c:pt>
                <c:pt idx="996">
                  <c:v>41.933870967741939</c:v>
                </c:pt>
                <c:pt idx="997">
                  <c:v>41.965161290322577</c:v>
                </c:pt>
                <c:pt idx="998">
                  <c:v>42.036451612903221</c:v>
                </c:pt>
                <c:pt idx="999">
                  <c:v>41.989032258064505</c:v>
                </c:pt>
                <c:pt idx="1000">
                  <c:v>41.976451612903219</c:v>
                </c:pt>
                <c:pt idx="1001">
                  <c:v>41.9216129032258</c:v>
                </c:pt>
                <c:pt idx="1002">
                  <c:v>41.929354838709678</c:v>
                </c:pt>
                <c:pt idx="1003">
                  <c:v>41.940322580645159</c:v>
                </c:pt>
                <c:pt idx="1004">
                  <c:v>41.905806451612904</c:v>
                </c:pt>
                <c:pt idx="1005">
                  <c:v>41.876774193548378</c:v>
                </c:pt>
                <c:pt idx="1006">
                  <c:v>41.879999999999988</c:v>
                </c:pt>
                <c:pt idx="1007">
                  <c:v>41.898709677419355</c:v>
                </c:pt>
                <c:pt idx="1008">
                  <c:v>41.952903225806452</c:v>
                </c:pt>
                <c:pt idx="1009">
                  <c:v>41.979677419354843</c:v>
                </c:pt>
                <c:pt idx="1010">
                  <c:v>41.929032258064517</c:v>
                </c:pt>
                <c:pt idx="1011">
                  <c:v>41.939677419354837</c:v>
                </c:pt>
                <c:pt idx="1012">
                  <c:v>41.938709677419361</c:v>
                </c:pt>
                <c:pt idx="1013">
                  <c:v>42.039677419354845</c:v>
                </c:pt>
                <c:pt idx="1014">
                  <c:v>42.129677419354849</c:v>
                </c:pt>
                <c:pt idx="1015">
                  <c:v>42.119032258064529</c:v>
                </c:pt>
                <c:pt idx="1016">
                  <c:v>42.149032258064523</c:v>
                </c:pt>
                <c:pt idx="1017">
                  <c:v>42.182580645161302</c:v>
                </c:pt>
                <c:pt idx="1018">
                  <c:v>42.244516129032263</c:v>
                </c:pt>
                <c:pt idx="1019">
                  <c:v>42.150967741935489</c:v>
                </c:pt>
                <c:pt idx="1020">
                  <c:v>42.1</c:v>
                </c:pt>
                <c:pt idx="1021">
                  <c:v>42.093225806451613</c:v>
                </c:pt>
                <c:pt idx="1022">
                  <c:v>42.07</c:v>
                </c:pt>
                <c:pt idx="1023">
                  <c:v>42.118709677419353</c:v>
                </c:pt>
                <c:pt idx="1024">
                  <c:v>42.098064516129035</c:v>
                </c:pt>
                <c:pt idx="1025">
                  <c:v>42.1</c:v>
                </c:pt>
                <c:pt idx="1026">
                  <c:v>42.081290322580649</c:v>
                </c:pt>
                <c:pt idx="1027">
                  <c:v>42.116451612903226</c:v>
                </c:pt>
                <c:pt idx="1028">
                  <c:v>42.096774193548384</c:v>
                </c:pt>
                <c:pt idx="1029">
                  <c:v>42.099032258064518</c:v>
                </c:pt>
                <c:pt idx="1030">
                  <c:v>42.046451612903226</c:v>
                </c:pt>
                <c:pt idx="1031">
                  <c:v>42.038709677419355</c:v>
                </c:pt>
                <c:pt idx="1032">
                  <c:v>42.020322580645157</c:v>
                </c:pt>
                <c:pt idx="1033">
                  <c:v>42.027419354838706</c:v>
                </c:pt>
                <c:pt idx="1034">
                  <c:v>41.992580645161297</c:v>
                </c:pt>
                <c:pt idx="1035">
                  <c:v>42.048064516129038</c:v>
                </c:pt>
                <c:pt idx="1036">
                  <c:v>42.010645161290334</c:v>
                </c:pt>
                <c:pt idx="1037">
                  <c:v>42.000000000000007</c:v>
                </c:pt>
                <c:pt idx="1038">
                  <c:v>41.986774193548399</c:v>
                </c:pt>
                <c:pt idx="1039">
                  <c:v>41.929677419354853</c:v>
                </c:pt>
                <c:pt idx="1040">
                  <c:v>41.945483870967756</c:v>
                </c:pt>
                <c:pt idx="1041">
                  <c:v>41.983548387096782</c:v>
                </c:pt>
                <c:pt idx="1042">
                  <c:v>42.002903225806456</c:v>
                </c:pt>
                <c:pt idx="1043">
                  <c:v>42.033225806451611</c:v>
                </c:pt>
                <c:pt idx="1044">
                  <c:v>42.055483870967741</c:v>
                </c:pt>
                <c:pt idx="1045">
                  <c:v>42.038064516129019</c:v>
                </c:pt>
                <c:pt idx="1046">
                  <c:v>42.078387096774179</c:v>
                </c:pt>
                <c:pt idx="1047">
                  <c:v>42.132580645161269</c:v>
                </c:pt>
                <c:pt idx="1048">
                  <c:v>42.206774193548384</c:v>
                </c:pt>
                <c:pt idx="1049">
                  <c:v>42.23419354838709</c:v>
                </c:pt>
                <c:pt idx="1050">
                  <c:v>42.341935483870969</c:v>
                </c:pt>
                <c:pt idx="1051">
                  <c:v>42.400322580645167</c:v>
                </c:pt>
                <c:pt idx="1052">
                  <c:v>42.470645161290342</c:v>
                </c:pt>
                <c:pt idx="1053">
                  <c:v>42.513870967741944</c:v>
                </c:pt>
                <c:pt idx="1054">
                  <c:v>42.586774193548393</c:v>
                </c:pt>
                <c:pt idx="1055">
                  <c:v>42.607419354838719</c:v>
                </c:pt>
                <c:pt idx="1056">
                  <c:v>42.634516129032264</c:v>
                </c:pt>
                <c:pt idx="1057">
                  <c:v>42.752258064516134</c:v>
                </c:pt>
                <c:pt idx="1058">
                  <c:v>42.822258064516134</c:v>
                </c:pt>
                <c:pt idx="1059">
                  <c:v>42.895161290322591</c:v>
                </c:pt>
                <c:pt idx="1060">
                  <c:v>42.914516129032265</c:v>
                </c:pt>
                <c:pt idx="1061">
                  <c:v>43.050645161290326</c:v>
                </c:pt>
                <c:pt idx="1062">
                  <c:v>43.132903225806459</c:v>
                </c:pt>
                <c:pt idx="1063">
                  <c:v>43.274838709677425</c:v>
                </c:pt>
                <c:pt idx="1064">
                  <c:v>43.284193548387094</c:v>
                </c:pt>
                <c:pt idx="1065">
                  <c:v>43.342258064516123</c:v>
                </c:pt>
                <c:pt idx="1066">
                  <c:v>43.38967741935484</c:v>
                </c:pt>
                <c:pt idx="1067">
                  <c:v>43.481935483870963</c:v>
                </c:pt>
                <c:pt idx="1068">
                  <c:v>43.516451612903218</c:v>
                </c:pt>
                <c:pt idx="1069">
                  <c:v>43.611935483870965</c:v>
                </c:pt>
                <c:pt idx="1070">
                  <c:v>43.615161290322575</c:v>
                </c:pt>
                <c:pt idx="1071">
                  <c:v>43.61677419354838</c:v>
                </c:pt>
                <c:pt idx="1072">
                  <c:v>43.655161290322575</c:v>
                </c:pt>
                <c:pt idx="1073">
                  <c:v>43.595806451612901</c:v>
                </c:pt>
                <c:pt idx="1074">
                  <c:v>43.590645161290318</c:v>
                </c:pt>
                <c:pt idx="1075">
                  <c:v>43.541935483870965</c:v>
                </c:pt>
                <c:pt idx="1076">
                  <c:v>43.514193548387098</c:v>
                </c:pt>
                <c:pt idx="1077">
                  <c:v>43.482258064516117</c:v>
                </c:pt>
                <c:pt idx="1078">
                  <c:v>43.4341935483871</c:v>
                </c:pt>
                <c:pt idx="1079">
                  <c:v>43.400967741935482</c:v>
                </c:pt>
                <c:pt idx="1080">
                  <c:v>43.410322580645158</c:v>
                </c:pt>
                <c:pt idx="1081">
                  <c:v>43.425806451612907</c:v>
                </c:pt>
                <c:pt idx="1082">
                  <c:v>43.465483870967745</c:v>
                </c:pt>
                <c:pt idx="1083">
                  <c:v>43.398709677419362</c:v>
                </c:pt>
                <c:pt idx="1084">
                  <c:v>43.348064516129035</c:v>
                </c:pt>
                <c:pt idx="1085">
                  <c:v>43.251290322580651</c:v>
                </c:pt>
                <c:pt idx="1086">
                  <c:v>43.247096774193558</c:v>
                </c:pt>
                <c:pt idx="1087">
                  <c:v>43.193548387096776</c:v>
                </c:pt>
                <c:pt idx="1088">
                  <c:v>43.088387096774198</c:v>
                </c:pt>
                <c:pt idx="1089">
                  <c:v>42.98</c:v>
                </c:pt>
                <c:pt idx="1090">
                  <c:v>42.905483870967743</c:v>
                </c:pt>
                <c:pt idx="1091">
                  <c:v>42.834516129032259</c:v>
                </c:pt>
                <c:pt idx="1092">
                  <c:v>42.689677419354844</c:v>
                </c:pt>
                <c:pt idx="1093">
                  <c:v>42.635161290322579</c:v>
                </c:pt>
                <c:pt idx="1094">
                  <c:v>42.504838709677408</c:v>
                </c:pt>
                <c:pt idx="1095">
                  <c:v>42.385483870967725</c:v>
                </c:pt>
                <c:pt idx="1096">
                  <c:v>42.32548387096773</c:v>
                </c:pt>
                <c:pt idx="1097">
                  <c:v>42.220322580645153</c:v>
                </c:pt>
                <c:pt idx="1098">
                  <c:v>42.162258064516116</c:v>
                </c:pt>
                <c:pt idx="1099">
                  <c:v>42.154193548387092</c:v>
                </c:pt>
                <c:pt idx="1100">
                  <c:v>42.039677419354831</c:v>
                </c:pt>
                <c:pt idx="1101">
                  <c:v>42.029677419354833</c:v>
                </c:pt>
                <c:pt idx="1102">
                  <c:v>42.04677419354838</c:v>
                </c:pt>
                <c:pt idx="1103">
                  <c:v>41.958387096774189</c:v>
                </c:pt>
                <c:pt idx="1104">
                  <c:v>41.909354838709682</c:v>
                </c:pt>
                <c:pt idx="1105">
                  <c:v>41.86354838709677</c:v>
                </c:pt>
                <c:pt idx="1106">
                  <c:v>41.844516129032257</c:v>
                </c:pt>
                <c:pt idx="1107">
                  <c:v>41.790645161290321</c:v>
                </c:pt>
                <c:pt idx="1108">
                  <c:v>41.78709677419355</c:v>
                </c:pt>
                <c:pt idx="1109">
                  <c:v>41.778387096774203</c:v>
                </c:pt>
                <c:pt idx="1110">
                  <c:v>41.69483870967742</c:v>
                </c:pt>
                <c:pt idx="1111">
                  <c:v>41.540000000000006</c:v>
                </c:pt>
                <c:pt idx="1112">
                  <c:v>41.428064516129034</c:v>
                </c:pt>
                <c:pt idx="1113">
                  <c:v>41.320322580645168</c:v>
                </c:pt>
                <c:pt idx="1114">
                  <c:v>41.401612903225818</c:v>
                </c:pt>
                <c:pt idx="1115">
                  <c:v>41.433870967741946</c:v>
                </c:pt>
                <c:pt idx="1116">
                  <c:v>41.427741935483887</c:v>
                </c:pt>
                <c:pt idx="1117">
                  <c:v>41.460322580645176</c:v>
                </c:pt>
                <c:pt idx="1118">
                  <c:v>41.421612903225821</c:v>
                </c:pt>
                <c:pt idx="1119">
                  <c:v>41.454838709677432</c:v>
                </c:pt>
                <c:pt idx="1120">
                  <c:v>41.453548387096781</c:v>
                </c:pt>
                <c:pt idx="1121">
                  <c:v>41.549354838709682</c:v>
                </c:pt>
                <c:pt idx="1122">
                  <c:v>41.647096774193557</c:v>
                </c:pt>
                <c:pt idx="1123">
                  <c:v>41.749032258064517</c:v>
                </c:pt>
                <c:pt idx="1124">
                  <c:v>41.73</c:v>
                </c:pt>
                <c:pt idx="1125">
                  <c:v>41.779999999999994</c:v>
                </c:pt>
                <c:pt idx="1126">
                  <c:v>41.822580645161288</c:v>
                </c:pt>
                <c:pt idx="1127">
                  <c:v>41.842580645161284</c:v>
                </c:pt>
                <c:pt idx="1128">
                  <c:v>41.85935483870967</c:v>
                </c:pt>
                <c:pt idx="1129">
                  <c:v>41.857419354838704</c:v>
                </c:pt>
                <c:pt idx="1130">
                  <c:v>41.883548387096781</c:v>
                </c:pt>
                <c:pt idx="1131">
                  <c:v>41.924193548387095</c:v>
                </c:pt>
                <c:pt idx="1132">
                  <c:v>41.882258064516115</c:v>
                </c:pt>
                <c:pt idx="1133">
                  <c:v>41.774838709677411</c:v>
                </c:pt>
                <c:pt idx="1134">
                  <c:v>41.834193548387077</c:v>
                </c:pt>
                <c:pt idx="1135">
                  <c:v>41.878064516129015</c:v>
                </c:pt>
                <c:pt idx="1136">
                  <c:v>41.909677419354828</c:v>
                </c:pt>
                <c:pt idx="1137">
                  <c:v>41.905483870967736</c:v>
                </c:pt>
                <c:pt idx="1138">
                  <c:v>41.993225806451598</c:v>
                </c:pt>
                <c:pt idx="1139">
                  <c:v>41.968387096774187</c:v>
                </c:pt>
                <c:pt idx="1140">
                  <c:v>41.986774193548378</c:v>
                </c:pt>
                <c:pt idx="1141">
                  <c:v>42.019032258064506</c:v>
                </c:pt>
                <c:pt idx="1142">
                  <c:v>42.070967741935476</c:v>
                </c:pt>
                <c:pt idx="1143">
                  <c:v>42.166774193548392</c:v>
                </c:pt>
                <c:pt idx="1144">
                  <c:v>42.163225806451621</c:v>
                </c:pt>
                <c:pt idx="1145">
                  <c:v>42.127419354838715</c:v>
                </c:pt>
                <c:pt idx="1146">
                  <c:v>42.071290322580637</c:v>
                </c:pt>
                <c:pt idx="1147">
                  <c:v>42.020645161290332</c:v>
                </c:pt>
                <c:pt idx="1148">
                  <c:v>41.922258064516136</c:v>
                </c:pt>
                <c:pt idx="1149">
                  <c:v>42.007096774193549</c:v>
                </c:pt>
                <c:pt idx="1150">
                  <c:v>42.073870967741939</c:v>
                </c:pt>
                <c:pt idx="1151">
                  <c:v>42.073548387096764</c:v>
                </c:pt>
                <c:pt idx="1152">
                  <c:v>42.011612903225803</c:v>
                </c:pt>
                <c:pt idx="1153">
                  <c:v>41.897419354838703</c:v>
                </c:pt>
                <c:pt idx="1154">
                  <c:v>41.799999999999983</c:v>
                </c:pt>
                <c:pt idx="1155">
                  <c:v>41.839677419354828</c:v>
                </c:pt>
                <c:pt idx="1156">
                  <c:v>41.866774193548373</c:v>
                </c:pt>
                <c:pt idx="1157">
                  <c:v>41.829999999999991</c:v>
                </c:pt>
                <c:pt idx="1158">
                  <c:v>41.895161290322584</c:v>
                </c:pt>
                <c:pt idx="1159">
                  <c:v>41.906774193548394</c:v>
                </c:pt>
                <c:pt idx="1160">
                  <c:v>41.92</c:v>
                </c:pt>
                <c:pt idx="1161">
                  <c:v>41.962580645161289</c:v>
                </c:pt>
                <c:pt idx="1162">
                  <c:v>41.909032258064521</c:v>
                </c:pt>
                <c:pt idx="1163">
                  <c:v>42.005161290322583</c:v>
                </c:pt>
                <c:pt idx="1164">
                  <c:v>42.093548387096774</c:v>
                </c:pt>
                <c:pt idx="1165">
                  <c:v>42.029354838709679</c:v>
                </c:pt>
                <c:pt idx="1166">
                  <c:v>42.068387096774195</c:v>
                </c:pt>
                <c:pt idx="1167">
                  <c:v>42.039354838709684</c:v>
                </c:pt>
                <c:pt idx="1168">
                  <c:v>41.965161290322584</c:v>
                </c:pt>
                <c:pt idx="1169">
                  <c:v>41.892580645161296</c:v>
                </c:pt>
                <c:pt idx="1170">
                  <c:v>41.983548387096775</c:v>
                </c:pt>
                <c:pt idx="1171">
                  <c:v>42.000967741935483</c:v>
                </c:pt>
                <c:pt idx="1172">
                  <c:v>42.005161290322576</c:v>
                </c:pt>
                <c:pt idx="1173">
                  <c:v>41.962258064516128</c:v>
                </c:pt>
                <c:pt idx="1174">
                  <c:v>41.944838709677413</c:v>
                </c:pt>
                <c:pt idx="1175">
                  <c:v>42.037741935483865</c:v>
                </c:pt>
                <c:pt idx="1176">
                  <c:v>42.043870967741931</c:v>
                </c:pt>
                <c:pt idx="1177">
                  <c:v>41.995161290322578</c:v>
                </c:pt>
                <c:pt idx="1178">
                  <c:v>42.090322580645157</c:v>
                </c:pt>
                <c:pt idx="1179">
                  <c:v>42.085161290322574</c:v>
                </c:pt>
                <c:pt idx="1180">
                  <c:v>42.085806451612903</c:v>
                </c:pt>
                <c:pt idx="1181">
                  <c:v>42.022903225806452</c:v>
                </c:pt>
                <c:pt idx="1182">
                  <c:v>42.082258064516125</c:v>
                </c:pt>
                <c:pt idx="1183">
                  <c:v>42.040967741935475</c:v>
                </c:pt>
                <c:pt idx="1184">
                  <c:v>42.138064516129035</c:v>
                </c:pt>
                <c:pt idx="1185">
                  <c:v>42.149032258064523</c:v>
                </c:pt>
                <c:pt idx="1186">
                  <c:v>42.073225806451617</c:v>
                </c:pt>
                <c:pt idx="1187">
                  <c:v>42.080645161290327</c:v>
                </c:pt>
                <c:pt idx="1188">
                  <c:v>42.082903225806454</c:v>
                </c:pt>
                <c:pt idx="1189">
                  <c:v>42.044193548387099</c:v>
                </c:pt>
                <c:pt idx="1190">
                  <c:v>42.102258064516128</c:v>
                </c:pt>
                <c:pt idx="1191">
                  <c:v>42.056774193548378</c:v>
                </c:pt>
                <c:pt idx="1192">
                  <c:v>42.058709677419351</c:v>
                </c:pt>
                <c:pt idx="1193">
                  <c:v>42.132580645161276</c:v>
                </c:pt>
                <c:pt idx="1194">
                  <c:v>42.088387096774191</c:v>
                </c:pt>
                <c:pt idx="1195">
                  <c:v>42.074838709677415</c:v>
                </c:pt>
                <c:pt idx="1196">
                  <c:v>42.165161290322587</c:v>
                </c:pt>
                <c:pt idx="1197">
                  <c:v>42.070645161290315</c:v>
                </c:pt>
                <c:pt idx="1198">
                  <c:v>42.073548387096771</c:v>
                </c:pt>
                <c:pt idx="1199">
                  <c:v>42.16516129032258</c:v>
                </c:pt>
                <c:pt idx="1200">
                  <c:v>42.226451612903226</c:v>
                </c:pt>
                <c:pt idx="1201">
                  <c:v>42.192580645161293</c:v>
                </c:pt>
                <c:pt idx="1202">
                  <c:v>42.119677419354851</c:v>
                </c:pt>
                <c:pt idx="1203">
                  <c:v>42.13000000000001</c:v>
                </c:pt>
                <c:pt idx="1204">
                  <c:v>42.116451612903241</c:v>
                </c:pt>
                <c:pt idx="1205">
                  <c:v>42.130967741935493</c:v>
                </c:pt>
                <c:pt idx="1206">
                  <c:v>42.127096774193539</c:v>
                </c:pt>
                <c:pt idx="1207">
                  <c:v>42.079999999999991</c:v>
                </c:pt>
                <c:pt idx="1208">
                  <c:v>42.133548387096781</c:v>
                </c:pt>
                <c:pt idx="1209">
                  <c:v>42.044193548387099</c:v>
                </c:pt>
                <c:pt idx="1210">
                  <c:v>42.134838709677425</c:v>
                </c:pt>
                <c:pt idx="1211">
                  <c:v>42.110322580645153</c:v>
                </c:pt>
                <c:pt idx="1212">
                  <c:v>42.15032258064516</c:v>
                </c:pt>
                <c:pt idx="1213">
                  <c:v>42.129999999999988</c:v>
                </c:pt>
                <c:pt idx="1214">
                  <c:v>42.155161290322575</c:v>
                </c:pt>
                <c:pt idx="1215">
                  <c:v>42.110645161290314</c:v>
                </c:pt>
                <c:pt idx="1216">
                  <c:v>42.101290322580645</c:v>
                </c:pt>
                <c:pt idx="1217">
                  <c:v>42.138064516129035</c:v>
                </c:pt>
                <c:pt idx="1218">
                  <c:v>42.035161290322577</c:v>
                </c:pt>
                <c:pt idx="1219">
                  <c:v>42.111612903225804</c:v>
                </c:pt>
                <c:pt idx="1220">
                  <c:v>42.103225806451604</c:v>
                </c:pt>
                <c:pt idx="1221">
                  <c:v>42.029999999999994</c:v>
                </c:pt>
                <c:pt idx="1222">
                  <c:v>42.07322580645161</c:v>
                </c:pt>
                <c:pt idx="1223">
                  <c:v>42.004838709677415</c:v>
                </c:pt>
                <c:pt idx="1224">
                  <c:v>41.934838709677422</c:v>
                </c:pt>
                <c:pt idx="1225">
                  <c:v>41.887419354838705</c:v>
                </c:pt>
                <c:pt idx="1226">
                  <c:v>41.908387096774199</c:v>
                </c:pt>
                <c:pt idx="1227">
                  <c:v>41.904193548387099</c:v>
                </c:pt>
                <c:pt idx="1228">
                  <c:v>41.924838709677417</c:v>
                </c:pt>
                <c:pt idx="1229">
                  <c:v>41.930967741935483</c:v>
                </c:pt>
                <c:pt idx="1230">
                  <c:v>41.853225806451611</c:v>
                </c:pt>
                <c:pt idx="1231">
                  <c:v>41.873225806451607</c:v>
                </c:pt>
                <c:pt idx="1232">
                  <c:v>41.849677419354826</c:v>
                </c:pt>
                <c:pt idx="1233">
                  <c:v>41.963548387096772</c:v>
                </c:pt>
                <c:pt idx="1234">
                  <c:v>41.970322580645146</c:v>
                </c:pt>
                <c:pt idx="1235">
                  <c:v>42.035806451612892</c:v>
                </c:pt>
                <c:pt idx="1236">
                  <c:v>42.073225806451603</c:v>
                </c:pt>
                <c:pt idx="1237">
                  <c:v>42.072903225806442</c:v>
                </c:pt>
                <c:pt idx="1238">
                  <c:v>42.194838709677413</c:v>
                </c:pt>
                <c:pt idx="1239">
                  <c:v>42.185483870967737</c:v>
                </c:pt>
                <c:pt idx="1240">
                  <c:v>42.247741935483866</c:v>
                </c:pt>
                <c:pt idx="1241">
                  <c:v>42.278064516129028</c:v>
                </c:pt>
                <c:pt idx="1242">
                  <c:v>42.343548387096767</c:v>
                </c:pt>
                <c:pt idx="1243">
                  <c:v>42.339354838709674</c:v>
                </c:pt>
                <c:pt idx="1244">
                  <c:v>42.434516129032261</c:v>
                </c:pt>
                <c:pt idx="1245">
                  <c:v>42.492258064516122</c:v>
                </c:pt>
                <c:pt idx="1246">
                  <c:v>42.528387096774196</c:v>
                </c:pt>
                <c:pt idx="1247">
                  <c:v>42.643870967741933</c:v>
                </c:pt>
                <c:pt idx="1248">
                  <c:v>42.720000000000006</c:v>
                </c:pt>
                <c:pt idx="1249">
                  <c:v>42.864838709677421</c:v>
                </c:pt>
                <c:pt idx="1250">
                  <c:v>42.930322580645161</c:v>
                </c:pt>
                <c:pt idx="1251">
                  <c:v>42.959032258064518</c:v>
                </c:pt>
                <c:pt idx="1252">
                  <c:v>43.016774193548393</c:v>
                </c:pt>
                <c:pt idx="1253">
                  <c:v>43.070000000000007</c:v>
                </c:pt>
                <c:pt idx="1254">
                  <c:v>43.095161290322586</c:v>
                </c:pt>
                <c:pt idx="1255">
                  <c:v>43.158064516129045</c:v>
                </c:pt>
                <c:pt idx="1256">
                  <c:v>43.278709677419364</c:v>
                </c:pt>
                <c:pt idx="1257">
                  <c:v>43.315161290322578</c:v>
                </c:pt>
                <c:pt idx="1258">
                  <c:v>43.282580645161289</c:v>
                </c:pt>
                <c:pt idx="1259">
                  <c:v>43.376451612903239</c:v>
                </c:pt>
                <c:pt idx="1260">
                  <c:v>43.437096774193556</c:v>
                </c:pt>
                <c:pt idx="1261">
                  <c:v>43.555483870967741</c:v>
                </c:pt>
                <c:pt idx="1262">
                  <c:v>43.543870967741931</c:v>
                </c:pt>
                <c:pt idx="1263">
                  <c:v>43.570645161290322</c:v>
                </c:pt>
                <c:pt idx="1264">
                  <c:v>43.566129032258061</c:v>
                </c:pt>
                <c:pt idx="1265">
                  <c:v>43.61935483870969</c:v>
                </c:pt>
                <c:pt idx="1266">
                  <c:v>43.675806451612907</c:v>
                </c:pt>
                <c:pt idx="1267">
                  <c:v>43.675806451612907</c:v>
                </c:pt>
                <c:pt idx="1268">
                  <c:v>43.671612903225814</c:v>
                </c:pt>
                <c:pt idx="1269">
                  <c:v>43.597741935483867</c:v>
                </c:pt>
                <c:pt idx="1270">
                  <c:v>43.602580645161289</c:v>
                </c:pt>
                <c:pt idx="1271">
                  <c:v>43.657741935483877</c:v>
                </c:pt>
                <c:pt idx="1272">
                  <c:v>43.59548387096774</c:v>
                </c:pt>
                <c:pt idx="1273">
                  <c:v>43.582580645161293</c:v>
                </c:pt>
                <c:pt idx="1274">
                  <c:v>43.564516129032256</c:v>
                </c:pt>
                <c:pt idx="1275">
                  <c:v>43.438064516129032</c:v>
                </c:pt>
                <c:pt idx="1276">
                  <c:v>43.336774193548379</c:v>
                </c:pt>
                <c:pt idx="1277">
                  <c:v>43.266129032258057</c:v>
                </c:pt>
                <c:pt idx="1278">
                  <c:v>43.155161290322575</c:v>
                </c:pt>
                <c:pt idx="1279">
                  <c:v>43.040967741935475</c:v>
                </c:pt>
                <c:pt idx="1280">
                  <c:v>42.968709677419348</c:v>
                </c:pt>
                <c:pt idx="1281">
                  <c:v>42.813870967741927</c:v>
                </c:pt>
                <c:pt idx="1282">
                  <c:v>42.76709677419354</c:v>
                </c:pt>
                <c:pt idx="1283">
                  <c:v>42.802258064516124</c:v>
                </c:pt>
                <c:pt idx="1284">
                  <c:v>42.700967741935479</c:v>
                </c:pt>
                <c:pt idx="1285">
                  <c:v>42.706451612903223</c:v>
                </c:pt>
                <c:pt idx="1286">
                  <c:v>42.706774193548384</c:v>
                </c:pt>
                <c:pt idx="1287">
                  <c:v>42.59967741935484</c:v>
                </c:pt>
                <c:pt idx="1288">
                  <c:v>42.522903225806452</c:v>
                </c:pt>
                <c:pt idx="1289">
                  <c:v>42.543870967741938</c:v>
                </c:pt>
                <c:pt idx="1290">
                  <c:v>42.535806451612906</c:v>
                </c:pt>
                <c:pt idx="1291">
                  <c:v>42.490645161290331</c:v>
                </c:pt>
                <c:pt idx="1292">
                  <c:v>42.426774193548397</c:v>
                </c:pt>
                <c:pt idx="1293">
                  <c:v>42.359677419354846</c:v>
                </c:pt>
                <c:pt idx="1294">
                  <c:v>42.344193548387096</c:v>
                </c:pt>
                <c:pt idx="1295">
                  <c:v>42.295483870967743</c:v>
                </c:pt>
                <c:pt idx="1296">
                  <c:v>42.177096774193558</c:v>
                </c:pt>
                <c:pt idx="1297">
                  <c:v>42.065161290322585</c:v>
                </c:pt>
                <c:pt idx="1298">
                  <c:v>42.008709677419361</c:v>
                </c:pt>
                <c:pt idx="1299">
                  <c:v>41.91096774193548</c:v>
                </c:pt>
                <c:pt idx="1300">
                  <c:v>41.862903225806441</c:v>
                </c:pt>
                <c:pt idx="1301">
                  <c:v>41.801612903225795</c:v>
                </c:pt>
                <c:pt idx="1302">
                  <c:v>41.787419354838697</c:v>
                </c:pt>
                <c:pt idx="1303">
                  <c:v>41.765161290322567</c:v>
                </c:pt>
                <c:pt idx="1304">
                  <c:v>41.643548387096764</c:v>
                </c:pt>
                <c:pt idx="1305">
                  <c:v>41.639354838709679</c:v>
                </c:pt>
                <c:pt idx="1306">
                  <c:v>41.733225806451614</c:v>
                </c:pt>
                <c:pt idx="1307">
                  <c:v>41.810322580645156</c:v>
                </c:pt>
                <c:pt idx="1308">
                  <c:v>41.905161290322589</c:v>
                </c:pt>
                <c:pt idx="1309">
                  <c:v>41.96806451612904</c:v>
                </c:pt>
                <c:pt idx="1310">
                  <c:v>42.067419354838712</c:v>
                </c:pt>
                <c:pt idx="1311">
                  <c:v>42.080645161290327</c:v>
                </c:pt>
                <c:pt idx="1312">
                  <c:v>42.116774193548387</c:v>
                </c:pt>
                <c:pt idx="1313">
                  <c:v>42.118387096774192</c:v>
                </c:pt>
                <c:pt idx="1314">
                  <c:v>42.137741935483881</c:v>
                </c:pt>
                <c:pt idx="1315">
                  <c:v>42.176129032258075</c:v>
                </c:pt>
                <c:pt idx="1316">
                  <c:v>42.121290322580656</c:v>
                </c:pt>
                <c:pt idx="1317">
                  <c:v>42.083548387096769</c:v>
                </c:pt>
                <c:pt idx="1318">
                  <c:v>42.146451612903235</c:v>
                </c:pt>
                <c:pt idx="1319">
                  <c:v>42.19161290322581</c:v>
                </c:pt>
                <c:pt idx="1320">
                  <c:v>42.118387096774192</c:v>
                </c:pt>
                <c:pt idx="1321">
                  <c:v>42.051612903225802</c:v>
                </c:pt>
                <c:pt idx="1322">
                  <c:v>42.058064516129029</c:v>
                </c:pt>
                <c:pt idx="1323">
                  <c:v>41.992903225806451</c:v>
                </c:pt>
                <c:pt idx="1324">
                  <c:v>42.054516129032251</c:v>
                </c:pt>
                <c:pt idx="1325">
                  <c:v>42.048064516129024</c:v>
                </c:pt>
                <c:pt idx="1326">
                  <c:v>41.991935483870961</c:v>
                </c:pt>
                <c:pt idx="1327">
                  <c:v>42.058387096774183</c:v>
                </c:pt>
                <c:pt idx="1328">
                  <c:v>42.069677419354832</c:v>
                </c:pt>
                <c:pt idx="1329">
                  <c:v>42.096451612903223</c:v>
                </c:pt>
                <c:pt idx="1330">
                  <c:v>42.219032258064516</c:v>
                </c:pt>
                <c:pt idx="1331">
                  <c:v>42.218709677419355</c:v>
                </c:pt>
                <c:pt idx="1332">
                  <c:v>42.265483870967742</c:v>
                </c:pt>
                <c:pt idx="1333">
                  <c:v>42.273870967741935</c:v>
                </c:pt>
                <c:pt idx="1334">
                  <c:v>42.294193548387092</c:v>
                </c:pt>
                <c:pt idx="1335">
                  <c:v>42.322580645161281</c:v>
                </c:pt>
                <c:pt idx="1336">
                  <c:v>42.348387096774182</c:v>
                </c:pt>
                <c:pt idx="1337">
                  <c:v>42.287741935483851</c:v>
                </c:pt>
                <c:pt idx="1338">
                  <c:v>42.296451612903212</c:v>
                </c:pt>
                <c:pt idx="1339">
                  <c:v>42.180967741935483</c:v>
                </c:pt>
                <c:pt idx="1340">
                  <c:v>42.201935483870969</c:v>
                </c:pt>
                <c:pt idx="1341">
                  <c:v>42.090967741935486</c:v>
                </c:pt>
                <c:pt idx="1342">
                  <c:v>42.123225806451622</c:v>
                </c:pt>
                <c:pt idx="1343">
                  <c:v>42.094838709677425</c:v>
                </c:pt>
                <c:pt idx="1344">
                  <c:v>42.174193548387109</c:v>
                </c:pt>
                <c:pt idx="1345">
                  <c:v>42.131612903225822</c:v>
                </c:pt>
                <c:pt idx="1346">
                  <c:v>42.088387096774206</c:v>
                </c:pt>
                <c:pt idx="1347">
                  <c:v>42.150645161290335</c:v>
                </c:pt>
                <c:pt idx="1348">
                  <c:v>42.1309677419355</c:v>
                </c:pt>
                <c:pt idx="1349">
                  <c:v>42.077419354838717</c:v>
                </c:pt>
                <c:pt idx="1350">
                  <c:v>42.001612903225812</c:v>
                </c:pt>
                <c:pt idx="1351">
                  <c:v>42.059677419354848</c:v>
                </c:pt>
                <c:pt idx="1352">
                  <c:v>42.131612903225808</c:v>
                </c:pt>
                <c:pt idx="1353">
                  <c:v>42.068387096774181</c:v>
                </c:pt>
                <c:pt idx="1354">
                  <c:v>42.164193548387097</c:v>
                </c:pt>
                <c:pt idx="1355">
                  <c:v>42.199677419354842</c:v>
                </c:pt>
                <c:pt idx="1356">
                  <c:v>42.228709677419353</c:v>
                </c:pt>
                <c:pt idx="1357">
                  <c:v>42.238387096774197</c:v>
                </c:pt>
                <c:pt idx="1358">
                  <c:v>42.267096774193547</c:v>
                </c:pt>
                <c:pt idx="1359">
                  <c:v>42.331290322580649</c:v>
                </c:pt>
                <c:pt idx="1360">
                  <c:v>42.244838709677431</c:v>
                </c:pt>
                <c:pt idx="1361">
                  <c:v>42.239032258064519</c:v>
                </c:pt>
                <c:pt idx="1362">
                  <c:v>42.308064516129036</c:v>
                </c:pt>
                <c:pt idx="1363">
                  <c:v>42.354193548387094</c:v>
                </c:pt>
                <c:pt idx="1364">
                  <c:v>42.306129032258063</c:v>
                </c:pt>
                <c:pt idx="1365">
                  <c:v>42.352258064516121</c:v>
                </c:pt>
                <c:pt idx="1366">
                  <c:v>42.419032258064512</c:v>
                </c:pt>
                <c:pt idx="1367">
                  <c:v>42.444516129032252</c:v>
                </c:pt>
                <c:pt idx="1368">
                  <c:v>42.424193548387095</c:v>
                </c:pt>
                <c:pt idx="1369">
                  <c:v>42.426451612903229</c:v>
                </c:pt>
                <c:pt idx="1370">
                  <c:v>42.521290322580647</c:v>
                </c:pt>
                <c:pt idx="1371">
                  <c:v>42.428064516129034</c:v>
                </c:pt>
                <c:pt idx="1372">
                  <c:v>42.529032258064518</c:v>
                </c:pt>
                <c:pt idx="1373">
                  <c:v>42.45</c:v>
                </c:pt>
                <c:pt idx="1374">
                  <c:v>42.49258064516129</c:v>
                </c:pt>
                <c:pt idx="1375">
                  <c:v>42.458064516129035</c:v>
                </c:pt>
                <c:pt idx="1376">
                  <c:v>42.377741935483883</c:v>
                </c:pt>
                <c:pt idx="1377">
                  <c:v>42.346774193548391</c:v>
                </c:pt>
                <c:pt idx="1378">
                  <c:v>42.347741935483874</c:v>
                </c:pt>
                <c:pt idx="1379">
                  <c:v>42.32096774193549</c:v>
                </c:pt>
                <c:pt idx="1380">
                  <c:v>42.300000000000011</c:v>
                </c:pt>
                <c:pt idx="1381">
                  <c:v>42.307096774193553</c:v>
                </c:pt>
                <c:pt idx="1382">
                  <c:v>42.328709677419361</c:v>
                </c:pt>
                <c:pt idx="1383">
                  <c:v>42.290967741935489</c:v>
                </c:pt>
                <c:pt idx="1384">
                  <c:v>42.388387096774196</c:v>
                </c:pt>
                <c:pt idx="1385">
                  <c:v>42.32</c:v>
                </c:pt>
                <c:pt idx="1386">
                  <c:v>42.205161290322579</c:v>
                </c:pt>
                <c:pt idx="1387">
                  <c:v>42.218709677419355</c:v>
                </c:pt>
                <c:pt idx="1388">
                  <c:v>42.225161290322582</c:v>
                </c:pt>
                <c:pt idx="1389">
                  <c:v>42.211612903225806</c:v>
                </c:pt>
                <c:pt idx="1390">
                  <c:v>42.234838709677419</c:v>
                </c:pt>
                <c:pt idx="1391">
                  <c:v>42.21</c:v>
                </c:pt>
                <c:pt idx="1392">
                  <c:v>42.128709677419359</c:v>
                </c:pt>
                <c:pt idx="1393">
                  <c:v>42.097419354838706</c:v>
                </c:pt>
                <c:pt idx="1394">
                  <c:v>42.056774193548385</c:v>
                </c:pt>
                <c:pt idx="1395">
                  <c:v>41.98193548387097</c:v>
                </c:pt>
                <c:pt idx="1396">
                  <c:v>41.944516129032259</c:v>
                </c:pt>
                <c:pt idx="1397">
                  <c:v>41.863870967741924</c:v>
                </c:pt>
                <c:pt idx="1398">
                  <c:v>41.837741935483862</c:v>
                </c:pt>
                <c:pt idx="1399">
                  <c:v>41.916451612903231</c:v>
                </c:pt>
                <c:pt idx="1400">
                  <c:v>41.91935483870968</c:v>
                </c:pt>
                <c:pt idx="1401">
                  <c:v>41.888064516129042</c:v>
                </c:pt>
                <c:pt idx="1402">
                  <c:v>41.904193548387099</c:v>
                </c:pt>
                <c:pt idx="1403">
                  <c:v>41.82741935483871</c:v>
                </c:pt>
                <c:pt idx="1404">
                  <c:v>41.879677419354842</c:v>
                </c:pt>
                <c:pt idx="1405">
                  <c:v>41.861612903225804</c:v>
                </c:pt>
                <c:pt idx="1406">
                  <c:v>41.797096774193555</c:v>
                </c:pt>
                <c:pt idx="1407">
                  <c:v>41.840645161290325</c:v>
                </c:pt>
                <c:pt idx="1408">
                  <c:v>41.926774193548383</c:v>
                </c:pt>
                <c:pt idx="1409">
                  <c:v>41.927096774193544</c:v>
                </c:pt>
                <c:pt idx="1410">
                  <c:v>41.92258064516129</c:v>
                </c:pt>
                <c:pt idx="1411">
                  <c:v>41.941612903225803</c:v>
                </c:pt>
                <c:pt idx="1412">
                  <c:v>41.972258064516126</c:v>
                </c:pt>
                <c:pt idx="1413">
                  <c:v>41.949677419354842</c:v>
                </c:pt>
                <c:pt idx="1414">
                  <c:v>41.912903225806453</c:v>
                </c:pt>
                <c:pt idx="1415">
                  <c:v>41.890000000000015</c:v>
                </c:pt>
                <c:pt idx="1416">
                  <c:v>41.949677419354849</c:v>
                </c:pt>
                <c:pt idx="1417">
                  <c:v>42.061935483870975</c:v>
                </c:pt>
                <c:pt idx="1418">
                  <c:v>42.062258064516129</c:v>
                </c:pt>
                <c:pt idx="1419">
                  <c:v>42.067741935483866</c:v>
                </c:pt>
                <c:pt idx="1420">
                  <c:v>41.986774193548385</c:v>
                </c:pt>
                <c:pt idx="1421">
                  <c:v>41.988709677419358</c:v>
                </c:pt>
                <c:pt idx="1422">
                  <c:v>42.084838709677413</c:v>
                </c:pt>
                <c:pt idx="1423">
                  <c:v>42.103870967741926</c:v>
                </c:pt>
                <c:pt idx="1424">
                  <c:v>42.111290322580636</c:v>
                </c:pt>
                <c:pt idx="1425">
                  <c:v>42.078709677419354</c:v>
                </c:pt>
                <c:pt idx="1426">
                  <c:v>42.092580645161291</c:v>
                </c:pt>
                <c:pt idx="1427">
                  <c:v>42.082580645161293</c:v>
                </c:pt>
                <c:pt idx="1428">
                  <c:v>42.056451612903224</c:v>
                </c:pt>
                <c:pt idx="1429">
                  <c:v>42.05709677419356</c:v>
                </c:pt>
                <c:pt idx="1430">
                  <c:v>42.06032258064517</c:v>
                </c:pt>
                <c:pt idx="1431">
                  <c:v>42.037419354838711</c:v>
                </c:pt>
                <c:pt idx="1432">
                  <c:v>42.077741935483878</c:v>
                </c:pt>
                <c:pt idx="1433">
                  <c:v>42.067741935483873</c:v>
                </c:pt>
                <c:pt idx="1434">
                  <c:v>42.089354838709681</c:v>
                </c:pt>
                <c:pt idx="1435">
                  <c:v>42.094516129032257</c:v>
                </c:pt>
                <c:pt idx="1436">
                  <c:v>42.078064516129039</c:v>
                </c:pt>
                <c:pt idx="1437">
                  <c:v>42.146129032258074</c:v>
                </c:pt>
                <c:pt idx="1438">
                  <c:v>42.188709677419361</c:v>
                </c:pt>
                <c:pt idx="1439">
                  <c:v>42.137741935483874</c:v>
                </c:pt>
                <c:pt idx="1440">
                  <c:v>42.129999999999981</c:v>
                </c:pt>
                <c:pt idx="1441">
                  <c:v>42.220645161290307</c:v>
                </c:pt>
                <c:pt idx="1442">
                  <c:v>42.260967741935467</c:v>
                </c:pt>
                <c:pt idx="1443">
                  <c:v>42.212258064516114</c:v>
                </c:pt>
                <c:pt idx="1444">
                  <c:v>42.149032258064508</c:v>
                </c:pt>
                <c:pt idx="1445">
                  <c:v>42.136129032258061</c:v>
                </c:pt>
                <c:pt idx="1446">
                  <c:v>42.166774193548385</c:v>
                </c:pt>
                <c:pt idx="1447">
                  <c:v>42.12</c:v>
                </c:pt>
                <c:pt idx="1448">
                  <c:v>42.099032258064518</c:v>
                </c:pt>
                <c:pt idx="1449">
                  <c:v>42.068387096774188</c:v>
                </c:pt>
                <c:pt idx="1450">
                  <c:v>42.012580645161279</c:v>
                </c:pt>
                <c:pt idx="1451">
                  <c:v>42.074193548387093</c:v>
                </c:pt>
                <c:pt idx="1452">
                  <c:v>42.015161290322581</c:v>
                </c:pt>
                <c:pt idx="1453">
                  <c:v>41.944516129032259</c:v>
                </c:pt>
                <c:pt idx="1454">
                  <c:v>41.973870967741938</c:v>
                </c:pt>
                <c:pt idx="1455">
                  <c:v>41.984516129032258</c:v>
                </c:pt>
                <c:pt idx="1456">
                  <c:v>42.012903225806447</c:v>
                </c:pt>
                <c:pt idx="1457">
                  <c:v>42.004516129032261</c:v>
                </c:pt>
                <c:pt idx="1458">
                  <c:v>42.029032258064518</c:v>
                </c:pt>
                <c:pt idx="1459">
                  <c:v>42.119677419354836</c:v>
                </c:pt>
                <c:pt idx="1460">
                  <c:v>42.079999999999991</c:v>
                </c:pt>
                <c:pt idx="1461">
                  <c:v>41.99483870967741</c:v>
                </c:pt>
                <c:pt idx="1462">
                  <c:v>41.96935483870967</c:v>
                </c:pt>
                <c:pt idx="1463">
                  <c:v>41.973870967741924</c:v>
                </c:pt>
                <c:pt idx="1464">
                  <c:v>42.054193548387083</c:v>
                </c:pt>
                <c:pt idx="1465">
                  <c:v>42.013225806451608</c:v>
                </c:pt>
                <c:pt idx="1466">
                  <c:v>41.997096774193551</c:v>
                </c:pt>
                <c:pt idx="1467">
                  <c:v>41.980000000000004</c:v>
                </c:pt>
                <c:pt idx="1468">
                  <c:v>41.91290322580646</c:v>
                </c:pt>
                <c:pt idx="1469">
                  <c:v>41.858387096774202</c:v>
                </c:pt>
                <c:pt idx="1470">
                  <c:v>41.891612903225813</c:v>
                </c:pt>
                <c:pt idx="1471">
                  <c:v>41.880645161290325</c:v>
                </c:pt>
                <c:pt idx="1472">
                  <c:v>41.837096774193547</c:v>
                </c:pt>
                <c:pt idx="1473">
                  <c:v>41.79032258064516</c:v>
                </c:pt>
                <c:pt idx="1474">
                  <c:v>41.874838709677405</c:v>
                </c:pt>
                <c:pt idx="1475">
                  <c:v>41.912258064516131</c:v>
                </c:pt>
                <c:pt idx="1476">
                  <c:v>41.918064516129029</c:v>
                </c:pt>
                <c:pt idx="1477">
                  <c:v>41.794516129032253</c:v>
                </c:pt>
                <c:pt idx="1478">
                  <c:v>41.774838709677411</c:v>
                </c:pt>
                <c:pt idx="1479">
                  <c:v>41.755806451612891</c:v>
                </c:pt>
                <c:pt idx="1480">
                  <c:v>41.748387096774188</c:v>
                </c:pt>
                <c:pt idx="1481">
                  <c:v>41.86258064516128</c:v>
                </c:pt>
                <c:pt idx="1482">
                  <c:v>41.8</c:v>
                </c:pt>
                <c:pt idx="1483">
                  <c:v>41.802580645161292</c:v>
                </c:pt>
                <c:pt idx="1484">
                  <c:v>41.894193548387101</c:v>
                </c:pt>
                <c:pt idx="1485">
                  <c:v>41.807419354838707</c:v>
                </c:pt>
                <c:pt idx="1486">
                  <c:v>41.791612903225811</c:v>
                </c:pt>
                <c:pt idx="1487">
                  <c:v>41.841935483870969</c:v>
                </c:pt>
                <c:pt idx="1488">
                  <c:v>41.894193548387101</c:v>
                </c:pt>
                <c:pt idx="1489">
                  <c:v>41.910000000000004</c:v>
                </c:pt>
                <c:pt idx="1490">
                  <c:v>41.840967741935479</c:v>
                </c:pt>
                <c:pt idx="1491">
                  <c:v>41.900645161290328</c:v>
                </c:pt>
                <c:pt idx="1492">
                  <c:v>41.959032258064518</c:v>
                </c:pt>
                <c:pt idx="1493">
                  <c:v>41.961935483870967</c:v>
                </c:pt>
                <c:pt idx="1494">
                  <c:v>41.939032258064515</c:v>
                </c:pt>
                <c:pt idx="1495">
                  <c:v>41.90774193548387</c:v>
                </c:pt>
                <c:pt idx="1496">
                  <c:v>42.022258064516123</c:v>
                </c:pt>
                <c:pt idx="1497">
                  <c:v>41.947419354838715</c:v>
                </c:pt>
                <c:pt idx="1498">
                  <c:v>41.969032258064516</c:v>
                </c:pt>
                <c:pt idx="1499">
                  <c:v>42.065483870967739</c:v>
                </c:pt>
                <c:pt idx="1500">
                  <c:v>42.052258064516124</c:v>
                </c:pt>
                <c:pt idx="1501">
                  <c:v>42.039677419354838</c:v>
                </c:pt>
                <c:pt idx="1502">
                  <c:v>42.024838709677411</c:v>
                </c:pt>
                <c:pt idx="1503">
                  <c:v>42.04677419354838</c:v>
                </c:pt>
                <c:pt idx="1504">
                  <c:v>42.025161290322579</c:v>
                </c:pt>
                <c:pt idx="1505">
                  <c:v>41.954193548387096</c:v>
                </c:pt>
                <c:pt idx="1506">
                  <c:v>41.926451612903236</c:v>
                </c:pt>
                <c:pt idx="1507">
                  <c:v>41.946774193548393</c:v>
                </c:pt>
                <c:pt idx="1508">
                  <c:v>42.022903225806459</c:v>
                </c:pt>
                <c:pt idx="1509">
                  <c:v>42.010967741935488</c:v>
                </c:pt>
                <c:pt idx="1510">
                  <c:v>41.928387096774202</c:v>
                </c:pt>
                <c:pt idx="1511">
                  <c:v>41.936451612903234</c:v>
                </c:pt>
                <c:pt idx="1512">
                  <c:v>41.863870967741939</c:v>
                </c:pt>
                <c:pt idx="1513">
                  <c:v>41.849032258064518</c:v>
                </c:pt>
                <c:pt idx="1514">
                  <c:v>41.87419354838709</c:v>
                </c:pt>
                <c:pt idx="1515">
                  <c:v>41.799677419354836</c:v>
                </c:pt>
                <c:pt idx="1516">
                  <c:v>41.870645161290319</c:v>
                </c:pt>
                <c:pt idx="1517">
                  <c:v>41.86032258064516</c:v>
                </c:pt>
                <c:pt idx="1518">
                  <c:v>41.821290322580637</c:v>
                </c:pt>
                <c:pt idx="1519">
                  <c:v>41.838064516129023</c:v>
                </c:pt>
                <c:pt idx="1520">
                  <c:v>41.828709677419347</c:v>
                </c:pt>
                <c:pt idx="1521">
                  <c:v>41.849677419354826</c:v>
                </c:pt>
                <c:pt idx="1522">
                  <c:v>41.794193548387085</c:v>
                </c:pt>
                <c:pt idx="1523">
                  <c:v>41.761612903225803</c:v>
                </c:pt>
                <c:pt idx="1524">
                  <c:v>41.743870967741934</c:v>
                </c:pt>
                <c:pt idx="1525">
                  <c:v>41.743225806451612</c:v>
                </c:pt>
                <c:pt idx="1526">
                  <c:v>41.699677419354842</c:v>
                </c:pt>
                <c:pt idx="1527">
                  <c:v>41.688064516129032</c:v>
                </c:pt>
                <c:pt idx="1528">
                  <c:v>41.777741935483867</c:v>
                </c:pt>
                <c:pt idx="1529">
                  <c:v>41.780322580645155</c:v>
                </c:pt>
                <c:pt idx="1530">
                  <c:v>41.727419354838702</c:v>
                </c:pt>
                <c:pt idx="1531">
                  <c:v>41.832258064516125</c:v>
                </c:pt>
                <c:pt idx="1532">
                  <c:v>41.818387096774188</c:v>
                </c:pt>
                <c:pt idx="1533">
                  <c:v>41.828387096774193</c:v>
                </c:pt>
                <c:pt idx="1534">
                  <c:v>41.833870967741937</c:v>
                </c:pt>
                <c:pt idx="1535">
                  <c:v>41.844516129032257</c:v>
                </c:pt>
                <c:pt idx="1536">
                  <c:v>41.843548387096767</c:v>
                </c:pt>
                <c:pt idx="1537">
                  <c:v>41.893225806451611</c:v>
                </c:pt>
                <c:pt idx="1538">
                  <c:v>41.957419354838706</c:v>
                </c:pt>
                <c:pt idx="1539">
                  <c:v>41.927419354838712</c:v>
                </c:pt>
                <c:pt idx="1540">
                  <c:v>41.957419354838706</c:v>
                </c:pt>
                <c:pt idx="1541">
                  <c:v>42</c:v>
                </c:pt>
                <c:pt idx="1542">
                  <c:v>41.958709677419357</c:v>
                </c:pt>
                <c:pt idx="1543">
                  <c:v>42.029032258064518</c:v>
                </c:pt>
                <c:pt idx="1544">
                  <c:v>42.139032258064525</c:v>
                </c:pt>
                <c:pt idx="1545">
                  <c:v>42.177096774193551</c:v>
                </c:pt>
                <c:pt idx="1546">
                  <c:v>42.229032258064521</c:v>
                </c:pt>
                <c:pt idx="1547">
                  <c:v>42.253225806451624</c:v>
                </c:pt>
                <c:pt idx="1548">
                  <c:v>42.241612903225814</c:v>
                </c:pt>
                <c:pt idx="1549">
                  <c:v>42.193548387096783</c:v>
                </c:pt>
                <c:pt idx="1550">
                  <c:v>42.178709677419363</c:v>
                </c:pt>
                <c:pt idx="1551">
                  <c:v>42.178064516129034</c:v>
                </c:pt>
                <c:pt idx="1552">
                  <c:v>42.216774193548389</c:v>
                </c:pt>
                <c:pt idx="1553">
                  <c:v>42.267096774193547</c:v>
                </c:pt>
                <c:pt idx="1554">
                  <c:v>42.247096774193544</c:v>
                </c:pt>
                <c:pt idx="1555">
                  <c:v>42.246774193548376</c:v>
                </c:pt>
                <c:pt idx="1556">
                  <c:v>42.203870967741935</c:v>
                </c:pt>
                <c:pt idx="1557">
                  <c:v>42.279677419354833</c:v>
                </c:pt>
                <c:pt idx="1558">
                  <c:v>42.228709677419353</c:v>
                </c:pt>
                <c:pt idx="1559">
                  <c:v>42.23838709677419</c:v>
                </c:pt>
                <c:pt idx="1560">
                  <c:v>42.256129032258066</c:v>
                </c:pt>
                <c:pt idx="1561">
                  <c:v>42.238064516129036</c:v>
                </c:pt>
                <c:pt idx="1562">
                  <c:v>42.228064516129038</c:v>
                </c:pt>
                <c:pt idx="1563">
                  <c:v>42.247096774193551</c:v>
                </c:pt>
                <c:pt idx="1564">
                  <c:v>42.198064516129037</c:v>
                </c:pt>
                <c:pt idx="1565">
                  <c:v>42.150000000000006</c:v>
                </c:pt>
                <c:pt idx="1566">
                  <c:v>42.181612903225805</c:v>
                </c:pt>
                <c:pt idx="1567">
                  <c:v>42.253870967741939</c:v>
                </c:pt>
                <c:pt idx="1568">
                  <c:v>42.195161290322581</c:v>
                </c:pt>
                <c:pt idx="1569">
                  <c:v>42.089032258064506</c:v>
                </c:pt>
                <c:pt idx="1570">
                  <c:v>42.158064516129031</c:v>
                </c:pt>
                <c:pt idx="1571">
                  <c:v>42.123870967741922</c:v>
                </c:pt>
                <c:pt idx="1572">
                  <c:v>42.2</c:v>
                </c:pt>
                <c:pt idx="1573">
                  <c:v>42.187741935483871</c:v>
                </c:pt>
                <c:pt idx="1574">
                  <c:v>42.154193548387092</c:v>
                </c:pt>
                <c:pt idx="1575">
                  <c:v>42.04580645161289</c:v>
                </c:pt>
                <c:pt idx="1576">
                  <c:v>42.022903225806452</c:v>
                </c:pt>
                <c:pt idx="1577">
                  <c:v>41.95967741935484</c:v>
                </c:pt>
                <c:pt idx="1578">
                  <c:v>41.98</c:v>
                </c:pt>
                <c:pt idx="1579">
                  <c:v>41.959354838709672</c:v>
                </c:pt>
                <c:pt idx="1580">
                  <c:v>41.943548387096776</c:v>
                </c:pt>
                <c:pt idx="1581">
                  <c:v>41.883870967741935</c:v>
                </c:pt>
                <c:pt idx="1582">
                  <c:v>41.90870967741936</c:v>
                </c:pt>
                <c:pt idx="1583">
                  <c:v>41.908064516129031</c:v>
                </c:pt>
                <c:pt idx="1584">
                  <c:v>41.804516129032265</c:v>
                </c:pt>
                <c:pt idx="1585">
                  <c:v>41.782258064516128</c:v>
                </c:pt>
                <c:pt idx="1586">
                  <c:v>41.788064516129033</c:v>
                </c:pt>
                <c:pt idx="1587">
                  <c:v>41.766129032258071</c:v>
                </c:pt>
                <c:pt idx="1588">
                  <c:v>41.782258064516128</c:v>
                </c:pt>
                <c:pt idx="1589">
                  <c:v>41.84129032258064</c:v>
                </c:pt>
                <c:pt idx="1590">
                  <c:v>41.858064516129026</c:v>
                </c:pt>
                <c:pt idx="1591">
                  <c:v>41.860645161290314</c:v>
                </c:pt>
                <c:pt idx="1592">
                  <c:v>41.873870967741944</c:v>
                </c:pt>
                <c:pt idx="1593">
                  <c:v>41.796129032258065</c:v>
                </c:pt>
                <c:pt idx="1594">
                  <c:v>41.837741935483869</c:v>
                </c:pt>
                <c:pt idx="1595">
                  <c:v>41.813548387096766</c:v>
                </c:pt>
                <c:pt idx="1596">
                  <c:v>41.834193548387098</c:v>
                </c:pt>
                <c:pt idx="1597">
                  <c:v>41.87</c:v>
                </c:pt>
                <c:pt idx="1598">
                  <c:v>41.86677419354838</c:v>
                </c:pt>
                <c:pt idx="1599">
                  <c:v>41.95225806451613</c:v>
                </c:pt>
                <c:pt idx="1600">
                  <c:v>41.936129032258066</c:v>
                </c:pt>
                <c:pt idx="1601">
                  <c:v>41.900322580645167</c:v>
                </c:pt>
                <c:pt idx="1602">
                  <c:v>41.930645161290329</c:v>
                </c:pt>
                <c:pt idx="1603">
                  <c:v>41.931935483870973</c:v>
                </c:pt>
                <c:pt idx="1604">
                  <c:v>41.931290322580651</c:v>
                </c:pt>
                <c:pt idx="1605">
                  <c:v>41.869032258064507</c:v>
                </c:pt>
                <c:pt idx="1606">
                  <c:v>41.880322580645164</c:v>
                </c:pt>
                <c:pt idx="1607">
                  <c:v>41.8</c:v>
                </c:pt>
                <c:pt idx="1608">
                  <c:v>41.838709677419352</c:v>
                </c:pt>
                <c:pt idx="1609">
                  <c:v>41.740322580645156</c:v>
                </c:pt>
                <c:pt idx="1610">
                  <c:v>41.829354838709676</c:v>
                </c:pt>
                <c:pt idx="1611">
                  <c:v>41.85032258064517</c:v>
                </c:pt>
                <c:pt idx="1612">
                  <c:v>41.975483870967757</c:v>
                </c:pt>
                <c:pt idx="1613">
                  <c:v>41.884516129032271</c:v>
                </c:pt>
                <c:pt idx="1614">
                  <c:v>41.899354838709691</c:v>
                </c:pt>
                <c:pt idx="1615">
                  <c:v>41.980322580645172</c:v>
                </c:pt>
                <c:pt idx="1616">
                  <c:v>42.027096774193552</c:v>
                </c:pt>
                <c:pt idx="1617">
                  <c:v>42.090645161290325</c:v>
                </c:pt>
                <c:pt idx="1618">
                  <c:v>42.178064516129034</c:v>
                </c:pt>
                <c:pt idx="1619">
                  <c:v>42.181935483870966</c:v>
                </c:pt>
                <c:pt idx="1620">
                  <c:v>42.169354838709673</c:v>
                </c:pt>
                <c:pt idx="1621">
                  <c:v>42.122580645161278</c:v>
                </c:pt>
                <c:pt idx="1622">
                  <c:v>42.177741935483866</c:v>
                </c:pt>
                <c:pt idx="1623">
                  <c:v>42.189354838709676</c:v>
                </c:pt>
                <c:pt idx="1624">
                  <c:v>42.268709677419352</c:v>
                </c:pt>
                <c:pt idx="1625">
                  <c:v>42.201935483870962</c:v>
                </c:pt>
                <c:pt idx="1626">
                  <c:v>42.21290322580645</c:v>
                </c:pt>
                <c:pt idx="1627">
                  <c:v>42.199677419354835</c:v>
                </c:pt>
                <c:pt idx="1628">
                  <c:v>42.157419354838716</c:v>
                </c:pt>
                <c:pt idx="1629">
                  <c:v>42.1225806451613</c:v>
                </c:pt>
                <c:pt idx="1630">
                  <c:v>42.116451612903226</c:v>
                </c:pt>
                <c:pt idx="1631">
                  <c:v>42.211612903225813</c:v>
                </c:pt>
                <c:pt idx="1632">
                  <c:v>42.223548387096777</c:v>
                </c:pt>
                <c:pt idx="1633">
                  <c:v>42.263870967741937</c:v>
                </c:pt>
                <c:pt idx="1634">
                  <c:v>42.259677419354837</c:v>
                </c:pt>
                <c:pt idx="1635">
                  <c:v>42.335806451612889</c:v>
                </c:pt>
                <c:pt idx="1636">
                  <c:v>42.396451612903221</c:v>
                </c:pt>
                <c:pt idx="1637">
                  <c:v>42.413548387096768</c:v>
                </c:pt>
                <c:pt idx="1638">
                  <c:v>42.490967741935478</c:v>
                </c:pt>
                <c:pt idx="1639">
                  <c:v>42.510322580645152</c:v>
                </c:pt>
                <c:pt idx="1640">
                  <c:v>42.541935483870958</c:v>
                </c:pt>
                <c:pt idx="1641">
                  <c:v>42.452903225806445</c:v>
                </c:pt>
                <c:pt idx="1642">
                  <c:v>42.510322580645152</c:v>
                </c:pt>
                <c:pt idx="1643">
                  <c:v>42.396451612903221</c:v>
                </c:pt>
                <c:pt idx="1644">
                  <c:v>42.453225806451599</c:v>
                </c:pt>
                <c:pt idx="1645">
                  <c:v>42.361290322580643</c:v>
                </c:pt>
                <c:pt idx="1646">
                  <c:v>42.32</c:v>
                </c:pt>
                <c:pt idx="1647">
                  <c:v>42.327741935483871</c:v>
                </c:pt>
                <c:pt idx="1648">
                  <c:v>42.266451612903225</c:v>
                </c:pt>
                <c:pt idx="1649">
                  <c:v>42.27</c:v>
                </c:pt>
                <c:pt idx="1650">
                  <c:v>42.22870967741936</c:v>
                </c:pt>
                <c:pt idx="1651">
                  <c:v>42.22870967741936</c:v>
                </c:pt>
                <c:pt idx="1652">
                  <c:v>42.206129032258069</c:v>
                </c:pt>
                <c:pt idx="1653">
                  <c:v>42.18935483870969</c:v>
                </c:pt>
                <c:pt idx="1654">
                  <c:v>42.177419354838726</c:v>
                </c:pt>
                <c:pt idx="1655">
                  <c:v>42.184838709677436</c:v>
                </c:pt>
                <c:pt idx="1656">
                  <c:v>42.169032258064526</c:v>
                </c:pt>
                <c:pt idx="1657">
                  <c:v>42.264193548387105</c:v>
                </c:pt>
                <c:pt idx="1658">
                  <c:v>42.245161290322585</c:v>
                </c:pt>
                <c:pt idx="1659">
                  <c:v>42.277096774193552</c:v>
                </c:pt>
                <c:pt idx="1660">
                  <c:v>42.299677419354843</c:v>
                </c:pt>
                <c:pt idx="1661">
                  <c:v>42.305806451612902</c:v>
                </c:pt>
                <c:pt idx="1662">
                  <c:v>42.262258064516139</c:v>
                </c:pt>
                <c:pt idx="1663">
                  <c:v>42.221935483870972</c:v>
                </c:pt>
                <c:pt idx="1664">
                  <c:v>42.208064516129028</c:v>
                </c:pt>
                <c:pt idx="1665">
                  <c:v>42.194516129032259</c:v>
                </c:pt>
                <c:pt idx="1666">
                  <c:v>42.145161290322584</c:v>
                </c:pt>
                <c:pt idx="1667">
                  <c:v>42.079354838709676</c:v>
                </c:pt>
                <c:pt idx="1668">
                  <c:v>42.089354838709674</c:v>
                </c:pt>
                <c:pt idx="1669">
                  <c:v>42.067741935483873</c:v>
                </c:pt>
                <c:pt idx="1670">
                  <c:v>42.023870967741942</c:v>
                </c:pt>
                <c:pt idx="1671">
                  <c:v>42.009032258064522</c:v>
                </c:pt>
                <c:pt idx="1672">
                  <c:v>42.069677419354846</c:v>
                </c:pt>
                <c:pt idx="1673">
                  <c:v>41.989032258064519</c:v>
                </c:pt>
                <c:pt idx="1674">
                  <c:v>42.042580645161287</c:v>
                </c:pt>
                <c:pt idx="1675">
                  <c:v>41.995161290322585</c:v>
                </c:pt>
                <c:pt idx="1676">
                  <c:v>42.071935483870966</c:v>
                </c:pt>
                <c:pt idx="1677">
                  <c:v>42.046451612903226</c:v>
                </c:pt>
                <c:pt idx="1678">
                  <c:v>42.085806451612896</c:v>
                </c:pt>
                <c:pt idx="1679">
                  <c:v>42.136774193548391</c:v>
                </c:pt>
                <c:pt idx="1680">
                  <c:v>42.141612903225806</c:v>
                </c:pt>
                <c:pt idx="1681">
                  <c:v>42.091612903225801</c:v>
                </c:pt>
                <c:pt idx="1682">
                  <c:v>42.075483870967744</c:v>
                </c:pt>
                <c:pt idx="1683">
                  <c:v>42.072258064516127</c:v>
                </c:pt>
                <c:pt idx="1684">
                  <c:v>42.106451612903221</c:v>
                </c:pt>
                <c:pt idx="1685">
                  <c:v>42.162903225806453</c:v>
                </c:pt>
                <c:pt idx="1686">
                  <c:v>42.071935483870973</c:v>
                </c:pt>
                <c:pt idx="1687">
                  <c:v>42.14806451612904</c:v>
                </c:pt>
                <c:pt idx="1688">
                  <c:v>42.044838709677421</c:v>
                </c:pt>
                <c:pt idx="1689">
                  <c:v>42.131612903225815</c:v>
                </c:pt>
                <c:pt idx="1690">
                  <c:v>42.106451612903221</c:v>
                </c:pt>
                <c:pt idx="1691">
                  <c:v>42.071935483870966</c:v>
                </c:pt>
                <c:pt idx="1692">
                  <c:v>42.075483870967737</c:v>
                </c:pt>
                <c:pt idx="1693">
                  <c:v>42.027741935483867</c:v>
                </c:pt>
                <c:pt idx="1694">
                  <c:v>41.995806451612886</c:v>
                </c:pt>
                <c:pt idx="1695">
                  <c:v>41.939999999999991</c:v>
                </c:pt>
                <c:pt idx="1696">
                  <c:v>41.917096774193539</c:v>
                </c:pt>
                <c:pt idx="1697">
                  <c:v>41.897096774193535</c:v>
                </c:pt>
                <c:pt idx="1698">
                  <c:v>41.928709677419349</c:v>
                </c:pt>
                <c:pt idx="1699">
                  <c:v>42.029999999999987</c:v>
                </c:pt>
                <c:pt idx="1700">
                  <c:v>42.11258064516128</c:v>
                </c:pt>
                <c:pt idx="1701">
                  <c:v>42.134516129032264</c:v>
                </c:pt>
                <c:pt idx="1702">
                  <c:v>42.223225806451616</c:v>
                </c:pt>
                <c:pt idx="1703">
                  <c:v>42.22870967741936</c:v>
                </c:pt>
                <c:pt idx="1704">
                  <c:v>42.373225806451629</c:v>
                </c:pt>
                <c:pt idx="1705">
                  <c:v>42.43096774193549</c:v>
                </c:pt>
                <c:pt idx="1706">
                  <c:v>42.470967741935482</c:v>
                </c:pt>
                <c:pt idx="1707">
                  <c:v>42.480645161290319</c:v>
                </c:pt>
                <c:pt idx="1708">
                  <c:v>42.583225806451601</c:v>
                </c:pt>
                <c:pt idx="1709">
                  <c:v>42.628387096774183</c:v>
                </c:pt>
                <c:pt idx="1710">
                  <c:v>42.626129032258056</c:v>
                </c:pt>
                <c:pt idx="1711">
                  <c:v>42.573548387096771</c:v>
                </c:pt>
                <c:pt idx="1712">
                  <c:v>42.683225806451617</c:v>
                </c:pt>
                <c:pt idx="1713">
                  <c:v>42.671612903225807</c:v>
                </c:pt>
                <c:pt idx="1714">
                  <c:v>42.744193548387095</c:v>
                </c:pt>
                <c:pt idx="1715">
                  <c:v>42.732258064516131</c:v>
                </c:pt>
                <c:pt idx="1716">
                  <c:v>42.70000000000001</c:v>
                </c:pt>
                <c:pt idx="1717">
                  <c:v>42.780322580645176</c:v>
                </c:pt>
                <c:pt idx="1718">
                  <c:v>42.826129032258066</c:v>
                </c:pt>
                <c:pt idx="1719">
                  <c:v>42.912580645161292</c:v>
                </c:pt>
                <c:pt idx="1720">
                  <c:v>42.931935483870973</c:v>
                </c:pt>
                <c:pt idx="1721">
                  <c:v>43.008064516129032</c:v>
                </c:pt>
                <c:pt idx="1722">
                  <c:v>43.038709677419355</c:v>
                </c:pt>
                <c:pt idx="1723">
                  <c:v>43.011612903225803</c:v>
                </c:pt>
                <c:pt idx="1724">
                  <c:v>43.12903225806452</c:v>
                </c:pt>
                <c:pt idx="1725">
                  <c:v>43.233548387096775</c:v>
                </c:pt>
                <c:pt idx="1726">
                  <c:v>43.292903225806455</c:v>
                </c:pt>
                <c:pt idx="1727">
                  <c:v>43.336774193548386</c:v>
                </c:pt>
                <c:pt idx="1728">
                  <c:v>43.376129032258071</c:v>
                </c:pt>
                <c:pt idx="1729">
                  <c:v>43.466129032258067</c:v>
                </c:pt>
                <c:pt idx="1730">
                  <c:v>43.470000000000006</c:v>
                </c:pt>
                <c:pt idx="1731">
                  <c:v>43.399032258064516</c:v>
                </c:pt>
                <c:pt idx="1732">
                  <c:v>43.389354838709679</c:v>
                </c:pt>
                <c:pt idx="1733">
                  <c:v>43.340967741935472</c:v>
                </c:pt>
                <c:pt idx="1734">
                  <c:v>43.360967741935475</c:v>
                </c:pt>
                <c:pt idx="1735">
                  <c:v>43.282903225806457</c:v>
                </c:pt>
                <c:pt idx="1736">
                  <c:v>43.3</c:v>
                </c:pt>
                <c:pt idx="1737">
                  <c:v>43.3158064516129</c:v>
                </c:pt>
                <c:pt idx="1738">
                  <c:v>43.361935483870958</c:v>
                </c:pt>
                <c:pt idx="1739">
                  <c:v>43.308064516129029</c:v>
                </c:pt>
                <c:pt idx="1740">
                  <c:v>43.288064516129019</c:v>
                </c:pt>
                <c:pt idx="1741">
                  <c:v>43.290645161290321</c:v>
                </c:pt>
                <c:pt idx="1742">
                  <c:v>43.239354838709673</c:v>
                </c:pt>
                <c:pt idx="1743">
                  <c:v>43.11354838709677</c:v>
                </c:pt>
                <c:pt idx="1744">
                  <c:v>43.143548387096779</c:v>
                </c:pt>
                <c:pt idx="1745">
                  <c:v>43.12903225806452</c:v>
                </c:pt>
                <c:pt idx="1746">
                  <c:v>43.1274193548387</c:v>
                </c:pt>
                <c:pt idx="1747">
                  <c:v>43.085161290322574</c:v>
                </c:pt>
                <c:pt idx="1748">
                  <c:v>43.086129032258057</c:v>
                </c:pt>
                <c:pt idx="1749">
                  <c:v>42.965161290322577</c:v>
                </c:pt>
                <c:pt idx="1750">
                  <c:v>42.95129032258064</c:v>
                </c:pt>
                <c:pt idx="1751">
                  <c:v>42.94161290322581</c:v>
                </c:pt>
                <c:pt idx="1752">
                  <c:v>42.825806451612898</c:v>
                </c:pt>
                <c:pt idx="1753">
                  <c:v>42.748387096774195</c:v>
                </c:pt>
                <c:pt idx="1754">
                  <c:v>42.694838709677427</c:v>
                </c:pt>
                <c:pt idx="1755">
                  <c:v>42.646451612903235</c:v>
                </c:pt>
                <c:pt idx="1756">
                  <c:v>42.624193548387105</c:v>
                </c:pt>
                <c:pt idx="1757">
                  <c:v>42.62354838709679</c:v>
                </c:pt>
                <c:pt idx="1758">
                  <c:v>42.600322580645162</c:v>
                </c:pt>
                <c:pt idx="1759">
                  <c:v>42.644193548387108</c:v>
                </c:pt>
                <c:pt idx="1760">
                  <c:v>42.51580645161291</c:v>
                </c:pt>
                <c:pt idx="1761">
                  <c:v>42.370322580645173</c:v>
                </c:pt>
                <c:pt idx="1762">
                  <c:v>42.37</c:v>
                </c:pt>
                <c:pt idx="1763">
                  <c:v>42.338064516129037</c:v>
                </c:pt>
                <c:pt idx="1764">
                  <c:v>42.371290322580656</c:v>
                </c:pt>
                <c:pt idx="1765">
                  <c:v>42.33903225806452</c:v>
                </c:pt>
                <c:pt idx="1766">
                  <c:v>42.332903225806447</c:v>
                </c:pt>
                <c:pt idx="1767">
                  <c:v>42.306451612903217</c:v>
                </c:pt>
                <c:pt idx="1768">
                  <c:v>42.316129032258068</c:v>
                </c:pt>
                <c:pt idx="1769">
                  <c:v>42.186451612903227</c:v>
                </c:pt>
                <c:pt idx="1770">
                  <c:v>42.120322580645158</c:v>
                </c:pt>
                <c:pt idx="1771">
                  <c:v>42.004838709677422</c:v>
                </c:pt>
                <c:pt idx="1772">
                  <c:v>41.941612903225817</c:v>
                </c:pt>
                <c:pt idx="1773">
                  <c:v>41.944193548387105</c:v>
                </c:pt>
                <c:pt idx="1774">
                  <c:v>42.000322580645168</c:v>
                </c:pt>
                <c:pt idx="1775">
                  <c:v>41.973225806451623</c:v>
                </c:pt>
                <c:pt idx="1776">
                  <c:v>41.967419354838718</c:v>
                </c:pt>
                <c:pt idx="1777">
                  <c:v>41.919677419354848</c:v>
                </c:pt>
                <c:pt idx="1778">
                  <c:v>41.965161290322591</c:v>
                </c:pt>
                <c:pt idx="1779">
                  <c:v>41.900967741935496</c:v>
                </c:pt>
                <c:pt idx="1780">
                  <c:v>41.905161290322589</c:v>
                </c:pt>
                <c:pt idx="1781">
                  <c:v>41.859677419354846</c:v>
                </c:pt>
                <c:pt idx="1782">
                  <c:v>41.742903225806451</c:v>
                </c:pt>
                <c:pt idx="1783">
                  <c:v>41.801290322580648</c:v>
                </c:pt>
                <c:pt idx="1784">
                  <c:v>41.83</c:v>
                </c:pt>
                <c:pt idx="1785">
                  <c:v>41.832580645161286</c:v>
                </c:pt>
                <c:pt idx="1786">
                  <c:v>41.779032258064511</c:v>
                </c:pt>
                <c:pt idx="1787">
                  <c:v>41.725483870967743</c:v>
                </c:pt>
                <c:pt idx="1788">
                  <c:v>41.69064516129032</c:v>
                </c:pt>
                <c:pt idx="1789">
                  <c:v>41.67677419354839</c:v>
                </c:pt>
                <c:pt idx="1790">
                  <c:v>41.579032258064508</c:v>
                </c:pt>
                <c:pt idx="1791">
                  <c:v>41.684516129032254</c:v>
                </c:pt>
                <c:pt idx="1792">
                  <c:v>41.769032258064506</c:v>
                </c:pt>
                <c:pt idx="1793">
                  <c:v>41.786774193548375</c:v>
                </c:pt>
                <c:pt idx="1794">
                  <c:v>41.828387096774186</c:v>
                </c:pt>
                <c:pt idx="1795">
                  <c:v>41.738709677419351</c:v>
                </c:pt>
                <c:pt idx="1796">
                  <c:v>41.739032258064512</c:v>
                </c:pt>
                <c:pt idx="1797">
                  <c:v>41.749354838709678</c:v>
                </c:pt>
                <c:pt idx="1798">
                  <c:v>41.709032258064518</c:v>
                </c:pt>
                <c:pt idx="1799">
                  <c:v>41.628064516129022</c:v>
                </c:pt>
                <c:pt idx="1800">
                  <c:v>41.621290322580634</c:v>
                </c:pt>
                <c:pt idx="1801">
                  <c:v>41.680967741935483</c:v>
                </c:pt>
                <c:pt idx="1802">
                  <c:v>41.693225806451608</c:v>
                </c:pt>
                <c:pt idx="1803">
                  <c:v>41.790967741935482</c:v>
                </c:pt>
                <c:pt idx="1804">
                  <c:v>41.876451612903217</c:v>
                </c:pt>
                <c:pt idx="1805">
                  <c:v>41.888064516129027</c:v>
                </c:pt>
                <c:pt idx="1806">
                  <c:v>41.875161290322588</c:v>
                </c:pt>
                <c:pt idx="1807">
                  <c:v>41.90129032258065</c:v>
                </c:pt>
                <c:pt idx="1808">
                  <c:v>41.880645161290325</c:v>
                </c:pt>
                <c:pt idx="1809">
                  <c:v>41.828064516129032</c:v>
                </c:pt>
                <c:pt idx="1810">
                  <c:v>41.777419354838706</c:v>
                </c:pt>
                <c:pt idx="1811">
                  <c:v>41.766451612903218</c:v>
                </c:pt>
                <c:pt idx="1812">
                  <c:v>41.737741935483875</c:v>
                </c:pt>
                <c:pt idx="1813">
                  <c:v>41.779032258064511</c:v>
                </c:pt>
                <c:pt idx="1814">
                  <c:v>41.804838709677419</c:v>
                </c:pt>
                <c:pt idx="1815">
                  <c:v>41.852258064516121</c:v>
                </c:pt>
                <c:pt idx="1816">
                  <c:v>41.818709677419349</c:v>
                </c:pt>
                <c:pt idx="1817">
                  <c:v>41.849032258064518</c:v>
                </c:pt>
                <c:pt idx="1818">
                  <c:v>41.929354838709685</c:v>
                </c:pt>
                <c:pt idx="1819">
                  <c:v>42.013225806451622</c:v>
                </c:pt>
                <c:pt idx="1820">
                  <c:v>41.970000000000006</c:v>
                </c:pt>
                <c:pt idx="1821">
                  <c:v>42.045161290322582</c:v>
                </c:pt>
                <c:pt idx="1822">
                  <c:v>42.037741935483872</c:v>
                </c:pt>
                <c:pt idx="1823">
                  <c:v>42.007741935483871</c:v>
                </c:pt>
                <c:pt idx="1824">
                  <c:v>41.91516129032258</c:v>
                </c:pt>
                <c:pt idx="1825">
                  <c:v>41.888709677419357</c:v>
                </c:pt>
                <c:pt idx="1826">
                  <c:v>41.911935483870963</c:v>
                </c:pt>
                <c:pt idx="1827">
                  <c:v>41.903870967741931</c:v>
                </c:pt>
                <c:pt idx="1828">
                  <c:v>41.829999999999991</c:v>
                </c:pt>
                <c:pt idx="1829">
                  <c:v>41.865161290322561</c:v>
                </c:pt>
                <c:pt idx="1830">
                  <c:v>41.848387096774175</c:v>
                </c:pt>
                <c:pt idx="1831">
                  <c:v>41.908064516129016</c:v>
                </c:pt>
                <c:pt idx="1832">
                  <c:v>41.851290322580631</c:v>
                </c:pt>
                <c:pt idx="1833">
                  <c:v>41.884516129032242</c:v>
                </c:pt>
                <c:pt idx="1834">
                  <c:v>41.766774193548372</c:v>
                </c:pt>
                <c:pt idx="1835">
                  <c:v>41.686774193548381</c:v>
                </c:pt>
                <c:pt idx="1836">
                  <c:v>41.620645161290312</c:v>
                </c:pt>
                <c:pt idx="1837">
                  <c:v>41.633548387096774</c:v>
                </c:pt>
                <c:pt idx="1838">
                  <c:v>41.514193548387084</c:v>
                </c:pt>
                <c:pt idx="1839">
                  <c:v>41.478387096774199</c:v>
                </c:pt>
                <c:pt idx="1840">
                  <c:v>41.45645161290323</c:v>
                </c:pt>
                <c:pt idx="1841">
                  <c:v>41.51354838709679</c:v>
                </c:pt>
                <c:pt idx="1842">
                  <c:v>41.518064516129044</c:v>
                </c:pt>
                <c:pt idx="1843">
                  <c:v>41.578064516129039</c:v>
                </c:pt>
                <c:pt idx="1844">
                  <c:v>41.587419354838723</c:v>
                </c:pt>
                <c:pt idx="1845">
                  <c:v>41.570645161290329</c:v>
                </c:pt>
                <c:pt idx="1846">
                  <c:v>41.608387096774202</c:v>
                </c:pt>
                <c:pt idx="1847">
                  <c:v>41.700322580645171</c:v>
                </c:pt>
                <c:pt idx="1848">
                  <c:v>41.647096774193557</c:v>
                </c:pt>
                <c:pt idx="1849">
                  <c:v>41.572903225806456</c:v>
                </c:pt>
                <c:pt idx="1850">
                  <c:v>41.55935483870968</c:v>
                </c:pt>
                <c:pt idx="1851">
                  <c:v>41.59548387096774</c:v>
                </c:pt>
                <c:pt idx="1852">
                  <c:v>41.544516129032253</c:v>
                </c:pt>
                <c:pt idx="1853">
                  <c:v>41.469677419354838</c:v>
                </c:pt>
                <c:pt idx="1854">
                  <c:v>41.470967741935489</c:v>
                </c:pt>
                <c:pt idx="1855">
                  <c:v>41.491290322580639</c:v>
                </c:pt>
                <c:pt idx="1856">
                  <c:v>41.447419354838708</c:v>
                </c:pt>
                <c:pt idx="1857">
                  <c:v>41.516774193548386</c:v>
                </c:pt>
                <c:pt idx="1858">
                  <c:v>41.525806451612901</c:v>
                </c:pt>
                <c:pt idx="1859">
                  <c:v>41.617096774193548</c:v>
                </c:pt>
                <c:pt idx="1860">
                  <c:v>41.528064516129028</c:v>
                </c:pt>
                <c:pt idx="1861">
                  <c:v>41.57322580645161</c:v>
                </c:pt>
                <c:pt idx="1862">
                  <c:v>41.604516129032255</c:v>
                </c:pt>
                <c:pt idx="1863">
                  <c:v>41.712258064516128</c:v>
                </c:pt>
                <c:pt idx="1864">
                  <c:v>41.69161290322581</c:v>
                </c:pt>
                <c:pt idx="1865">
                  <c:v>41.73516129032258</c:v>
                </c:pt>
                <c:pt idx="1866">
                  <c:v>41.789354838709677</c:v>
                </c:pt>
                <c:pt idx="1867">
                  <c:v>41.776774193548391</c:v>
                </c:pt>
                <c:pt idx="1868">
                  <c:v>41.799354838709682</c:v>
                </c:pt>
                <c:pt idx="1869">
                  <c:v>41.908064516129045</c:v>
                </c:pt>
                <c:pt idx="1870">
                  <c:v>41.988064516129036</c:v>
                </c:pt>
                <c:pt idx="1871">
                  <c:v>42.061290322580646</c:v>
                </c:pt>
                <c:pt idx="1872">
                  <c:v>42.078709677419354</c:v>
                </c:pt>
                <c:pt idx="1873">
                  <c:v>42.163870967741943</c:v>
                </c:pt>
                <c:pt idx="1874">
                  <c:v>42.179354838709692</c:v>
                </c:pt>
                <c:pt idx="1875">
                  <c:v>42.159032258064528</c:v>
                </c:pt>
                <c:pt idx="1876">
                  <c:v>42.175806451612914</c:v>
                </c:pt>
                <c:pt idx="1877">
                  <c:v>42.121612903225817</c:v>
                </c:pt>
                <c:pt idx="1878">
                  <c:v>42.120645161290319</c:v>
                </c:pt>
                <c:pt idx="1879">
                  <c:v>42.180322580645161</c:v>
                </c:pt>
                <c:pt idx="1880">
                  <c:v>42.152903225806448</c:v>
                </c:pt>
                <c:pt idx="1881">
                  <c:v>42.07225806451612</c:v>
                </c:pt>
                <c:pt idx="1882">
                  <c:v>42.029032258064504</c:v>
                </c:pt>
                <c:pt idx="1883">
                  <c:v>42.018387096774184</c:v>
                </c:pt>
                <c:pt idx="1884">
                  <c:v>42.017096774193547</c:v>
                </c:pt>
                <c:pt idx="1885">
                  <c:v>42.020322580645157</c:v>
                </c:pt>
                <c:pt idx="1886">
                  <c:v>41.999677419354839</c:v>
                </c:pt>
                <c:pt idx="1887">
                  <c:v>42.079677419354837</c:v>
                </c:pt>
                <c:pt idx="1888">
                  <c:v>42.044193548387092</c:v>
                </c:pt>
                <c:pt idx="1889">
                  <c:v>42.062903225806451</c:v>
                </c:pt>
                <c:pt idx="1890">
                  <c:v>42.123225806451607</c:v>
                </c:pt>
                <c:pt idx="1891">
                  <c:v>42.25741935483871</c:v>
                </c:pt>
                <c:pt idx="1892">
                  <c:v>42.353870967741933</c:v>
                </c:pt>
                <c:pt idx="1893">
                  <c:v>42.373225806451622</c:v>
                </c:pt>
                <c:pt idx="1894">
                  <c:v>42.395483870967752</c:v>
                </c:pt>
                <c:pt idx="1895">
                  <c:v>42.459032258064525</c:v>
                </c:pt>
                <c:pt idx="1896">
                  <c:v>42.550322580645165</c:v>
                </c:pt>
                <c:pt idx="1897">
                  <c:v>42.599354838709672</c:v>
                </c:pt>
                <c:pt idx="1898">
                  <c:v>42.673225806451619</c:v>
                </c:pt>
                <c:pt idx="1899">
                  <c:v>42.667096774193553</c:v>
                </c:pt>
                <c:pt idx="1900">
                  <c:v>42.686129032258073</c:v>
                </c:pt>
                <c:pt idx="1901">
                  <c:v>42.735483870967748</c:v>
                </c:pt>
                <c:pt idx="1902">
                  <c:v>42.799032258064528</c:v>
                </c:pt>
                <c:pt idx="1903">
                  <c:v>42.825483870967751</c:v>
                </c:pt>
                <c:pt idx="1904">
                  <c:v>42.807096774193553</c:v>
                </c:pt>
                <c:pt idx="1905">
                  <c:v>42.816451612903229</c:v>
                </c:pt>
                <c:pt idx="1906">
                  <c:v>42.885483870967754</c:v>
                </c:pt>
                <c:pt idx="1907">
                  <c:v>42.933870967741939</c:v>
                </c:pt>
                <c:pt idx="1908">
                  <c:v>43.033225806451611</c:v>
                </c:pt>
                <c:pt idx="1909">
                  <c:v>43.067419354838712</c:v>
                </c:pt>
                <c:pt idx="1910">
                  <c:v>43.131290322580647</c:v>
                </c:pt>
                <c:pt idx="1911">
                  <c:v>43.254516129032261</c:v>
                </c:pt>
                <c:pt idx="1912">
                  <c:v>43.370000000000012</c:v>
                </c:pt>
                <c:pt idx="1913">
                  <c:v>43.406129032258065</c:v>
                </c:pt>
                <c:pt idx="1914">
                  <c:v>43.52548387096774</c:v>
                </c:pt>
                <c:pt idx="1915">
                  <c:v>43.643548387096772</c:v>
                </c:pt>
                <c:pt idx="1916">
                  <c:v>43.744516129032256</c:v>
                </c:pt>
                <c:pt idx="1917">
                  <c:v>43.82225806451612</c:v>
                </c:pt>
                <c:pt idx="1918">
                  <c:v>43.824838709677408</c:v>
                </c:pt>
                <c:pt idx="1919">
                  <c:v>43.849677419354826</c:v>
                </c:pt>
                <c:pt idx="1920">
                  <c:v>43.897096774193543</c:v>
                </c:pt>
                <c:pt idx="1921">
                  <c:v>43.828064516129011</c:v>
                </c:pt>
                <c:pt idx="1922">
                  <c:v>43.816129032258054</c:v>
                </c:pt>
                <c:pt idx="1923">
                  <c:v>43.736129032258056</c:v>
                </c:pt>
                <c:pt idx="1924">
                  <c:v>43.698064516129023</c:v>
                </c:pt>
                <c:pt idx="1925">
                  <c:v>43.66193548387097</c:v>
                </c:pt>
                <c:pt idx="1926">
                  <c:v>43.649354838709677</c:v>
                </c:pt>
                <c:pt idx="1927">
                  <c:v>43.612258064516126</c:v>
                </c:pt>
                <c:pt idx="1928">
                  <c:v>43.575161290322583</c:v>
                </c:pt>
                <c:pt idx="1929">
                  <c:v>43.650322580645167</c:v>
                </c:pt>
                <c:pt idx="1930">
                  <c:v>43.566129032258061</c:v>
                </c:pt>
                <c:pt idx="1931">
                  <c:v>43.49258064516129</c:v>
                </c:pt>
                <c:pt idx="1932">
                  <c:v>43.403870967741938</c:v>
                </c:pt>
                <c:pt idx="1933">
                  <c:v>43.367419354838702</c:v>
                </c:pt>
                <c:pt idx="1934">
                  <c:v>43.264516129032252</c:v>
                </c:pt>
                <c:pt idx="1935">
                  <c:v>43.279354838709672</c:v>
                </c:pt>
                <c:pt idx="1936">
                  <c:v>43.250322580645154</c:v>
                </c:pt>
                <c:pt idx="1937">
                  <c:v>43.18</c:v>
                </c:pt>
                <c:pt idx="1938">
                  <c:v>43.049354838709668</c:v>
                </c:pt>
                <c:pt idx="1939">
                  <c:v>42.935161290322576</c:v>
                </c:pt>
                <c:pt idx="1940">
                  <c:v>42.858387096774187</c:v>
                </c:pt>
                <c:pt idx="1941">
                  <c:v>42.814516129032256</c:v>
                </c:pt>
                <c:pt idx="1942">
                  <c:v>42.787741935483865</c:v>
                </c:pt>
                <c:pt idx="1943">
                  <c:v>42.654838709677421</c:v>
                </c:pt>
                <c:pt idx="1944">
                  <c:v>42.660967741935487</c:v>
                </c:pt>
                <c:pt idx="1945">
                  <c:v>42.583225806451608</c:v>
                </c:pt>
                <c:pt idx="1946">
                  <c:v>42.511290322580635</c:v>
                </c:pt>
                <c:pt idx="1947">
                  <c:v>42.365806451612897</c:v>
                </c:pt>
                <c:pt idx="1948">
                  <c:v>42.292580645161287</c:v>
                </c:pt>
                <c:pt idx="1949">
                  <c:v>42.214838709677416</c:v>
                </c:pt>
                <c:pt idx="1950">
                  <c:v>42.237096774193539</c:v>
                </c:pt>
                <c:pt idx="1951">
                  <c:v>42.16838709677419</c:v>
                </c:pt>
                <c:pt idx="1952">
                  <c:v>42.180645161290315</c:v>
                </c:pt>
                <c:pt idx="1953">
                  <c:v>42.053870967741929</c:v>
                </c:pt>
                <c:pt idx="1954">
                  <c:v>42.015483870967742</c:v>
                </c:pt>
                <c:pt idx="1955">
                  <c:v>42.049354838709675</c:v>
                </c:pt>
                <c:pt idx="1956">
                  <c:v>42.01483870967742</c:v>
                </c:pt>
                <c:pt idx="1957">
                  <c:v>42.052580645161285</c:v>
                </c:pt>
                <c:pt idx="1958">
                  <c:v>42.027096774193545</c:v>
                </c:pt>
                <c:pt idx="1959">
                  <c:v>42.012580645161286</c:v>
                </c:pt>
                <c:pt idx="1960">
                  <c:v>41.968709677419355</c:v>
                </c:pt>
                <c:pt idx="1961">
                  <c:v>41.974193548387099</c:v>
                </c:pt>
                <c:pt idx="1962">
                  <c:v>41.932258064516141</c:v>
                </c:pt>
                <c:pt idx="1963">
                  <c:v>41.944193548387112</c:v>
                </c:pt>
                <c:pt idx="1964">
                  <c:v>41.919354838709694</c:v>
                </c:pt>
                <c:pt idx="1965">
                  <c:v>41.918387096774211</c:v>
                </c:pt>
                <c:pt idx="1966">
                  <c:v>41.915483870967755</c:v>
                </c:pt>
                <c:pt idx="1967">
                  <c:v>41.870645161290334</c:v>
                </c:pt>
                <c:pt idx="1968">
                  <c:v>41.957096774193559</c:v>
                </c:pt>
                <c:pt idx="1969">
                  <c:v>41.997096774193558</c:v>
                </c:pt>
                <c:pt idx="1970">
                  <c:v>42.025161290322593</c:v>
                </c:pt>
                <c:pt idx="1971">
                  <c:v>41.980967741935494</c:v>
                </c:pt>
                <c:pt idx="1972">
                  <c:v>41.924193548387109</c:v>
                </c:pt>
                <c:pt idx="1973">
                  <c:v>41.808709677419358</c:v>
                </c:pt>
                <c:pt idx="1974">
                  <c:v>41.859354838709677</c:v>
                </c:pt>
                <c:pt idx="1975">
                  <c:v>41.802580645161285</c:v>
                </c:pt>
                <c:pt idx="1976">
                  <c:v>41.751935483870966</c:v>
                </c:pt>
                <c:pt idx="1977">
                  <c:v>41.733225806451614</c:v>
                </c:pt>
                <c:pt idx="1978">
                  <c:v>41.765161290322574</c:v>
                </c:pt>
                <c:pt idx="1979">
                  <c:v>41.838387096774184</c:v>
                </c:pt>
                <c:pt idx="1980">
                  <c:v>41.879354838709681</c:v>
                </c:pt>
                <c:pt idx="1981">
                  <c:v>41.809999999999995</c:v>
                </c:pt>
                <c:pt idx="1982">
                  <c:v>41.801612903225802</c:v>
                </c:pt>
                <c:pt idx="1983">
                  <c:v>41.780322580645162</c:v>
                </c:pt>
                <c:pt idx="1984">
                  <c:v>41.886129032258061</c:v>
                </c:pt>
                <c:pt idx="1985">
                  <c:v>41.959999999999994</c:v>
                </c:pt>
                <c:pt idx="1986">
                  <c:v>41.88064516129031</c:v>
                </c:pt>
                <c:pt idx="1987">
                  <c:v>41.849677419354826</c:v>
                </c:pt>
                <c:pt idx="1988">
                  <c:v>41.835483870967721</c:v>
                </c:pt>
                <c:pt idx="1989">
                  <c:v>41.848387096774175</c:v>
                </c:pt>
                <c:pt idx="1990">
                  <c:v>41.821935483870952</c:v>
                </c:pt>
                <c:pt idx="1991">
                  <c:v>41.814838709677403</c:v>
                </c:pt>
                <c:pt idx="1992">
                  <c:v>41.804516129032251</c:v>
                </c:pt>
                <c:pt idx="1993">
                  <c:v>41.787419354838704</c:v>
                </c:pt>
                <c:pt idx="1994">
                  <c:v>41.809677419354841</c:v>
                </c:pt>
                <c:pt idx="1995">
                  <c:v>41.76</c:v>
                </c:pt>
                <c:pt idx="1996">
                  <c:v>41.763548387096776</c:v>
                </c:pt>
                <c:pt idx="1997">
                  <c:v>41.678709677419363</c:v>
                </c:pt>
                <c:pt idx="1998">
                  <c:v>41.682903225806456</c:v>
                </c:pt>
                <c:pt idx="1999">
                  <c:v>41.605161290322577</c:v>
                </c:pt>
                <c:pt idx="2000">
                  <c:v>41.565161290322578</c:v>
                </c:pt>
                <c:pt idx="2001">
                  <c:v>41.57741935483871</c:v>
                </c:pt>
                <c:pt idx="2002">
                  <c:v>41.587419354838708</c:v>
                </c:pt>
                <c:pt idx="2003">
                  <c:v>41.686774193548395</c:v>
                </c:pt>
                <c:pt idx="2004">
                  <c:v>41.703870967741942</c:v>
                </c:pt>
                <c:pt idx="2005">
                  <c:v>41.721935483870972</c:v>
                </c:pt>
                <c:pt idx="2006">
                  <c:v>41.746451612903229</c:v>
                </c:pt>
                <c:pt idx="2007">
                  <c:v>41.732903225806453</c:v>
                </c:pt>
                <c:pt idx="2008">
                  <c:v>41.706129032258069</c:v>
                </c:pt>
                <c:pt idx="2009">
                  <c:v>41.722258064516133</c:v>
                </c:pt>
                <c:pt idx="2010">
                  <c:v>41.694516129032266</c:v>
                </c:pt>
                <c:pt idx="2011">
                  <c:v>41.648709677419362</c:v>
                </c:pt>
                <c:pt idx="2012">
                  <c:v>41.644516129032262</c:v>
                </c:pt>
                <c:pt idx="2013">
                  <c:v>41.604193548387094</c:v>
                </c:pt>
                <c:pt idx="2014">
                  <c:v>41.542580645161294</c:v>
                </c:pt>
                <c:pt idx="2015">
                  <c:v>41.481612903225802</c:v>
                </c:pt>
                <c:pt idx="2016">
                  <c:v>41.48516129032258</c:v>
                </c:pt>
                <c:pt idx="2017">
                  <c:v>41.460322580645162</c:v>
                </c:pt>
                <c:pt idx="2018">
                  <c:v>41.48419354838709</c:v>
                </c:pt>
                <c:pt idx="2019">
                  <c:v>41.439032258064515</c:v>
                </c:pt>
                <c:pt idx="2020">
                  <c:v>41.354193548387087</c:v>
                </c:pt>
                <c:pt idx="2021">
                  <c:v>41.415806451612902</c:v>
                </c:pt>
                <c:pt idx="2022">
                  <c:v>41.387096774193544</c:v>
                </c:pt>
                <c:pt idx="2023">
                  <c:v>41.464838709677416</c:v>
                </c:pt>
                <c:pt idx="2024">
                  <c:v>41.566451612903222</c:v>
                </c:pt>
                <c:pt idx="2025">
                  <c:v>41.559677419354834</c:v>
                </c:pt>
                <c:pt idx="2026">
                  <c:v>41.57322580645161</c:v>
                </c:pt>
                <c:pt idx="2027">
                  <c:v>41.633548387096774</c:v>
                </c:pt>
                <c:pt idx="2028">
                  <c:v>41.610645161290321</c:v>
                </c:pt>
                <c:pt idx="2029">
                  <c:v>41.664838709677419</c:v>
                </c:pt>
                <c:pt idx="2030">
                  <c:v>41.744193548387102</c:v>
                </c:pt>
                <c:pt idx="2031">
                  <c:v>41.747741935483873</c:v>
                </c:pt>
                <c:pt idx="2032">
                  <c:v>41.730322580645165</c:v>
                </c:pt>
                <c:pt idx="2033">
                  <c:v>41.781935483870967</c:v>
                </c:pt>
                <c:pt idx="2034">
                  <c:v>41.752258064516127</c:v>
                </c:pt>
                <c:pt idx="2035">
                  <c:v>41.768709677419359</c:v>
                </c:pt>
                <c:pt idx="2036">
                  <c:v>41.693225806451615</c:v>
                </c:pt>
                <c:pt idx="2037">
                  <c:v>41.770322580645164</c:v>
                </c:pt>
                <c:pt idx="2038">
                  <c:v>41.856774193548382</c:v>
                </c:pt>
                <c:pt idx="2039">
                  <c:v>41.911612903225809</c:v>
                </c:pt>
                <c:pt idx="2040">
                  <c:v>41.874838709677412</c:v>
                </c:pt>
                <c:pt idx="2041">
                  <c:v>41.888064516129035</c:v>
                </c:pt>
                <c:pt idx="2042">
                  <c:v>41.973548387096777</c:v>
                </c:pt>
                <c:pt idx="2043">
                  <c:v>42.036129032258067</c:v>
                </c:pt>
                <c:pt idx="2044">
                  <c:v>42.015161290322581</c:v>
                </c:pt>
                <c:pt idx="2045">
                  <c:v>42.016451612903225</c:v>
                </c:pt>
                <c:pt idx="2046">
                  <c:v>42.012258064516132</c:v>
                </c:pt>
                <c:pt idx="2047">
                  <c:v>41.917096774193553</c:v>
                </c:pt>
                <c:pt idx="2048">
                  <c:v>42.029677419354833</c:v>
                </c:pt>
                <c:pt idx="2049">
                  <c:v>42.066451612903215</c:v>
                </c:pt>
                <c:pt idx="2050">
                  <c:v>42.119354838709675</c:v>
                </c:pt>
                <c:pt idx="2051">
                  <c:v>42.237096774193546</c:v>
                </c:pt>
                <c:pt idx="2052">
                  <c:v>42.228387096774192</c:v>
                </c:pt>
                <c:pt idx="2053">
                  <c:v>42.206129032258062</c:v>
                </c:pt>
                <c:pt idx="2054">
                  <c:v>42.237419354838707</c:v>
                </c:pt>
                <c:pt idx="2055">
                  <c:v>42.231290322580641</c:v>
                </c:pt>
                <c:pt idx="2056">
                  <c:v>42.237096774193546</c:v>
                </c:pt>
                <c:pt idx="2057">
                  <c:v>42.299032258064507</c:v>
                </c:pt>
                <c:pt idx="2058">
                  <c:v>42.321612903225798</c:v>
                </c:pt>
                <c:pt idx="2059">
                  <c:v>42.357096774193543</c:v>
                </c:pt>
                <c:pt idx="2060">
                  <c:v>42.369677419354851</c:v>
                </c:pt>
                <c:pt idx="2061">
                  <c:v>42.26580645161291</c:v>
                </c:pt>
                <c:pt idx="2062">
                  <c:v>42.354838709677416</c:v>
                </c:pt>
                <c:pt idx="2063">
                  <c:v>42.371935483870978</c:v>
                </c:pt>
                <c:pt idx="2064">
                  <c:v>42.419032258064519</c:v>
                </c:pt>
                <c:pt idx="2065">
                  <c:v>42.421612903225814</c:v>
                </c:pt>
                <c:pt idx="2066">
                  <c:v>42.421290322580646</c:v>
                </c:pt>
                <c:pt idx="2067">
                  <c:v>42.512258064516125</c:v>
                </c:pt>
                <c:pt idx="2068">
                  <c:v>42.431612903225805</c:v>
                </c:pt>
                <c:pt idx="2069">
                  <c:v>42.452903225806452</c:v>
                </c:pt>
                <c:pt idx="2070">
                  <c:v>42.412580645161299</c:v>
                </c:pt>
                <c:pt idx="2071">
                  <c:v>42.391612903225813</c:v>
                </c:pt>
                <c:pt idx="2072">
                  <c:v>42.3767741935484</c:v>
                </c:pt>
                <c:pt idx="2073">
                  <c:v>42.382258064516137</c:v>
                </c:pt>
                <c:pt idx="2074">
                  <c:v>42.383548387096788</c:v>
                </c:pt>
                <c:pt idx="2075">
                  <c:v>42.465161290322591</c:v>
                </c:pt>
                <c:pt idx="2076">
                  <c:v>42.524516129032257</c:v>
                </c:pt>
                <c:pt idx="2077">
                  <c:v>42.500322580645161</c:v>
                </c:pt>
                <c:pt idx="2078">
                  <c:v>42.618064516129024</c:v>
                </c:pt>
                <c:pt idx="2079">
                  <c:v>42.605806451612899</c:v>
                </c:pt>
                <c:pt idx="2080">
                  <c:v>42.634838709677425</c:v>
                </c:pt>
                <c:pt idx="2081">
                  <c:v>42.632580645161298</c:v>
                </c:pt>
                <c:pt idx="2082">
                  <c:v>42.531935483870974</c:v>
                </c:pt>
                <c:pt idx="2083">
                  <c:v>42.447096774193554</c:v>
                </c:pt>
                <c:pt idx="2084">
                  <c:v>42.482258064516138</c:v>
                </c:pt>
                <c:pt idx="2085">
                  <c:v>42.38</c:v>
                </c:pt>
                <c:pt idx="2086">
                  <c:v>42.339354838709667</c:v>
                </c:pt>
                <c:pt idx="2087">
                  <c:v>42.337419354838694</c:v>
                </c:pt>
                <c:pt idx="2088">
                  <c:v>42.273870967741921</c:v>
                </c:pt>
                <c:pt idx="2089">
                  <c:v>42.293548387096763</c:v>
                </c:pt>
                <c:pt idx="2090">
                  <c:v>42.382903225806437</c:v>
                </c:pt>
                <c:pt idx="2091">
                  <c:v>42.332580645161272</c:v>
                </c:pt>
                <c:pt idx="2092">
                  <c:v>42.364838709677407</c:v>
                </c:pt>
                <c:pt idx="2093">
                  <c:v>42.318709677419349</c:v>
                </c:pt>
                <c:pt idx="2094">
                  <c:v>42.296451612903226</c:v>
                </c:pt>
                <c:pt idx="2095">
                  <c:v>42.237741935483875</c:v>
                </c:pt>
                <c:pt idx="2096">
                  <c:v>42.260000000000005</c:v>
                </c:pt>
                <c:pt idx="2097">
                  <c:v>42.272258064516137</c:v>
                </c:pt>
                <c:pt idx="2098">
                  <c:v>42.181290322580665</c:v>
                </c:pt>
                <c:pt idx="2099">
                  <c:v>42.23709677419356</c:v>
                </c:pt>
                <c:pt idx="2100">
                  <c:v>42.178709677419363</c:v>
                </c:pt>
                <c:pt idx="2101">
                  <c:v>42.222580645161294</c:v>
                </c:pt>
                <c:pt idx="2102">
                  <c:v>42.254838709677422</c:v>
                </c:pt>
                <c:pt idx="2103">
                  <c:v>42.243225806451605</c:v>
                </c:pt>
                <c:pt idx="2104">
                  <c:v>42.213225806451611</c:v>
                </c:pt>
                <c:pt idx="2105">
                  <c:v>42.131612903225808</c:v>
                </c:pt>
                <c:pt idx="2106">
                  <c:v>42.135806451612908</c:v>
                </c:pt>
                <c:pt idx="2107">
                  <c:v>42.08806451612903</c:v>
                </c:pt>
                <c:pt idx="2108">
                  <c:v>42.112580645161287</c:v>
                </c:pt>
                <c:pt idx="2109">
                  <c:v>42.090967741935479</c:v>
                </c:pt>
                <c:pt idx="2110">
                  <c:v>42.043225806451609</c:v>
                </c:pt>
                <c:pt idx="2111">
                  <c:v>42.04032258064516</c:v>
                </c:pt>
                <c:pt idx="2112">
                  <c:v>41.992903225806451</c:v>
                </c:pt>
                <c:pt idx="2113">
                  <c:v>42.085806451612896</c:v>
                </c:pt>
                <c:pt idx="2114">
                  <c:v>42.181612903225805</c:v>
                </c:pt>
                <c:pt idx="2115">
                  <c:v>42.099354838709672</c:v>
                </c:pt>
                <c:pt idx="2116">
                  <c:v>42.127096774193554</c:v>
                </c:pt>
                <c:pt idx="2117">
                  <c:v>42.173870967741948</c:v>
                </c:pt>
                <c:pt idx="2118">
                  <c:v>42.140967741935484</c:v>
                </c:pt>
                <c:pt idx="2119">
                  <c:v>42.162258064516131</c:v>
                </c:pt>
                <c:pt idx="2120">
                  <c:v>42.11</c:v>
                </c:pt>
                <c:pt idx="2121">
                  <c:v>42.051290322580648</c:v>
                </c:pt>
                <c:pt idx="2122">
                  <c:v>42.081290322580649</c:v>
                </c:pt>
                <c:pt idx="2123">
                  <c:v>42.150967741935496</c:v>
                </c:pt>
                <c:pt idx="2124">
                  <c:v>42.128387096774205</c:v>
                </c:pt>
                <c:pt idx="2125">
                  <c:v>42.15000000000002</c:v>
                </c:pt>
                <c:pt idx="2126">
                  <c:v>42.211935483870981</c:v>
                </c:pt>
                <c:pt idx="2127">
                  <c:v>42.159032258064528</c:v>
                </c:pt>
                <c:pt idx="2128">
                  <c:v>42.135161290322593</c:v>
                </c:pt>
                <c:pt idx="2129">
                  <c:v>42.253548387096778</c:v>
                </c:pt>
                <c:pt idx="2130">
                  <c:v>42.230645161290326</c:v>
                </c:pt>
                <c:pt idx="2131">
                  <c:v>42.205161290322579</c:v>
                </c:pt>
                <c:pt idx="2132">
                  <c:v>42.155806451612904</c:v>
                </c:pt>
                <c:pt idx="2133">
                  <c:v>42.170645161290317</c:v>
                </c:pt>
                <c:pt idx="2134">
                  <c:v>42.199032258064506</c:v>
                </c:pt>
                <c:pt idx="2135">
                  <c:v>42.214516129032248</c:v>
                </c:pt>
                <c:pt idx="2136">
                  <c:v>42.198387096774184</c:v>
                </c:pt>
                <c:pt idx="2137">
                  <c:v>42.216774193548382</c:v>
                </c:pt>
                <c:pt idx="2138">
                  <c:v>42.283870967741926</c:v>
                </c:pt>
                <c:pt idx="2139">
                  <c:v>42.257741935483871</c:v>
                </c:pt>
                <c:pt idx="2140">
                  <c:v>42.173225806451619</c:v>
                </c:pt>
                <c:pt idx="2141">
                  <c:v>42.126774193548393</c:v>
                </c:pt>
                <c:pt idx="2142">
                  <c:v>42.10709677419355</c:v>
                </c:pt>
                <c:pt idx="2143">
                  <c:v>42.155483870967757</c:v>
                </c:pt>
                <c:pt idx="2144">
                  <c:v>42.131612903225815</c:v>
                </c:pt>
                <c:pt idx="2145">
                  <c:v>42.078387096774193</c:v>
                </c:pt>
                <c:pt idx="2146">
                  <c:v>42.191290322580649</c:v>
                </c:pt>
                <c:pt idx="2147">
                  <c:v>42.16387096774195</c:v>
                </c:pt>
                <c:pt idx="2148">
                  <c:v>42.108387096774194</c:v>
                </c:pt>
                <c:pt idx="2149">
                  <c:v>42.193548387096783</c:v>
                </c:pt>
                <c:pt idx="2150">
                  <c:v>42.185161290322597</c:v>
                </c:pt>
                <c:pt idx="2151">
                  <c:v>42.200322580645171</c:v>
                </c:pt>
                <c:pt idx="2152">
                  <c:v>42.16290322580646</c:v>
                </c:pt>
                <c:pt idx="2153">
                  <c:v>42.217741935483872</c:v>
                </c:pt>
                <c:pt idx="2154">
                  <c:v>42.208709677419357</c:v>
                </c:pt>
                <c:pt idx="2155">
                  <c:v>42.287741935483879</c:v>
                </c:pt>
                <c:pt idx="2156">
                  <c:v>42.260645161290327</c:v>
                </c:pt>
                <c:pt idx="2157">
                  <c:v>42.203870967741942</c:v>
                </c:pt>
                <c:pt idx="2158">
                  <c:v>42.190322580645166</c:v>
                </c:pt>
                <c:pt idx="2159">
                  <c:v>42.274838709677418</c:v>
                </c:pt>
                <c:pt idx="2160">
                  <c:v>42.244838709677417</c:v>
                </c:pt>
                <c:pt idx="2161">
                  <c:v>42.203870967741928</c:v>
                </c:pt>
                <c:pt idx="2162">
                  <c:v>42.183870967741932</c:v>
                </c:pt>
                <c:pt idx="2163">
                  <c:v>42.273548387096767</c:v>
                </c:pt>
                <c:pt idx="2164">
                  <c:v>42.285806451612899</c:v>
                </c:pt>
                <c:pt idx="2165">
                  <c:v>42.258064516129025</c:v>
                </c:pt>
                <c:pt idx="2166">
                  <c:v>42.201935483870962</c:v>
                </c:pt>
                <c:pt idx="2167">
                  <c:v>42.206129032258062</c:v>
                </c:pt>
                <c:pt idx="2168">
                  <c:v>42.174516129032256</c:v>
                </c:pt>
                <c:pt idx="2169">
                  <c:v>42.164838709677412</c:v>
                </c:pt>
                <c:pt idx="2170">
                  <c:v>42.258064516129025</c:v>
                </c:pt>
                <c:pt idx="2171">
                  <c:v>42.350645161290309</c:v>
                </c:pt>
                <c:pt idx="2172">
                  <c:v>42.429677419354832</c:v>
                </c:pt>
                <c:pt idx="2173">
                  <c:v>42.373870967741922</c:v>
                </c:pt>
                <c:pt idx="2174">
                  <c:v>42.290967741935482</c:v>
                </c:pt>
                <c:pt idx="2175">
                  <c:v>42.319354838709678</c:v>
                </c:pt>
                <c:pt idx="2176">
                  <c:v>42.379354838709688</c:v>
                </c:pt>
                <c:pt idx="2177">
                  <c:v>42.386129032258069</c:v>
                </c:pt>
                <c:pt idx="2178">
                  <c:v>42.442903225806454</c:v>
                </c:pt>
                <c:pt idx="2179">
                  <c:v>42.46</c:v>
                </c:pt>
                <c:pt idx="2180">
                  <c:v>42.384516129032264</c:v>
                </c:pt>
                <c:pt idx="2181">
                  <c:v>42.345161290322579</c:v>
                </c:pt>
                <c:pt idx="2182">
                  <c:v>42.284516129032255</c:v>
                </c:pt>
                <c:pt idx="2183">
                  <c:v>42.368064516129024</c:v>
                </c:pt>
                <c:pt idx="2184">
                  <c:v>42.283870967741933</c:v>
                </c:pt>
                <c:pt idx="2185">
                  <c:v>42.192580645161293</c:v>
                </c:pt>
                <c:pt idx="2186">
                  <c:v>42.146451612903228</c:v>
                </c:pt>
                <c:pt idx="2187">
                  <c:v>42.153548387096777</c:v>
                </c:pt>
                <c:pt idx="2188">
                  <c:v>42.109999999999992</c:v>
                </c:pt>
                <c:pt idx="2189">
                  <c:v>42.059354838709673</c:v>
                </c:pt>
                <c:pt idx="2190">
                  <c:v>42.058064516129029</c:v>
                </c:pt>
                <c:pt idx="2191">
                  <c:v>42.041290322580643</c:v>
                </c:pt>
                <c:pt idx="2192">
                  <c:v>42.117419354838702</c:v>
                </c:pt>
                <c:pt idx="2193">
                  <c:v>42.212903225806457</c:v>
                </c:pt>
                <c:pt idx="2194">
                  <c:v>42.200645161290325</c:v>
                </c:pt>
                <c:pt idx="2195">
                  <c:v>42.174516129032263</c:v>
                </c:pt>
                <c:pt idx="2196">
                  <c:v>42.194193548387098</c:v>
                </c:pt>
                <c:pt idx="2197">
                  <c:v>42.270967741935479</c:v>
                </c:pt>
                <c:pt idx="2198">
                  <c:v>42.328387096774193</c:v>
                </c:pt>
                <c:pt idx="2199">
                  <c:v>42.315806451612907</c:v>
                </c:pt>
                <c:pt idx="2200">
                  <c:v>42.264516129032259</c:v>
                </c:pt>
                <c:pt idx="2201">
                  <c:v>42.270322580645164</c:v>
                </c:pt>
                <c:pt idx="2202">
                  <c:v>42.270645161290318</c:v>
                </c:pt>
                <c:pt idx="2203">
                  <c:v>42.282258064516128</c:v>
                </c:pt>
                <c:pt idx="2204">
                  <c:v>42.234838709677412</c:v>
                </c:pt>
                <c:pt idx="2205">
                  <c:v>42.307096774193546</c:v>
                </c:pt>
                <c:pt idx="2206">
                  <c:v>42.214193548387101</c:v>
                </c:pt>
                <c:pt idx="2207">
                  <c:v>42.133225806451613</c:v>
                </c:pt>
                <c:pt idx="2208">
                  <c:v>42.094838709677418</c:v>
                </c:pt>
                <c:pt idx="2209">
                  <c:v>42.063870967741934</c:v>
                </c:pt>
                <c:pt idx="2210">
                  <c:v>42.014516129032266</c:v>
                </c:pt>
                <c:pt idx="2211">
                  <c:v>42.063225806451612</c:v>
                </c:pt>
                <c:pt idx="2212">
                  <c:v>42.105483870967738</c:v>
                </c:pt>
                <c:pt idx="2213">
                  <c:v>42.123225806451607</c:v>
                </c:pt>
                <c:pt idx="2214">
                  <c:v>42.058709677419351</c:v>
                </c:pt>
                <c:pt idx="2215">
                  <c:v>42.143870967741925</c:v>
                </c:pt>
                <c:pt idx="2216">
                  <c:v>42.193548387096762</c:v>
                </c:pt>
                <c:pt idx="2217">
                  <c:v>42.115483870967722</c:v>
                </c:pt>
                <c:pt idx="2218">
                  <c:v>42.156774193548372</c:v>
                </c:pt>
                <c:pt idx="2219">
                  <c:v>42.207741935483853</c:v>
                </c:pt>
                <c:pt idx="2220">
                  <c:v>42.237741935483854</c:v>
                </c:pt>
                <c:pt idx="2221">
                  <c:v>42.201935483870962</c:v>
                </c:pt>
                <c:pt idx="2222">
                  <c:v>42.180322580645154</c:v>
                </c:pt>
                <c:pt idx="2223">
                  <c:v>41.9258064516129</c:v>
                </c:pt>
                <c:pt idx="2224">
                  <c:v>41.730967741935473</c:v>
                </c:pt>
                <c:pt idx="2225">
                  <c:v>41.511290322580635</c:v>
                </c:pt>
                <c:pt idx="2226">
                  <c:v>41.65354838709677</c:v>
                </c:pt>
                <c:pt idx="2227">
                  <c:v>41.605483870967731</c:v>
                </c:pt>
                <c:pt idx="2228">
                  <c:v>41.451612903225801</c:v>
                </c:pt>
                <c:pt idx="2229">
                  <c:v>41.430645161290322</c:v>
                </c:pt>
                <c:pt idx="2230">
                  <c:v>41.345161290322572</c:v>
                </c:pt>
                <c:pt idx="2231">
                  <c:v>41.368064516129031</c:v>
                </c:pt>
                <c:pt idx="2232">
                  <c:v>41.398387096774194</c:v>
                </c:pt>
                <c:pt idx="2233">
                  <c:v>41.4258064516129</c:v>
                </c:pt>
                <c:pt idx="2234">
                  <c:v>41.506129032258066</c:v>
                </c:pt>
                <c:pt idx="2235">
                  <c:v>41.426129032258061</c:v>
                </c:pt>
                <c:pt idx="2236">
                  <c:v>41.46</c:v>
                </c:pt>
                <c:pt idx="2237">
                  <c:v>41.330967741935474</c:v>
                </c:pt>
                <c:pt idx="2238">
                  <c:v>41.34451612903225</c:v>
                </c:pt>
                <c:pt idx="2239">
                  <c:v>41.169999999999995</c:v>
                </c:pt>
                <c:pt idx="2240">
                  <c:v>40.981290322580641</c:v>
                </c:pt>
                <c:pt idx="2241">
                  <c:v>40.970645161290328</c:v>
                </c:pt>
                <c:pt idx="2242">
                  <c:v>40.824838709677422</c:v>
                </c:pt>
                <c:pt idx="2243">
                  <c:v>40.782903225806457</c:v>
                </c:pt>
                <c:pt idx="2244">
                  <c:v>40.65129032258065</c:v>
                </c:pt>
                <c:pt idx="2245">
                  <c:v>40.731612903225809</c:v>
                </c:pt>
                <c:pt idx="2246">
                  <c:v>40.473225806451609</c:v>
                </c:pt>
                <c:pt idx="2247">
                  <c:v>40.319354838709671</c:v>
                </c:pt>
                <c:pt idx="2248">
                  <c:v>40.48096774193548</c:v>
                </c:pt>
                <c:pt idx="2249">
                  <c:v>40.439032258064515</c:v>
                </c:pt>
                <c:pt idx="2250">
                  <c:v>40.469354838709677</c:v>
                </c:pt>
                <c:pt idx="2251">
                  <c:v>40.473225806451616</c:v>
                </c:pt>
                <c:pt idx="2252">
                  <c:v>40.511935483870964</c:v>
                </c:pt>
                <c:pt idx="2253">
                  <c:v>40.378064516129037</c:v>
                </c:pt>
                <c:pt idx="2254">
                  <c:v>40.417096774193546</c:v>
                </c:pt>
                <c:pt idx="2255">
                  <c:v>40.458387096774196</c:v>
                </c:pt>
                <c:pt idx="2256">
                  <c:v>40.631290322580654</c:v>
                </c:pt>
                <c:pt idx="2257">
                  <c:v>40.317419354838712</c:v>
                </c:pt>
                <c:pt idx="2258">
                  <c:v>40.222258064516133</c:v>
                </c:pt>
                <c:pt idx="2259">
                  <c:v>40.155161290322589</c:v>
                </c:pt>
                <c:pt idx="2260">
                  <c:v>40.021612903225801</c:v>
                </c:pt>
                <c:pt idx="2261">
                  <c:v>39.927096774193544</c:v>
                </c:pt>
                <c:pt idx="2262">
                  <c:v>39.772580645161284</c:v>
                </c:pt>
                <c:pt idx="2263">
                  <c:v>39.548387096774185</c:v>
                </c:pt>
                <c:pt idx="2264">
                  <c:v>39.289677419354831</c:v>
                </c:pt>
                <c:pt idx="2265">
                  <c:v>38.940967741935481</c:v>
                </c:pt>
                <c:pt idx="2266">
                  <c:v>38.942580645161286</c:v>
                </c:pt>
                <c:pt idx="2267">
                  <c:v>38.714516129032255</c:v>
                </c:pt>
                <c:pt idx="2268">
                  <c:v>38.662580645161292</c:v>
                </c:pt>
                <c:pt idx="2269">
                  <c:v>38.505483870967744</c:v>
                </c:pt>
                <c:pt idx="2270">
                  <c:v>38.504838709677422</c:v>
                </c:pt>
                <c:pt idx="2271">
                  <c:v>38.539032258064523</c:v>
                </c:pt>
                <c:pt idx="2272">
                  <c:v>38.372580645161285</c:v>
                </c:pt>
                <c:pt idx="2273">
                  <c:v>38.285161290322577</c:v>
                </c:pt>
                <c:pt idx="2274">
                  <c:v>38.171290322580646</c:v>
                </c:pt>
                <c:pt idx="2275">
                  <c:v>36.985806451612902</c:v>
                </c:pt>
                <c:pt idx="2276">
                  <c:v>35.563870967741934</c:v>
                </c:pt>
                <c:pt idx="2277">
                  <c:v>34.410000000000004</c:v>
                </c:pt>
                <c:pt idx="2278">
                  <c:v>33.206129032258069</c:v>
                </c:pt>
                <c:pt idx="2279">
                  <c:v>31.753225806451614</c:v>
                </c:pt>
                <c:pt idx="2280">
                  <c:v>30.397419354838711</c:v>
                </c:pt>
                <c:pt idx="2281">
                  <c:v>29.000322580645165</c:v>
                </c:pt>
                <c:pt idx="2282">
                  <c:v>27.675483870967739</c:v>
                </c:pt>
                <c:pt idx="2283">
                  <c:v>26.269354838709678</c:v>
                </c:pt>
                <c:pt idx="2284">
                  <c:v>25.062903225806448</c:v>
                </c:pt>
                <c:pt idx="2285">
                  <c:v>23.877096774193546</c:v>
                </c:pt>
                <c:pt idx="2286">
                  <c:v>22.622580645161285</c:v>
                </c:pt>
                <c:pt idx="2287">
                  <c:v>21.262258064516129</c:v>
                </c:pt>
                <c:pt idx="2288">
                  <c:v>20.105483870967738</c:v>
                </c:pt>
                <c:pt idx="2289">
                  <c:v>18.894516129032255</c:v>
                </c:pt>
                <c:pt idx="2290">
                  <c:v>17.719677419354838</c:v>
                </c:pt>
                <c:pt idx="2291">
                  <c:v>17.88967741935484</c:v>
                </c:pt>
                <c:pt idx="2292">
                  <c:v>18.09225806451613</c:v>
                </c:pt>
                <c:pt idx="2293">
                  <c:v>18.239032258064519</c:v>
                </c:pt>
                <c:pt idx="2294">
                  <c:v>18.373870967741937</c:v>
                </c:pt>
                <c:pt idx="2295">
                  <c:v>18.58258064516129</c:v>
                </c:pt>
                <c:pt idx="2296">
                  <c:v>18.758709677419354</c:v>
                </c:pt>
                <c:pt idx="2297">
                  <c:v>18.963225806451611</c:v>
                </c:pt>
                <c:pt idx="2298">
                  <c:v>19.083548387096776</c:v>
                </c:pt>
                <c:pt idx="2299">
                  <c:v>19.273548387096771</c:v>
                </c:pt>
                <c:pt idx="2300">
                  <c:v>19.472258064516129</c:v>
                </c:pt>
                <c:pt idx="2301">
                  <c:v>19.59225806451613</c:v>
                </c:pt>
                <c:pt idx="2302">
                  <c:v>19.80290322580645</c:v>
                </c:pt>
                <c:pt idx="2303">
                  <c:v>20.085161290322585</c:v>
                </c:pt>
                <c:pt idx="2304">
                  <c:v>20.3441935483871</c:v>
                </c:pt>
                <c:pt idx="2305">
                  <c:v>20.468709677419358</c:v>
                </c:pt>
                <c:pt idx="2306">
                  <c:v>21.79451612903226</c:v>
                </c:pt>
                <c:pt idx="2307">
                  <c:v>23.162903225806453</c:v>
                </c:pt>
                <c:pt idx="2308">
                  <c:v>24.495161290322581</c:v>
                </c:pt>
                <c:pt idx="2309">
                  <c:v>25.825483870967744</c:v>
                </c:pt>
                <c:pt idx="2310">
                  <c:v>27.183548387096774</c:v>
                </c:pt>
                <c:pt idx="2311">
                  <c:v>28.497419354838712</c:v>
                </c:pt>
                <c:pt idx="2312">
                  <c:v>29.837741935483873</c:v>
                </c:pt>
                <c:pt idx="2313">
                  <c:v>31.203225806451616</c:v>
                </c:pt>
                <c:pt idx="2314">
                  <c:v>32.588387096774191</c:v>
                </c:pt>
                <c:pt idx="2315">
                  <c:v>33.889032258064518</c:v>
                </c:pt>
                <c:pt idx="2316">
                  <c:v>35.196774193548386</c:v>
                </c:pt>
                <c:pt idx="2317">
                  <c:v>36.489999999999995</c:v>
                </c:pt>
                <c:pt idx="2318">
                  <c:v>37.823225806451603</c:v>
                </c:pt>
                <c:pt idx="2319">
                  <c:v>39.203548387096767</c:v>
                </c:pt>
                <c:pt idx="2320">
                  <c:v>40.581935483870957</c:v>
                </c:pt>
                <c:pt idx="2321">
                  <c:v>41.951935483870962</c:v>
                </c:pt>
                <c:pt idx="2322">
                  <c:v>41.951612903225808</c:v>
                </c:pt>
                <c:pt idx="2323">
                  <c:v>41.89290322580645</c:v>
                </c:pt>
                <c:pt idx="2324">
                  <c:v>41.876129032258056</c:v>
                </c:pt>
                <c:pt idx="2325">
                  <c:v>41.894516129032262</c:v>
                </c:pt>
                <c:pt idx="2326">
                  <c:v>41.908709677419353</c:v>
                </c:pt>
                <c:pt idx="2327">
                  <c:v>42.003870967741932</c:v>
                </c:pt>
                <c:pt idx="2328">
                  <c:v>41.967419354838718</c:v>
                </c:pt>
                <c:pt idx="2329">
                  <c:v>42.052580645161292</c:v>
                </c:pt>
                <c:pt idx="2330">
                  <c:v>42.129354838709695</c:v>
                </c:pt>
                <c:pt idx="2331">
                  <c:v>42.15548387096775</c:v>
                </c:pt>
                <c:pt idx="2332">
                  <c:v>42.189354838709683</c:v>
                </c:pt>
                <c:pt idx="2333">
                  <c:v>42.170000000000009</c:v>
                </c:pt>
                <c:pt idx="2334">
                  <c:v>42.100645161290331</c:v>
                </c:pt>
                <c:pt idx="2335">
                  <c:v>42.013870967741944</c:v>
                </c:pt>
                <c:pt idx="2336">
                  <c:v>41.98612903225807</c:v>
                </c:pt>
                <c:pt idx="2337">
                  <c:v>41.981290322580648</c:v>
                </c:pt>
                <c:pt idx="2338">
                  <c:v>42.026129032258069</c:v>
                </c:pt>
                <c:pt idx="2339">
                  <c:v>41.989354838709687</c:v>
                </c:pt>
                <c:pt idx="2340">
                  <c:v>41.956129032258076</c:v>
                </c:pt>
                <c:pt idx="2341">
                  <c:v>41.952903225806459</c:v>
                </c:pt>
                <c:pt idx="2342">
                  <c:v>41.937741935483878</c:v>
                </c:pt>
                <c:pt idx="2343">
                  <c:v>41.981612903225809</c:v>
                </c:pt>
                <c:pt idx="2344">
                  <c:v>41.917741935483875</c:v>
                </c:pt>
                <c:pt idx="2345">
                  <c:v>41.862580645161287</c:v>
                </c:pt>
                <c:pt idx="2346">
                  <c:v>41.95870967741935</c:v>
                </c:pt>
                <c:pt idx="2347">
                  <c:v>41.994516129032263</c:v>
                </c:pt>
                <c:pt idx="2348">
                  <c:v>41.997419354838712</c:v>
                </c:pt>
                <c:pt idx="2349">
                  <c:v>42.006129032258059</c:v>
                </c:pt>
                <c:pt idx="2350">
                  <c:v>41.998387096774188</c:v>
                </c:pt>
                <c:pt idx="2351">
                  <c:v>42.006129032258059</c:v>
                </c:pt>
                <c:pt idx="2352">
                  <c:v>42.022903225806459</c:v>
                </c:pt>
                <c:pt idx="2353">
                  <c:v>42.030322580645155</c:v>
                </c:pt>
                <c:pt idx="2354">
                  <c:v>42.096129032258055</c:v>
                </c:pt>
                <c:pt idx="2355">
                  <c:v>42.15</c:v>
                </c:pt>
                <c:pt idx="2356">
                  <c:v>42.148064516129033</c:v>
                </c:pt>
                <c:pt idx="2357">
                  <c:v>42.07870967741934</c:v>
                </c:pt>
                <c:pt idx="2358">
                  <c:v>42.094838709677411</c:v>
                </c:pt>
                <c:pt idx="2359">
                  <c:v>42.062258064516122</c:v>
                </c:pt>
                <c:pt idx="2360">
                  <c:v>42.021612903225808</c:v>
                </c:pt>
                <c:pt idx="2361">
                  <c:v>41.910000000000004</c:v>
                </c:pt>
                <c:pt idx="2362">
                  <c:v>41.808064516129036</c:v>
                </c:pt>
                <c:pt idx="2363">
                  <c:v>41.784838709677423</c:v>
                </c:pt>
                <c:pt idx="2364">
                  <c:v>41.771290322580647</c:v>
                </c:pt>
                <c:pt idx="2365">
                  <c:v>41.729354838709682</c:v>
                </c:pt>
                <c:pt idx="2366">
                  <c:v>41.74</c:v>
                </c:pt>
                <c:pt idx="2367">
                  <c:v>41.762258064516132</c:v>
                </c:pt>
                <c:pt idx="2368">
                  <c:v>41.758709677419354</c:v>
                </c:pt>
                <c:pt idx="2369">
                  <c:v>41.756451612903227</c:v>
                </c:pt>
                <c:pt idx="2370">
                  <c:v>41.755806451612898</c:v>
                </c:pt>
                <c:pt idx="2371">
                  <c:v>41.848387096774182</c:v>
                </c:pt>
                <c:pt idx="2372">
                  <c:v>41.801612903225802</c:v>
                </c:pt>
                <c:pt idx="2373">
                  <c:v>41.814193548387095</c:v>
                </c:pt>
                <c:pt idx="2374">
                  <c:v>41.7541935483871</c:v>
                </c:pt>
                <c:pt idx="2375">
                  <c:v>41.846129032258062</c:v>
                </c:pt>
                <c:pt idx="2376">
                  <c:v>41.927096774193551</c:v>
                </c:pt>
                <c:pt idx="2377">
                  <c:v>41.90225806451614</c:v>
                </c:pt>
                <c:pt idx="2378">
                  <c:v>41.858387096774194</c:v>
                </c:pt>
                <c:pt idx="2379">
                  <c:v>41.857741935483872</c:v>
                </c:pt>
                <c:pt idx="2380">
                  <c:v>41.822903225806449</c:v>
                </c:pt>
                <c:pt idx="2381">
                  <c:v>41.789354838709677</c:v>
                </c:pt>
                <c:pt idx="2382">
                  <c:v>41.783870967741933</c:v>
                </c:pt>
                <c:pt idx="2383">
                  <c:v>41.7</c:v>
                </c:pt>
                <c:pt idx="2384">
                  <c:v>41.671612903225814</c:v>
                </c:pt>
                <c:pt idx="2385">
                  <c:v>41.643548387096779</c:v>
                </c:pt>
                <c:pt idx="2386">
                  <c:v>41.67032258064517</c:v>
                </c:pt>
                <c:pt idx="2387">
                  <c:v>41.623870967741944</c:v>
                </c:pt>
                <c:pt idx="2388">
                  <c:v>41.604193548387101</c:v>
                </c:pt>
                <c:pt idx="2389">
                  <c:v>41.564838709677417</c:v>
                </c:pt>
                <c:pt idx="2390">
                  <c:v>41.537419354838711</c:v>
                </c:pt>
                <c:pt idx="2391">
                  <c:v>41.557096774193539</c:v>
                </c:pt>
                <c:pt idx="2392">
                  <c:v>41.598387096774189</c:v>
                </c:pt>
                <c:pt idx="2393">
                  <c:v>41.629354838709666</c:v>
                </c:pt>
                <c:pt idx="2394">
                  <c:v>41.629999999999988</c:v>
                </c:pt>
                <c:pt idx="2395">
                  <c:v>41.621290322580641</c:v>
                </c:pt>
                <c:pt idx="2396">
                  <c:v>41.73</c:v>
                </c:pt>
                <c:pt idx="2397">
                  <c:v>41.733548387096775</c:v>
                </c:pt>
                <c:pt idx="2398">
                  <c:v>41.781935483870967</c:v>
                </c:pt>
                <c:pt idx="2399">
                  <c:v>41.851935483870967</c:v>
                </c:pt>
                <c:pt idx="2400">
                  <c:v>41.852258064516136</c:v>
                </c:pt>
                <c:pt idx="2401">
                  <c:v>41.906774193548401</c:v>
                </c:pt>
                <c:pt idx="2402">
                  <c:v>41.920967741935485</c:v>
                </c:pt>
                <c:pt idx="2403">
                  <c:v>41.967741935483872</c:v>
                </c:pt>
                <c:pt idx="2404">
                  <c:v>42.000322580645161</c:v>
                </c:pt>
                <c:pt idx="2405">
                  <c:v>42.028387096774203</c:v>
                </c:pt>
                <c:pt idx="2406">
                  <c:v>41.958709677419357</c:v>
                </c:pt>
                <c:pt idx="2407">
                  <c:v>41.862903225806456</c:v>
                </c:pt>
                <c:pt idx="2408">
                  <c:v>41.832903225806454</c:v>
                </c:pt>
                <c:pt idx="2409">
                  <c:v>41.855806451612906</c:v>
                </c:pt>
                <c:pt idx="2410">
                  <c:v>41.918064516129036</c:v>
                </c:pt>
                <c:pt idx="2411">
                  <c:v>42.004838709677415</c:v>
                </c:pt>
                <c:pt idx="2412">
                  <c:v>41.983870967741929</c:v>
                </c:pt>
                <c:pt idx="2413">
                  <c:v>41.965806451612899</c:v>
                </c:pt>
                <c:pt idx="2414">
                  <c:v>42.033225806451604</c:v>
                </c:pt>
                <c:pt idx="2415">
                  <c:v>42.035483870967731</c:v>
                </c:pt>
                <c:pt idx="2416">
                  <c:v>42.046129032258058</c:v>
                </c:pt>
                <c:pt idx="2417">
                  <c:v>42.035806451612899</c:v>
                </c:pt>
                <c:pt idx="2418">
                  <c:v>42.048387096774185</c:v>
                </c:pt>
                <c:pt idx="2419">
                  <c:v>42.108064516129026</c:v>
                </c:pt>
                <c:pt idx="2420">
                  <c:v>42.042258064516126</c:v>
                </c:pt>
                <c:pt idx="2421">
                  <c:v>42.10516129032257</c:v>
                </c:pt>
                <c:pt idx="2422">
                  <c:v>42.068064516129027</c:v>
                </c:pt>
                <c:pt idx="2423">
                  <c:v>42.087333333333326</c:v>
                </c:pt>
                <c:pt idx="2424">
                  <c:v>42.104482758620691</c:v>
                </c:pt>
                <c:pt idx="2425">
                  <c:v>42.132857142857141</c:v>
                </c:pt>
                <c:pt idx="2426">
                  <c:v>42.14222222222223</c:v>
                </c:pt>
                <c:pt idx="2427">
                  <c:v>42.081153846153853</c:v>
                </c:pt>
                <c:pt idx="2428">
                  <c:v>42.096000000000004</c:v>
                </c:pt>
                <c:pt idx="2429">
                  <c:v>42.090833333333343</c:v>
                </c:pt>
                <c:pt idx="2430">
                  <c:v>42.050869565217397</c:v>
                </c:pt>
                <c:pt idx="2431">
                  <c:v>41.973636363636366</c:v>
                </c:pt>
                <c:pt idx="2432">
                  <c:v>41.980476190476189</c:v>
                </c:pt>
                <c:pt idx="2433">
                  <c:v>41.903500000000008</c:v>
                </c:pt>
                <c:pt idx="2434">
                  <c:v>41.898421052631583</c:v>
                </c:pt>
                <c:pt idx="2435">
                  <c:v>41.911666666666669</c:v>
                </c:pt>
                <c:pt idx="2436">
                  <c:v>41.911176470588238</c:v>
                </c:pt>
                <c:pt idx="2437">
                  <c:v>41.965625000000003</c:v>
                </c:pt>
                <c:pt idx="2438">
                  <c:v>42.045333333333332</c:v>
                </c:pt>
                <c:pt idx="2439">
                  <c:v>42.07714285714286</c:v>
                </c:pt>
                <c:pt idx="2440">
                  <c:v>42.160000000000004</c:v>
                </c:pt>
                <c:pt idx="2441">
                  <c:v>42.165833333333332</c:v>
                </c:pt>
                <c:pt idx="2442">
                  <c:v>42.07090909090909</c:v>
                </c:pt>
                <c:pt idx="2443">
                  <c:v>42.191999999999993</c:v>
                </c:pt>
                <c:pt idx="2444">
                  <c:v>42.18666666666666</c:v>
                </c:pt>
                <c:pt idx="2445">
                  <c:v>42.15</c:v>
                </c:pt>
                <c:pt idx="2446">
                  <c:v>42.132857142857141</c:v>
                </c:pt>
                <c:pt idx="2447">
                  <c:v>42.101666666666667</c:v>
                </c:pt>
                <c:pt idx="2448">
                  <c:v>41.892000000000003</c:v>
                </c:pt>
                <c:pt idx="2449">
                  <c:v>41.962500000000006</c:v>
                </c:pt>
                <c:pt idx="2450">
                  <c:v>41.836666666666666</c:v>
                </c:pt>
                <c:pt idx="2451">
                  <c:v>42.414999999999999</c:v>
                </c:pt>
              </c:numCache>
            </c:numRef>
          </c:val>
          <c:smooth val="0"/>
          <c:extLst>
            <c:ext xmlns:c16="http://schemas.microsoft.com/office/drawing/2014/chart" uri="{C3380CC4-5D6E-409C-BE32-E72D297353CC}">
              <c16:uniqueId val="{00000001-29A8-CF42-9633-B19AC805DF98}"/>
            </c:ext>
          </c:extLst>
        </c:ser>
        <c:ser>
          <c:idx val="2"/>
          <c:order val="2"/>
          <c:tx>
            <c:strRef>
              <c:f>'DRT Rolling Mean'!$E$1</c:f>
              <c:strCache>
                <c:ptCount val="1"/>
                <c:pt idx="0">
                  <c:v>Pump Speed (RPM)</c:v>
                </c:pt>
              </c:strCache>
            </c:strRef>
          </c:tx>
          <c:spPr>
            <a:ln w="28575" cap="rnd">
              <a:solidFill>
                <a:schemeClr val="accent3"/>
              </a:solidFill>
              <a:round/>
            </a:ln>
            <a:effectLst/>
          </c:spPr>
          <c:marker>
            <c:symbol val="none"/>
          </c:marker>
          <c:cat>
            <c:numRef>
              <c:f>'DRT Rolling Mean'!$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E$2:$E$2453</c:f>
              <c:numCache>
                <c:formatCode>#,##0.00</c:formatCode>
                <c:ptCount val="2452"/>
                <c:pt idx="0">
                  <c:v>88.935483870967744</c:v>
                </c:pt>
                <c:pt idx="1">
                  <c:v>88.387096774193552</c:v>
                </c:pt>
                <c:pt idx="2">
                  <c:v>88.548387096774192</c:v>
                </c:pt>
                <c:pt idx="3">
                  <c:v>89.032258064516128</c:v>
                </c:pt>
                <c:pt idx="4">
                  <c:v>88.967741935483872</c:v>
                </c:pt>
                <c:pt idx="5">
                  <c:v>88.967741935483872</c:v>
                </c:pt>
                <c:pt idx="6">
                  <c:v>88.806451612903231</c:v>
                </c:pt>
                <c:pt idx="7">
                  <c:v>88.741935483870961</c:v>
                </c:pt>
                <c:pt idx="8">
                  <c:v>88.193548387096769</c:v>
                </c:pt>
                <c:pt idx="9">
                  <c:v>87.870967741935488</c:v>
                </c:pt>
                <c:pt idx="10">
                  <c:v>88.064516129032256</c:v>
                </c:pt>
                <c:pt idx="11">
                  <c:v>87.935483870967744</c:v>
                </c:pt>
                <c:pt idx="12">
                  <c:v>88.290322580645167</c:v>
                </c:pt>
                <c:pt idx="13">
                  <c:v>88.677419354838705</c:v>
                </c:pt>
                <c:pt idx="14">
                  <c:v>88.870967741935488</c:v>
                </c:pt>
                <c:pt idx="15">
                  <c:v>88.903225806451616</c:v>
                </c:pt>
                <c:pt idx="16">
                  <c:v>89.161290322580641</c:v>
                </c:pt>
                <c:pt idx="17">
                  <c:v>89.354838709677423</c:v>
                </c:pt>
                <c:pt idx="18">
                  <c:v>89.290322580645167</c:v>
                </c:pt>
                <c:pt idx="19">
                  <c:v>89.096774193548384</c:v>
                </c:pt>
                <c:pt idx="20">
                  <c:v>89.032258064516128</c:v>
                </c:pt>
                <c:pt idx="21">
                  <c:v>88.935483870967744</c:v>
                </c:pt>
                <c:pt idx="22">
                  <c:v>88.709677419354833</c:v>
                </c:pt>
                <c:pt idx="23">
                  <c:v>88.516129032258064</c:v>
                </c:pt>
                <c:pt idx="24">
                  <c:v>88.612903225806448</c:v>
                </c:pt>
                <c:pt idx="25">
                  <c:v>88.096774193548384</c:v>
                </c:pt>
                <c:pt idx="26">
                  <c:v>88.58064516129032</c:v>
                </c:pt>
                <c:pt idx="27">
                  <c:v>88.322580645161295</c:v>
                </c:pt>
                <c:pt idx="28">
                  <c:v>88.451612903225808</c:v>
                </c:pt>
                <c:pt idx="29">
                  <c:v>87.903225806451616</c:v>
                </c:pt>
                <c:pt idx="30">
                  <c:v>87.935483870967744</c:v>
                </c:pt>
                <c:pt idx="31">
                  <c:v>87.41935483870968</c:v>
                </c:pt>
                <c:pt idx="32">
                  <c:v>87.58064516129032</c:v>
                </c:pt>
                <c:pt idx="33">
                  <c:v>87.290322580645167</c:v>
                </c:pt>
                <c:pt idx="34">
                  <c:v>87.451612903225808</c:v>
                </c:pt>
                <c:pt idx="35">
                  <c:v>87.41935483870968</c:v>
                </c:pt>
                <c:pt idx="36">
                  <c:v>87.354838709677423</c:v>
                </c:pt>
                <c:pt idx="37">
                  <c:v>87.354838709677423</c:v>
                </c:pt>
                <c:pt idx="38">
                  <c:v>87.709677419354833</c:v>
                </c:pt>
                <c:pt idx="39">
                  <c:v>87.806451612903231</c:v>
                </c:pt>
                <c:pt idx="40">
                  <c:v>87.935483870967744</c:v>
                </c:pt>
                <c:pt idx="41">
                  <c:v>87.741935483870961</c:v>
                </c:pt>
                <c:pt idx="42">
                  <c:v>87.870967741935488</c:v>
                </c:pt>
                <c:pt idx="43">
                  <c:v>87.483870967741936</c:v>
                </c:pt>
                <c:pt idx="44">
                  <c:v>87.225806451612897</c:v>
                </c:pt>
                <c:pt idx="45">
                  <c:v>87.129032258064512</c:v>
                </c:pt>
                <c:pt idx="46">
                  <c:v>86.838709677419359</c:v>
                </c:pt>
                <c:pt idx="47">
                  <c:v>86.483870967741936</c:v>
                </c:pt>
                <c:pt idx="48">
                  <c:v>86.451612903225808</c:v>
                </c:pt>
                <c:pt idx="49">
                  <c:v>86.225806451612897</c:v>
                </c:pt>
                <c:pt idx="50">
                  <c:v>86.58064516129032</c:v>
                </c:pt>
                <c:pt idx="51">
                  <c:v>87.193548387096769</c:v>
                </c:pt>
                <c:pt idx="52">
                  <c:v>87.064516129032256</c:v>
                </c:pt>
                <c:pt idx="53">
                  <c:v>87.129032258064512</c:v>
                </c:pt>
                <c:pt idx="54">
                  <c:v>87.612903225806448</c:v>
                </c:pt>
                <c:pt idx="55">
                  <c:v>87.709677419354833</c:v>
                </c:pt>
                <c:pt idx="56">
                  <c:v>88.096774193548384</c:v>
                </c:pt>
                <c:pt idx="57">
                  <c:v>87.838709677419359</c:v>
                </c:pt>
                <c:pt idx="58">
                  <c:v>88.064516129032256</c:v>
                </c:pt>
                <c:pt idx="59">
                  <c:v>88.387096774193552</c:v>
                </c:pt>
                <c:pt idx="60">
                  <c:v>88.645161290322577</c:v>
                </c:pt>
                <c:pt idx="61">
                  <c:v>88.645161290322577</c:v>
                </c:pt>
                <c:pt idx="62">
                  <c:v>88.903225806451616</c:v>
                </c:pt>
                <c:pt idx="63">
                  <c:v>89.064516129032256</c:v>
                </c:pt>
                <c:pt idx="64">
                  <c:v>89.290322580645167</c:v>
                </c:pt>
                <c:pt idx="65">
                  <c:v>88.806451612903231</c:v>
                </c:pt>
                <c:pt idx="66">
                  <c:v>88.935483870967744</c:v>
                </c:pt>
                <c:pt idx="67">
                  <c:v>89.064516129032256</c:v>
                </c:pt>
                <c:pt idx="68">
                  <c:v>89.258064516129039</c:v>
                </c:pt>
                <c:pt idx="69">
                  <c:v>88.935483870967744</c:v>
                </c:pt>
                <c:pt idx="70">
                  <c:v>89.354838709677423</c:v>
                </c:pt>
                <c:pt idx="71">
                  <c:v>89.838709677419359</c:v>
                </c:pt>
                <c:pt idx="72">
                  <c:v>90.193548387096769</c:v>
                </c:pt>
                <c:pt idx="73">
                  <c:v>90.451612903225808</c:v>
                </c:pt>
                <c:pt idx="74">
                  <c:v>90.516129032258064</c:v>
                </c:pt>
                <c:pt idx="75">
                  <c:v>90.774193548387103</c:v>
                </c:pt>
                <c:pt idx="76">
                  <c:v>90.935483870967744</c:v>
                </c:pt>
                <c:pt idx="77">
                  <c:v>91.290322580645167</c:v>
                </c:pt>
                <c:pt idx="78">
                  <c:v>91.354838709677423</c:v>
                </c:pt>
                <c:pt idx="79">
                  <c:v>91.129032258064512</c:v>
                </c:pt>
                <c:pt idx="80">
                  <c:v>91.645161290322577</c:v>
                </c:pt>
                <c:pt idx="81">
                  <c:v>91.838709677419359</c:v>
                </c:pt>
                <c:pt idx="82">
                  <c:v>91.483870967741936</c:v>
                </c:pt>
                <c:pt idx="83">
                  <c:v>91.838709677419359</c:v>
                </c:pt>
                <c:pt idx="84">
                  <c:v>91.709677419354833</c:v>
                </c:pt>
                <c:pt idx="85">
                  <c:v>91.645161290322577</c:v>
                </c:pt>
                <c:pt idx="86">
                  <c:v>91.451612903225808</c:v>
                </c:pt>
                <c:pt idx="87">
                  <c:v>91.645161290322577</c:v>
                </c:pt>
                <c:pt idx="88">
                  <c:v>91.806451612903231</c:v>
                </c:pt>
                <c:pt idx="89">
                  <c:v>91.677419354838705</c:v>
                </c:pt>
                <c:pt idx="90">
                  <c:v>91.645161290322577</c:v>
                </c:pt>
                <c:pt idx="91">
                  <c:v>91.806451612903231</c:v>
                </c:pt>
                <c:pt idx="92">
                  <c:v>91.451612903225808</c:v>
                </c:pt>
                <c:pt idx="93">
                  <c:v>91.193548387096769</c:v>
                </c:pt>
                <c:pt idx="94">
                  <c:v>91.096774193548384</c:v>
                </c:pt>
                <c:pt idx="95">
                  <c:v>90.645161290322577</c:v>
                </c:pt>
                <c:pt idx="96">
                  <c:v>90.774193548387103</c:v>
                </c:pt>
                <c:pt idx="97">
                  <c:v>91.032258064516128</c:v>
                </c:pt>
                <c:pt idx="98">
                  <c:v>91.096774193548384</c:v>
                </c:pt>
                <c:pt idx="99">
                  <c:v>91.193548387096769</c:v>
                </c:pt>
                <c:pt idx="100">
                  <c:v>91.161290322580641</c:v>
                </c:pt>
                <c:pt idx="101">
                  <c:v>90.612903225806448</c:v>
                </c:pt>
                <c:pt idx="102">
                  <c:v>90.41935483870968</c:v>
                </c:pt>
                <c:pt idx="103">
                  <c:v>90.096774193548384</c:v>
                </c:pt>
                <c:pt idx="104">
                  <c:v>90.225806451612897</c:v>
                </c:pt>
                <c:pt idx="105">
                  <c:v>90.451612903225808</c:v>
                </c:pt>
                <c:pt idx="106">
                  <c:v>90.387096774193552</c:v>
                </c:pt>
                <c:pt idx="107">
                  <c:v>89.935483870967744</c:v>
                </c:pt>
                <c:pt idx="108">
                  <c:v>89.903225806451616</c:v>
                </c:pt>
                <c:pt idx="109">
                  <c:v>90.258064516129039</c:v>
                </c:pt>
                <c:pt idx="110">
                  <c:v>90.193548387096769</c:v>
                </c:pt>
                <c:pt idx="111">
                  <c:v>90.258064516129039</c:v>
                </c:pt>
                <c:pt idx="112">
                  <c:v>90.096774193548384</c:v>
                </c:pt>
                <c:pt idx="113">
                  <c:v>90.225806451612897</c:v>
                </c:pt>
                <c:pt idx="114">
                  <c:v>90.032258064516128</c:v>
                </c:pt>
                <c:pt idx="115">
                  <c:v>90.193548387096769</c:v>
                </c:pt>
                <c:pt idx="116">
                  <c:v>89.806451612903231</c:v>
                </c:pt>
                <c:pt idx="117">
                  <c:v>90.129032258064512</c:v>
                </c:pt>
                <c:pt idx="118">
                  <c:v>89.548387096774192</c:v>
                </c:pt>
                <c:pt idx="119">
                  <c:v>89.516129032258064</c:v>
                </c:pt>
                <c:pt idx="120">
                  <c:v>89.258064516129039</c:v>
                </c:pt>
                <c:pt idx="121">
                  <c:v>89.096774193548384</c:v>
                </c:pt>
                <c:pt idx="122">
                  <c:v>88.838709677419359</c:v>
                </c:pt>
                <c:pt idx="123">
                  <c:v>89</c:v>
                </c:pt>
                <c:pt idx="124">
                  <c:v>89.129032258064512</c:v>
                </c:pt>
                <c:pt idx="125">
                  <c:v>89.225806451612897</c:v>
                </c:pt>
                <c:pt idx="126">
                  <c:v>89.516129032258064</c:v>
                </c:pt>
                <c:pt idx="127">
                  <c:v>89.870967741935488</c:v>
                </c:pt>
                <c:pt idx="128">
                  <c:v>89.548387096774192</c:v>
                </c:pt>
                <c:pt idx="129">
                  <c:v>89.612903225806448</c:v>
                </c:pt>
                <c:pt idx="130">
                  <c:v>89.645161290322577</c:v>
                </c:pt>
                <c:pt idx="131">
                  <c:v>89.612903225806448</c:v>
                </c:pt>
                <c:pt idx="132">
                  <c:v>89.838709677419359</c:v>
                </c:pt>
                <c:pt idx="133">
                  <c:v>89.903225806451616</c:v>
                </c:pt>
                <c:pt idx="134">
                  <c:v>89.967741935483872</c:v>
                </c:pt>
                <c:pt idx="135">
                  <c:v>89.58064516129032</c:v>
                </c:pt>
                <c:pt idx="136">
                  <c:v>89.548387096774192</c:v>
                </c:pt>
                <c:pt idx="137">
                  <c:v>89.193548387096769</c:v>
                </c:pt>
                <c:pt idx="138">
                  <c:v>89.58064516129032</c:v>
                </c:pt>
                <c:pt idx="139">
                  <c:v>89.483870967741936</c:v>
                </c:pt>
                <c:pt idx="140">
                  <c:v>89.096774193548384</c:v>
                </c:pt>
                <c:pt idx="141">
                  <c:v>89.41935483870968</c:v>
                </c:pt>
                <c:pt idx="142">
                  <c:v>88.806451612903231</c:v>
                </c:pt>
                <c:pt idx="143">
                  <c:v>88.451612903225808</c:v>
                </c:pt>
                <c:pt idx="144">
                  <c:v>88.548387096774192</c:v>
                </c:pt>
                <c:pt idx="145">
                  <c:v>88.41935483870968</c:v>
                </c:pt>
                <c:pt idx="146">
                  <c:v>88.322580645161295</c:v>
                </c:pt>
                <c:pt idx="147">
                  <c:v>88.516129032258064</c:v>
                </c:pt>
                <c:pt idx="148">
                  <c:v>88.225806451612897</c:v>
                </c:pt>
                <c:pt idx="149">
                  <c:v>88.58064516129032</c:v>
                </c:pt>
                <c:pt idx="150">
                  <c:v>88.516129032258064</c:v>
                </c:pt>
                <c:pt idx="151">
                  <c:v>88.645161290322577</c:v>
                </c:pt>
                <c:pt idx="152">
                  <c:v>88.935483870967744</c:v>
                </c:pt>
                <c:pt idx="153">
                  <c:v>89.354838709677423</c:v>
                </c:pt>
                <c:pt idx="154">
                  <c:v>89.451612903225808</c:v>
                </c:pt>
                <c:pt idx="155">
                  <c:v>89.41935483870968</c:v>
                </c:pt>
                <c:pt idx="156">
                  <c:v>89.677419354838705</c:v>
                </c:pt>
                <c:pt idx="157">
                  <c:v>89.935483870967744</c:v>
                </c:pt>
                <c:pt idx="158">
                  <c:v>89.806451612903231</c:v>
                </c:pt>
                <c:pt idx="159">
                  <c:v>90.064516129032256</c:v>
                </c:pt>
                <c:pt idx="160">
                  <c:v>89.870967741935488</c:v>
                </c:pt>
                <c:pt idx="161">
                  <c:v>89.322580645161295</c:v>
                </c:pt>
                <c:pt idx="162">
                  <c:v>89.483870967741936</c:v>
                </c:pt>
                <c:pt idx="163">
                  <c:v>89.774193548387103</c:v>
                </c:pt>
                <c:pt idx="164">
                  <c:v>89.58064516129032</c:v>
                </c:pt>
                <c:pt idx="165">
                  <c:v>89.806451612903231</c:v>
                </c:pt>
                <c:pt idx="166">
                  <c:v>89.677419354838705</c:v>
                </c:pt>
                <c:pt idx="167">
                  <c:v>89.870967741935488</c:v>
                </c:pt>
                <c:pt idx="168">
                  <c:v>90.225806451612897</c:v>
                </c:pt>
                <c:pt idx="169">
                  <c:v>90.129032258064512</c:v>
                </c:pt>
                <c:pt idx="170">
                  <c:v>90.193548387096769</c:v>
                </c:pt>
                <c:pt idx="171">
                  <c:v>90.483870967741936</c:v>
                </c:pt>
                <c:pt idx="172">
                  <c:v>90</c:v>
                </c:pt>
                <c:pt idx="173">
                  <c:v>90.548387096774192</c:v>
                </c:pt>
                <c:pt idx="174">
                  <c:v>91</c:v>
                </c:pt>
                <c:pt idx="175">
                  <c:v>90.806451612903231</c:v>
                </c:pt>
                <c:pt idx="176">
                  <c:v>90.935483870967744</c:v>
                </c:pt>
                <c:pt idx="177">
                  <c:v>90.903225806451616</c:v>
                </c:pt>
                <c:pt idx="178">
                  <c:v>91.032258064516128</c:v>
                </c:pt>
                <c:pt idx="179">
                  <c:v>91.096774193548384</c:v>
                </c:pt>
                <c:pt idx="180">
                  <c:v>90.709677419354833</c:v>
                </c:pt>
                <c:pt idx="181">
                  <c:v>90.451612903225808</c:v>
                </c:pt>
                <c:pt idx="182">
                  <c:v>90.161290322580641</c:v>
                </c:pt>
                <c:pt idx="183">
                  <c:v>89.806451612903231</c:v>
                </c:pt>
                <c:pt idx="184">
                  <c:v>89.322580645161295</c:v>
                </c:pt>
                <c:pt idx="185">
                  <c:v>89.032258064516128</c:v>
                </c:pt>
                <c:pt idx="186">
                  <c:v>88.967741935483872</c:v>
                </c:pt>
                <c:pt idx="187">
                  <c:v>88.451612903225808</c:v>
                </c:pt>
                <c:pt idx="188">
                  <c:v>88.032258064516128</c:v>
                </c:pt>
                <c:pt idx="189">
                  <c:v>88.161290322580641</c:v>
                </c:pt>
                <c:pt idx="190">
                  <c:v>88.290322580645167</c:v>
                </c:pt>
                <c:pt idx="191">
                  <c:v>87.967741935483872</c:v>
                </c:pt>
                <c:pt idx="192">
                  <c:v>88.290322580645167</c:v>
                </c:pt>
                <c:pt idx="193">
                  <c:v>88.096774193548384</c:v>
                </c:pt>
                <c:pt idx="194">
                  <c:v>87.774193548387103</c:v>
                </c:pt>
                <c:pt idx="195">
                  <c:v>87.870967741935488</c:v>
                </c:pt>
                <c:pt idx="196">
                  <c:v>87.935483870967744</c:v>
                </c:pt>
                <c:pt idx="197">
                  <c:v>87.903225806451616</c:v>
                </c:pt>
                <c:pt idx="198">
                  <c:v>88</c:v>
                </c:pt>
                <c:pt idx="199">
                  <c:v>87.838709677419359</c:v>
                </c:pt>
                <c:pt idx="200">
                  <c:v>87.967741935483872</c:v>
                </c:pt>
                <c:pt idx="201">
                  <c:v>88.064516129032256</c:v>
                </c:pt>
                <c:pt idx="202">
                  <c:v>88</c:v>
                </c:pt>
                <c:pt idx="203">
                  <c:v>88.483870967741936</c:v>
                </c:pt>
                <c:pt idx="204">
                  <c:v>88.322580645161295</c:v>
                </c:pt>
                <c:pt idx="205">
                  <c:v>87.935483870967744</c:v>
                </c:pt>
                <c:pt idx="206">
                  <c:v>87.741935483870961</c:v>
                </c:pt>
                <c:pt idx="207">
                  <c:v>87.935483870967744</c:v>
                </c:pt>
                <c:pt idx="208">
                  <c:v>88.354838709677423</c:v>
                </c:pt>
                <c:pt idx="209">
                  <c:v>88.161290322580641</c:v>
                </c:pt>
                <c:pt idx="210">
                  <c:v>88.129032258064512</c:v>
                </c:pt>
                <c:pt idx="211">
                  <c:v>88.387096774193552</c:v>
                </c:pt>
                <c:pt idx="212">
                  <c:v>88.709677419354833</c:v>
                </c:pt>
                <c:pt idx="213">
                  <c:v>89.258064516129039</c:v>
                </c:pt>
                <c:pt idx="214">
                  <c:v>89.612903225806448</c:v>
                </c:pt>
                <c:pt idx="215">
                  <c:v>90.290322580645167</c:v>
                </c:pt>
                <c:pt idx="216">
                  <c:v>90.967741935483872</c:v>
                </c:pt>
                <c:pt idx="217">
                  <c:v>91.516129032258064</c:v>
                </c:pt>
                <c:pt idx="218">
                  <c:v>92.161290322580641</c:v>
                </c:pt>
                <c:pt idx="219">
                  <c:v>92.548387096774192</c:v>
                </c:pt>
                <c:pt idx="220">
                  <c:v>92.483870967741936</c:v>
                </c:pt>
                <c:pt idx="221">
                  <c:v>92.612903225806448</c:v>
                </c:pt>
                <c:pt idx="222">
                  <c:v>93.161290322580641</c:v>
                </c:pt>
                <c:pt idx="223">
                  <c:v>93.483870967741936</c:v>
                </c:pt>
                <c:pt idx="224">
                  <c:v>94.064516129032256</c:v>
                </c:pt>
                <c:pt idx="225">
                  <c:v>94.516129032258064</c:v>
                </c:pt>
                <c:pt idx="226">
                  <c:v>94.677419354838705</c:v>
                </c:pt>
                <c:pt idx="227">
                  <c:v>94.774193548387103</c:v>
                </c:pt>
                <c:pt idx="228">
                  <c:v>95.483870967741936</c:v>
                </c:pt>
                <c:pt idx="229">
                  <c:v>95.516129032258064</c:v>
                </c:pt>
                <c:pt idx="230">
                  <c:v>95.903225806451616</c:v>
                </c:pt>
                <c:pt idx="231">
                  <c:v>96.129032258064512</c:v>
                </c:pt>
                <c:pt idx="232">
                  <c:v>96.193548387096769</c:v>
                </c:pt>
                <c:pt idx="233">
                  <c:v>96.483870967741936</c:v>
                </c:pt>
                <c:pt idx="234">
                  <c:v>96.451612903225808</c:v>
                </c:pt>
                <c:pt idx="235">
                  <c:v>96.806451612903231</c:v>
                </c:pt>
                <c:pt idx="236">
                  <c:v>97.322580645161295</c:v>
                </c:pt>
                <c:pt idx="237">
                  <c:v>97.903225806451616</c:v>
                </c:pt>
                <c:pt idx="238">
                  <c:v>98.064516129032256</c:v>
                </c:pt>
                <c:pt idx="239">
                  <c:v>97.967741935483872</c:v>
                </c:pt>
                <c:pt idx="240">
                  <c:v>98.451612903225808</c:v>
                </c:pt>
                <c:pt idx="241">
                  <c:v>98.806451612903231</c:v>
                </c:pt>
                <c:pt idx="242">
                  <c:v>99.322580645161295</c:v>
                </c:pt>
                <c:pt idx="243">
                  <c:v>99.677419354838705</c:v>
                </c:pt>
                <c:pt idx="244">
                  <c:v>99.935483870967744</c:v>
                </c:pt>
                <c:pt idx="245">
                  <c:v>99.903225806451616</c:v>
                </c:pt>
                <c:pt idx="246">
                  <c:v>99.645161290322577</c:v>
                </c:pt>
                <c:pt idx="247">
                  <c:v>99.451612903225808</c:v>
                </c:pt>
                <c:pt idx="248">
                  <c:v>99.41935483870968</c:v>
                </c:pt>
                <c:pt idx="249">
                  <c:v>99.193548387096769</c:v>
                </c:pt>
                <c:pt idx="250">
                  <c:v>99.290322580645167</c:v>
                </c:pt>
                <c:pt idx="251">
                  <c:v>99.387096774193552</c:v>
                </c:pt>
                <c:pt idx="252">
                  <c:v>99.354838709677423</c:v>
                </c:pt>
                <c:pt idx="253">
                  <c:v>99.41935483870968</c:v>
                </c:pt>
                <c:pt idx="254">
                  <c:v>99.483870967741936</c:v>
                </c:pt>
                <c:pt idx="255">
                  <c:v>99.322580645161295</c:v>
                </c:pt>
                <c:pt idx="256">
                  <c:v>99.225806451612897</c:v>
                </c:pt>
                <c:pt idx="257">
                  <c:v>98.935483870967744</c:v>
                </c:pt>
                <c:pt idx="258">
                  <c:v>98.645161290322577</c:v>
                </c:pt>
                <c:pt idx="259">
                  <c:v>98.032258064516128</c:v>
                </c:pt>
                <c:pt idx="260">
                  <c:v>97.677419354838705</c:v>
                </c:pt>
                <c:pt idx="261">
                  <c:v>97.41935483870968</c:v>
                </c:pt>
                <c:pt idx="262">
                  <c:v>97.258064516129039</c:v>
                </c:pt>
                <c:pt idx="263">
                  <c:v>96.870967741935488</c:v>
                </c:pt>
                <c:pt idx="264">
                  <c:v>96.41935483870968</c:v>
                </c:pt>
                <c:pt idx="265">
                  <c:v>96.483870967741936</c:v>
                </c:pt>
                <c:pt idx="266">
                  <c:v>96.032258064516128</c:v>
                </c:pt>
                <c:pt idx="267">
                  <c:v>95.516129032258064</c:v>
                </c:pt>
                <c:pt idx="268">
                  <c:v>94.967741935483872</c:v>
                </c:pt>
                <c:pt idx="269">
                  <c:v>94.677419354838705</c:v>
                </c:pt>
                <c:pt idx="270">
                  <c:v>94.354838709677423</c:v>
                </c:pt>
                <c:pt idx="271">
                  <c:v>94.129032258064512</c:v>
                </c:pt>
                <c:pt idx="272">
                  <c:v>94</c:v>
                </c:pt>
                <c:pt idx="273">
                  <c:v>93.290322580645167</c:v>
                </c:pt>
                <c:pt idx="274">
                  <c:v>92.677419354838705</c:v>
                </c:pt>
                <c:pt idx="275">
                  <c:v>92.225806451612897</c:v>
                </c:pt>
                <c:pt idx="276">
                  <c:v>91.870967741935488</c:v>
                </c:pt>
                <c:pt idx="277">
                  <c:v>91.612903225806448</c:v>
                </c:pt>
                <c:pt idx="278">
                  <c:v>91.741935483870961</c:v>
                </c:pt>
                <c:pt idx="279">
                  <c:v>91.483870967741936</c:v>
                </c:pt>
                <c:pt idx="280">
                  <c:v>91.322580645161295</c:v>
                </c:pt>
                <c:pt idx="281">
                  <c:v>90.967741935483872</c:v>
                </c:pt>
                <c:pt idx="282">
                  <c:v>90.741935483870961</c:v>
                </c:pt>
                <c:pt idx="283">
                  <c:v>90.58064516129032</c:v>
                </c:pt>
                <c:pt idx="284">
                  <c:v>90.258064516129039</c:v>
                </c:pt>
                <c:pt idx="285">
                  <c:v>90.096774193548384</c:v>
                </c:pt>
                <c:pt idx="286">
                  <c:v>89.612903225806448</c:v>
                </c:pt>
                <c:pt idx="287">
                  <c:v>89.612903225806448</c:v>
                </c:pt>
                <c:pt idx="288">
                  <c:v>89.838709677419359</c:v>
                </c:pt>
                <c:pt idx="289">
                  <c:v>89.677419354838705</c:v>
                </c:pt>
                <c:pt idx="290">
                  <c:v>89.774193548387103</c:v>
                </c:pt>
                <c:pt idx="291">
                  <c:v>89.774193548387103</c:v>
                </c:pt>
                <c:pt idx="292">
                  <c:v>90</c:v>
                </c:pt>
                <c:pt idx="293">
                  <c:v>89.903225806451616</c:v>
                </c:pt>
                <c:pt idx="294">
                  <c:v>90.258064516129039</c:v>
                </c:pt>
                <c:pt idx="295">
                  <c:v>90.290322580645167</c:v>
                </c:pt>
                <c:pt idx="296">
                  <c:v>90.032258064516128</c:v>
                </c:pt>
                <c:pt idx="297">
                  <c:v>90.064516129032256</c:v>
                </c:pt>
                <c:pt idx="298">
                  <c:v>90.258064516129039</c:v>
                </c:pt>
                <c:pt idx="299">
                  <c:v>90.741935483870961</c:v>
                </c:pt>
                <c:pt idx="300">
                  <c:v>90.967741935483872</c:v>
                </c:pt>
                <c:pt idx="301">
                  <c:v>90.967741935483872</c:v>
                </c:pt>
                <c:pt idx="302">
                  <c:v>90.516129032258064</c:v>
                </c:pt>
                <c:pt idx="303">
                  <c:v>90.516129032258064</c:v>
                </c:pt>
                <c:pt idx="304">
                  <c:v>91.032258064516128</c:v>
                </c:pt>
                <c:pt idx="305">
                  <c:v>91.129032258064512</c:v>
                </c:pt>
                <c:pt idx="306">
                  <c:v>90.935483870967744</c:v>
                </c:pt>
                <c:pt idx="307">
                  <c:v>91.161290322580641</c:v>
                </c:pt>
                <c:pt idx="308">
                  <c:v>91.516129032258064</c:v>
                </c:pt>
                <c:pt idx="309">
                  <c:v>91.451612903225808</c:v>
                </c:pt>
                <c:pt idx="310">
                  <c:v>91.58064516129032</c:v>
                </c:pt>
                <c:pt idx="311">
                  <c:v>91.838709677419359</c:v>
                </c:pt>
                <c:pt idx="312">
                  <c:v>91.774193548387103</c:v>
                </c:pt>
                <c:pt idx="313">
                  <c:v>91.387096774193552</c:v>
                </c:pt>
                <c:pt idx="314">
                  <c:v>91.41935483870968</c:v>
                </c:pt>
                <c:pt idx="315">
                  <c:v>91.741935483870961</c:v>
                </c:pt>
                <c:pt idx="316">
                  <c:v>91.58064516129032</c:v>
                </c:pt>
                <c:pt idx="317">
                  <c:v>92.096774193548384</c:v>
                </c:pt>
                <c:pt idx="318">
                  <c:v>92.064516129032256</c:v>
                </c:pt>
                <c:pt idx="319">
                  <c:v>91.645161290322577</c:v>
                </c:pt>
                <c:pt idx="320">
                  <c:v>91.935483870967744</c:v>
                </c:pt>
                <c:pt idx="321">
                  <c:v>91.741935483870961</c:v>
                </c:pt>
                <c:pt idx="322">
                  <c:v>91.612903225806448</c:v>
                </c:pt>
                <c:pt idx="323">
                  <c:v>91.709677419354833</c:v>
                </c:pt>
                <c:pt idx="324">
                  <c:v>91.483870967741936</c:v>
                </c:pt>
                <c:pt idx="325">
                  <c:v>91.096774193548384</c:v>
                </c:pt>
                <c:pt idx="326">
                  <c:v>90.935483870967744</c:v>
                </c:pt>
                <c:pt idx="327">
                  <c:v>90.645161290322577</c:v>
                </c:pt>
                <c:pt idx="328">
                  <c:v>90.483870967741936</c:v>
                </c:pt>
                <c:pt idx="329">
                  <c:v>90.774193548387103</c:v>
                </c:pt>
                <c:pt idx="330">
                  <c:v>90.709677419354833</c:v>
                </c:pt>
                <c:pt idx="331">
                  <c:v>90.258064516129039</c:v>
                </c:pt>
                <c:pt idx="332">
                  <c:v>90.322580645161295</c:v>
                </c:pt>
                <c:pt idx="333">
                  <c:v>90.290322580645167</c:v>
                </c:pt>
                <c:pt idx="334">
                  <c:v>90.290322580645167</c:v>
                </c:pt>
                <c:pt idx="335">
                  <c:v>90.354838709677423</c:v>
                </c:pt>
                <c:pt idx="336">
                  <c:v>90.58064516129032</c:v>
                </c:pt>
                <c:pt idx="337">
                  <c:v>91</c:v>
                </c:pt>
                <c:pt idx="338">
                  <c:v>90.709677419354833</c:v>
                </c:pt>
                <c:pt idx="339">
                  <c:v>90.709677419354833</c:v>
                </c:pt>
                <c:pt idx="340">
                  <c:v>90.58064516129032</c:v>
                </c:pt>
                <c:pt idx="341">
                  <c:v>90.741935483870961</c:v>
                </c:pt>
                <c:pt idx="342">
                  <c:v>90.516129032258064</c:v>
                </c:pt>
                <c:pt idx="343">
                  <c:v>90.58064516129032</c:v>
                </c:pt>
                <c:pt idx="344">
                  <c:v>90.935483870967744</c:v>
                </c:pt>
                <c:pt idx="345">
                  <c:v>90.838709677419359</c:v>
                </c:pt>
                <c:pt idx="346">
                  <c:v>90.387096774193552</c:v>
                </c:pt>
                <c:pt idx="347">
                  <c:v>90</c:v>
                </c:pt>
                <c:pt idx="348">
                  <c:v>89.709677419354833</c:v>
                </c:pt>
                <c:pt idx="349">
                  <c:v>89.387096774193552</c:v>
                </c:pt>
                <c:pt idx="350">
                  <c:v>89.903225806451616</c:v>
                </c:pt>
                <c:pt idx="351">
                  <c:v>90.032258064516128</c:v>
                </c:pt>
                <c:pt idx="352">
                  <c:v>90.612903225806448</c:v>
                </c:pt>
                <c:pt idx="353">
                  <c:v>90.967741935483872</c:v>
                </c:pt>
                <c:pt idx="354">
                  <c:v>90.451612903225808</c:v>
                </c:pt>
                <c:pt idx="355">
                  <c:v>90.322580645161295</c:v>
                </c:pt>
                <c:pt idx="356">
                  <c:v>90.516129032258064</c:v>
                </c:pt>
                <c:pt idx="357">
                  <c:v>90.451612903225808</c:v>
                </c:pt>
                <c:pt idx="358">
                  <c:v>90.483870967741936</c:v>
                </c:pt>
                <c:pt idx="359">
                  <c:v>90.645161290322577</c:v>
                </c:pt>
                <c:pt idx="360">
                  <c:v>90.322580645161295</c:v>
                </c:pt>
                <c:pt idx="361">
                  <c:v>89.741935483870961</c:v>
                </c:pt>
                <c:pt idx="362">
                  <c:v>89.612903225806448</c:v>
                </c:pt>
                <c:pt idx="363">
                  <c:v>89.483870967741936</c:v>
                </c:pt>
                <c:pt idx="364">
                  <c:v>89.548387096774192</c:v>
                </c:pt>
                <c:pt idx="365">
                  <c:v>89.483870967741936</c:v>
                </c:pt>
                <c:pt idx="366">
                  <c:v>89.483870967741936</c:v>
                </c:pt>
                <c:pt idx="367">
                  <c:v>89.451612903225808</c:v>
                </c:pt>
                <c:pt idx="368">
                  <c:v>89.322580645161295</c:v>
                </c:pt>
                <c:pt idx="369">
                  <c:v>89.806451612903231</c:v>
                </c:pt>
                <c:pt idx="370">
                  <c:v>89.483870967741936</c:v>
                </c:pt>
                <c:pt idx="371">
                  <c:v>89.290322580645167</c:v>
                </c:pt>
                <c:pt idx="372">
                  <c:v>88.903225806451616</c:v>
                </c:pt>
                <c:pt idx="373">
                  <c:v>88.903225806451616</c:v>
                </c:pt>
                <c:pt idx="374">
                  <c:v>89.258064516129039</c:v>
                </c:pt>
                <c:pt idx="375">
                  <c:v>88.838709677419359</c:v>
                </c:pt>
                <c:pt idx="376">
                  <c:v>88.516129032258064</c:v>
                </c:pt>
                <c:pt idx="377">
                  <c:v>88.387096774193552</c:v>
                </c:pt>
                <c:pt idx="378">
                  <c:v>88.58064516129032</c:v>
                </c:pt>
                <c:pt idx="379">
                  <c:v>88.806451612903231</c:v>
                </c:pt>
                <c:pt idx="380">
                  <c:v>88.935483870967744</c:v>
                </c:pt>
                <c:pt idx="381">
                  <c:v>88.903225806451616</c:v>
                </c:pt>
                <c:pt idx="382">
                  <c:v>88.387096774193552</c:v>
                </c:pt>
                <c:pt idx="383">
                  <c:v>88</c:v>
                </c:pt>
                <c:pt idx="384">
                  <c:v>88.129032258064512</c:v>
                </c:pt>
                <c:pt idx="385">
                  <c:v>88.193548387096769</c:v>
                </c:pt>
                <c:pt idx="386">
                  <c:v>88.096774193548384</c:v>
                </c:pt>
                <c:pt idx="387">
                  <c:v>87.838709677419359</c:v>
                </c:pt>
                <c:pt idx="388">
                  <c:v>87.903225806451616</c:v>
                </c:pt>
                <c:pt idx="389">
                  <c:v>88.451612903225808</c:v>
                </c:pt>
                <c:pt idx="390">
                  <c:v>88.129032258064512</c:v>
                </c:pt>
                <c:pt idx="391">
                  <c:v>87.870967741935488</c:v>
                </c:pt>
                <c:pt idx="392">
                  <c:v>88.516129032258064</c:v>
                </c:pt>
                <c:pt idx="393">
                  <c:v>89.161290322580641</c:v>
                </c:pt>
                <c:pt idx="394">
                  <c:v>89.709677419354833</c:v>
                </c:pt>
                <c:pt idx="395">
                  <c:v>90.161290322580641</c:v>
                </c:pt>
                <c:pt idx="396">
                  <c:v>90.322580645161295</c:v>
                </c:pt>
                <c:pt idx="397">
                  <c:v>89.903225806451616</c:v>
                </c:pt>
                <c:pt idx="398">
                  <c:v>90</c:v>
                </c:pt>
                <c:pt idx="399">
                  <c:v>89.645161290322577</c:v>
                </c:pt>
                <c:pt idx="400">
                  <c:v>89.258064516129039</c:v>
                </c:pt>
                <c:pt idx="401">
                  <c:v>89.161290322580641</c:v>
                </c:pt>
                <c:pt idx="402">
                  <c:v>89.129032258064512</c:v>
                </c:pt>
                <c:pt idx="403">
                  <c:v>89.387096774193552</c:v>
                </c:pt>
                <c:pt idx="404">
                  <c:v>89.129032258064512</c:v>
                </c:pt>
                <c:pt idx="405">
                  <c:v>88.774193548387103</c:v>
                </c:pt>
                <c:pt idx="406">
                  <c:v>89.290322580645167</c:v>
                </c:pt>
                <c:pt idx="407">
                  <c:v>89.806451612903231</c:v>
                </c:pt>
                <c:pt idx="408">
                  <c:v>90.258064516129039</c:v>
                </c:pt>
                <c:pt idx="409">
                  <c:v>90.322580645161295</c:v>
                </c:pt>
                <c:pt idx="410">
                  <c:v>90.193548387096769</c:v>
                </c:pt>
                <c:pt idx="411">
                  <c:v>89.903225806451616</c:v>
                </c:pt>
                <c:pt idx="412">
                  <c:v>89.709677419354833</c:v>
                </c:pt>
                <c:pt idx="413">
                  <c:v>90</c:v>
                </c:pt>
                <c:pt idx="414">
                  <c:v>90.354838709677423</c:v>
                </c:pt>
                <c:pt idx="415">
                  <c:v>89.903225806451616</c:v>
                </c:pt>
                <c:pt idx="416">
                  <c:v>90.290322580645167</c:v>
                </c:pt>
                <c:pt idx="417">
                  <c:v>90.41935483870968</c:v>
                </c:pt>
                <c:pt idx="418">
                  <c:v>90.870967741935488</c:v>
                </c:pt>
                <c:pt idx="419">
                  <c:v>90.741935483870961</c:v>
                </c:pt>
                <c:pt idx="420">
                  <c:v>90.193548387096769</c:v>
                </c:pt>
                <c:pt idx="421">
                  <c:v>90.645161290322577</c:v>
                </c:pt>
                <c:pt idx="422">
                  <c:v>90.741935483870961</c:v>
                </c:pt>
                <c:pt idx="423">
                  <c:v>90.258064516129039</c:v>
                </c:pt>
                <c:pt idx="424">
                  <c:v>89.870967741935488</c:v>
                </c:pt>
                <c:pt idx="425">
                  <c:v>89.225806451612897</c:v>
                </c:pt>
                <c:pt idx="426">
                  <c:v>88.903225806451616</c:v>
                </c:pt>
                <c:pt idx="427">
                  <c:v>88.903225806451616</c:v>
                </c:pt>
                <c:pt idx="428">
                  <c:v>88.903225806451616</c:v>
                </c:pt>
                <c:pt idx="429">
                  <c:v>88.967741935483872</c:v>
                </c:pt>
                <c:pt idx="430">
                  <c:v>88.935483870967744</c:v>
                </c:pt>
                <c:pt idx="431">
                  <c:v>88.677419354838705</c:v>
                </c:pt>
                <c:pt idx="432">
                  <c:v>88.483870967741936</c:v>
                </c:pt>
                <c:pt idx="433">
                  <c:v>88.870967741935488</c:v>
                </c:pt>
                <c:pt idx="434">
                  <c:v>89</c:v>
                </c:pt>
                <c:pt idx="435">
                  <c:v>89.290322580645167</c:v>
                </c:pt>
                <c:pt idx="436">
                  <c:v>89.161290322580641</c:v>
                </c:pt>
                <c:pt idx="437">
                  <c:v>88.645161290322577</c:v>
                </c:pt>
                <c:pt idx="438">
                  <c:v>88.741935483870961</c:v>
                </c:pt>
                <c:pt idx="439">
                  <c:v>88.322580645161295</c:v>
                </c:pt>
                <c:pt idx="440">
                  <c:v>88.387096774193552</c:v>
                </c:pt>
                <c:pt idx="441">
                  <c:v>88.41935483870968</c:v>
                </c:pt>
                <c:pt idx="442">
                  <c:v>88.677419354838705</c:v>
                </c:pt>
                <c:pt idx="443">
                  <c:v>88.709677419354833</c:v>
                </c:pt>
                <c:pt idx="444">
                  <c:v>88.451612903225808</c:v>
                </c:pt>
                <c:pt idx="445">
                  <c:v>87.903225806451616</c:v>
                </c:pt>
                <c:pt idx="446">
                  <c:v>88.129032258064512</c:v>
                </c:pt>
                <c:pt idx="447">
                  <c:v>87.645161290322577</c:v>
                </c:pt>
                <c:pt idx="448">
                  <c:v>87.967741935483872</c:v>
                </c:pt>
                <c:pt idx="449">
                  <c:v>87.709677419354833</c:v>
                </c:pt>
                <c:pt idx="450">
                  <c:v>88.354838709677423</c:v>
                </c:pt>
                <c:pt idx="451">
                  <c:v>88.322580645161295</c:v>
                </c:pt>
                <c:pt idx="452">
                  <c:v>87.935483870967744</c:v>
                </c:pt>
                <c:pt idx="453">
                  <c:v>87.870967741935488</c:v>
                </c:pt>
                <c:pt idx="454">
                  <c:v>88.322580645161295</c:v>
                </c:pt>
                <c:pt idx="455">
                  <c:v>88.709677419354833</c:v>
                </c:pt>
                <c:pt idx="456">
                  <c:v>89.129032258064512</c:v>
                </c:pt>
                <c:pt idx="457">
                  <c:v>89.516129032258064</c:v>
                </c:pt>
                <c:pt idx="458">
                  <c:v>89.290322580645167</c:v>
                </c:pt>
                <c:pt idx="459">
                  <c:v>89.387096774193552</c:v>
                </c:pt>
                <c:pt idx="460">
                  <c:v>88.741935483870961</c:v>
                </c:pt>
                <c:pt idx="461">
                  <c:v>88.741935483870961</c:v>
                </c:pt>
                <c:pt idx="462">
                  <c:v>88.741935483870961</c:v>
                </c:pt>
                <c:pt idx="463">
                  <c:v>88.903225806451616</c:v>
                </c:pt>
                <c:pt idx="464">
                  <c:v>88.483870967741936</c:v>
                </c:pt>
                <c:pt idx="465">
                  <c:v>88.41935483870968</c:v>
                </c:pt>
                <c:pt idx="466">
                  <c:v>88.225806451612897</c:v>
                </c:pt>
                <c:pt idx="467">
                  <c:v>88.645161290322577</c:v>
                </c:pt>
                <c:pt idx="468">
                  <c:v>88.677419354838705</c:v>
                </c:pt>
                <c:pt idx="469">
                  <c:v>88.258064516129039</c:v>
                </c:pt>
                <c:pt idx="470">
                  <c:v>88.516129032258064</c:v>
                </c:pt>
                <c:pt idx="471">
                  <c:v>88.290322580645167</c:v>
                </c:pt>
                <c:pt idx="472">
                  <c:v>88.451612903225808</c:v>
                </c:pt>
                <c:pt idx="473">
                  <c:v>88.741935483870961</c:v>
                </c:pt>
                <c:pt idx="474">
                  <c:v>88.838709677419359</c:v>
                </c:pt>
                <c:pt idx="475">
                  <c:v>89.096774193548384</c:v>
                </c:pt>
                <c:pt idx="476">
                  <c:v>89.451612903225808</c:v>
                </c:pt>
                <c:pt idx="477">
                  <c:v>89.677419354838705</c:v>
                </c:pt>
                <c:pt idx="478">
                  <c:v>89.741935483870961</c:v>
                </c:pt>
                <c:pt idx="479">
                  <c:v>89.709677419354833</c:v>
                </c:pt>
                <c:pt idx="480">
                  <c:v>89.806451612903231</c:v>
                </c:pt>
                <c:pt idx="481">
                  <c:v>89.354838709677423</c:v>
                </c:pt>
                <c:pt idx="482">
                  <c:v>89.645161290322577</c:v>
                </c:pt>
                <c:pt idx="483">
                  <c:v>90.193548387096769</c:v>
                </c:pt>
                <c:pt idx="484">
                  <c:v>90.709677419354833</c:v>
                </c:pt>
                <c:pt idx="485">
                  <c:v>90.612903225806448</c:v>
                </c:pt>
                <c:pt idx="486">
                  <c:v>90.387096774193552</c:v>
                </c:pt>
                <c:pt idx="487">
                  <c:v>90.516129032258064</c:v>
                </c:pt>
                <c:pt idx="488">
                  <c:v>90.064516129032256</c:v>
                </c:pt>
                <c:pt idx="489">
                  <c:v>90.258064516129039</c:v>
                </c:pt>
                <c:pt idx="490">
                  <c:v>90.58064516129032</c:v>
                </c:pt>
                <c:pt idx="491">
                  <c:v>90.935483870967744</c:v>
                </c:pt>
                <c:pt idx="492">
                  <c:v>91.161290322580641</c:v>
                </c:pt>
                <c:pt idx="493">
                  <c:v>91.322580645161295</c:v>
                </c:pt>
                <c:pt idx="494">
                  <c:v>91.58064516129032</c:v>
                </c:pt>
                <c:pt idx="495">
                  <c:v>91.645161290322577</c:v>
                </c:pt>
                <c:pt idx="496">
                  <c:v>91.161290322580641</c:v>
                </c:pt>
                <c:pt idx="497">
                  <c:v>91.258064516129039</c:v>
                </c:pt>
                <c:pt idx="498">
                  <c:v>91.161290322580641</c:v>
                </c:pt>
                <c:pt idx="499">
                  <c:v>91.258064516129039</c:v>
                </c:pt>
                <c:pt idx="500">
                  <c:v>91.193548387096769</c:v>
                </c:pt>
                <c:pt idx="501">
                  <c:v>91.354838709677423</c:v>
                </c:pt>
                <c:pt idx="502">
                  <c:v>91.709677419354833</c:v>
                </c:pt>
                <c:pt idx="503">
                  <c:v>91.58064516129032</c:v>
                </c:pt>
                <c:pt idx="504">
                  <c:v>91.645161290322577</c:v>
                </c:pt>
                <c:pt idx="505">
                  <c:v>91.225806451612897</c:v>
                </c:pt>
                <c:pt idx="506">
                  <c:v>91.548387096774192</c:v>
                </c:pt>
                <c:pt idx="507">
                  <c:v>91.806451612903231</c:v>
                </c:pt>
                <c:pt idx="508">
                  <c:v>91.677419354838705</c:v>
                </c:pt>
                <c:pt idx="509">
                  <c:v>92.032258064516128</c:v>
                </c:pt>
                <c:pt idx="510">
                  <c:v>91.838709677419359</c:v>
                </c:pt>
                <c:pt idx="511">
                  <c:v>91.548387096774192</c:v>
                </c:pt>
                <c:pt idx="512">
                  <c:v>91.774193548387103</c:v>
                </c:pt>
                <c:pt idx="513">
                  <c:v>92</c:v>
                </c:pt>
                <c:pt idx="514">
                  <c:v>91.870967741935488</c:v>
                </c:pt>
                <c:pt idx="515">
                  <c:v>91.645161290322577</c:v>
                </c:pt>
                <c:pt idx="516">
                  <c:v>91.451612903225808</c:v>
                </c:pt>
                <c:pt idx="517">
                  <c:v>91.161290322580641</c:v>
                </c:pt>
                <c:pt idx="518">
                  <c:v>90.677419354838705</c:v>
                </c:pt>
                <c:pt idx="519">
                  <c:v>90.774193548387103</c:v>
                </c:pt>
                <c:pt idx="520">
                  <c:v>90.903225806451616</c:v>
                </c:pt>
                <c:pt idx="521">
                  <c:v>90.354838709677423</c:v>
                </c:pt>
                <c:pt idx="522">
                  <c:v>90.645161290322577</c:v>
                </c:pt>
                <c:pt idx="523">
                  <c:v>90.870967741935488</c:v>
                </c:pt>
                <c:pt idx="524">
                  <c:v>90.741935483870961</c:v>
                </c:pt>
                <c:pt idx="525">
                  <c:v>90.451612903225808</c:v>
                </c:pt>
                <c:pt idx="526">
                  <c:v>90.677419354838705</c:v>
                </c:pt>
                <c:pt idx="527">
                  <c:v>91.161290322580641</c:v>
                </c:pt>
                <c:pt idx="528">
                  <c:v>91.387096774193552</c:v>
                </c:pt>
                <c:pt idx="529">
                  <c:v>91.258064516129039</c:v>
                </c:pt>
                <c:pt idx="530">
                  <c:v>91.322580645161295</c:v>
                </c:pt>
                <c:pt idx="531">
                  <c:v>91.387096774193552</c:v>
                </c:pt>
                <c:pt idx="532">
                  <c:v>91.516129032258064</c:v>
                </c:pt>
                <c:pt idx="533">
                  <c:v>91.290322580645167</c:v>
                </c:pt>
                <c:pt idx="534">
                  <c:v>91.064516129032256</c:v>
                </c:pt>
                <c:pt idx="535">
                  <c:v>90.709677419354833</c:v>
                </c:pt>
                <c:pt idx="536">
                  <c:v>91.258064516129039</c:v>
                </c:pt>
                <c:pt idx="537">
                  <c:v>91.225806451612897</c:v>
                </c:pt>
                <c:pt idx="538">
                  <c:v>90.870967741935488</c:v>
                </c:pt>
                <c:pt idx="539">
                  <c:v>90.387096774193552</c:v>
                </c:pt>
                <c:pt idx="540">
                  <c:v>90</c:v>
                </c:pt>
                <c:pt idx="541">
                  <c:v>90</c:v>
                </c:pt>
                <c:pt idx="542">
                  <c:v>90.129032258064512</c:v>
                </c:pt>
                <c:pt idx="543">
                  <c:v>90.096774193548384</c:v>
                </c:pt>
                <c:pt idx="544">
                  <c:v>90.161290322580641</c:v>
                </c:pt>
                <c:pt idx="545">
                  <c:v>90.096774193548384</c:v>
                </c:pt>
                <c:pt idx="546">
                  <c:v>89.870967741935488</c:v>
                </c:pt>
                <c:pt idx="547">
                  <c:v>89.58064516129032</c:v>
                </c:pt>
                <c:pt idx="548">
                  <c:v>89.935483870967744</c:v>
                </c:pt>
                <c:pt idx="549">
                  <c:v>89.967741935483872</c:v>
                </c:pt>
                <c:pt idx="550">
                  <c:v>89.741935483870961</c:v>
                </c:pt>
                <c:pt idx="551">
                  <c:v>89.709677419354833</c:v>
                </c:pt>
                <c:pt idx="552">
                  <c:v>89.967741935483872</c:v>
                </c:pt>
                <c:pt idx="553">
                  <c:v>89.322580645161295</c:v>
                </c:pt>
                <c:pt idx="554">
                  <c:v>89.129032258064512</c:v>
                </c:pt>
                <c:pt idx="555">
                  <c:v>89.516129032258064</c:v>
                </c:pt>
                <c:pt idx="556">
                  <c:v>89.41935483870968</c:v>
                </c:pt>
                <c:pt idx="557">
                  <c:v>89.258064516129039</c:v>
                </c:pt>
                <c:pt idx="558">
                  <c:v>88.838709677419359</c:v>
                </c:pt>
                <c:pt idx="559">
                  <c:v>88.290322580645167</c:v>
                </c:pt>
                <c:pt idx="560">
                  <c:v>88.161290322580641</c:v>
                </c:pt>
                <c:pt idx="561">
                  <c:v>88.451612903225808</c:v>
                </c:pt>
                <c:pt idx="562">
                  <c:v>88.806451612903231</c:v>
                </c:pt>
                <c:pt idx="563">
                  <c:v>88.774193548387103</c:v>
                </c:pt>
                <c:pt idx="564">
                  <c:v>88.741935483870961</c:v>
                </c:pt>
                <c:pt idx="565">
                  <c:v>89.064516129032256</c:v>
                </c:pt>
                <c:pt idx="566">
                  <c:v>89.290322580645167</c:v>
                </c:pt>
                <c:pt idx="567">
                  <c:v>88.903225806451616</c:v>
                </c:pt>
                <c:pt idx="568">
                  <c:v>88.870967741935488</c:v>
                </c:pt>
                <c:pt idx="569">
                  <c:v>89.225806451612897</c:v>
                </c:pt>
                <c:pt idx="570">
                  <c:v>89.645161290322577</c:v>
                </c:pt>
                <c:pt idx="571">
                  <c:v>89.58064516129032</c:v>
                </c:pt>
                <c:pt idx="572">
                  <c:v>89.387096774193552</c:v>
                </c:pt>
                <c:pt idx="573">
                  <c:v>89.870967741935488</c:v>
                </c:pt>
                <c:pt idx="574">
                  <c:v>89.870967741935488</c:v>
                </c:pt>
                <c:pt idx="575">
                  <c:v>89.483870967741936</c:v>
                </c:pt>
                <c:pt idx="576">
                  <c:v>89.322580645161295</c:v>
                </c:pt>
                <c:pt idx="577">
                  <c:v>89.645161290322577</c:v>
                </c:pt>
                <c:pt idx="578">
                  <c:v>89.774193548387103</c:v>
                </c:pt>
                <c:pt idx="579">
                  <c:v>89.322580645161295</c:v>
                </c:pt>
                <c:pt idx="580">
                  <c:v>89.322580645161295</c:v>
                </c:pt>
                <c:pt idx="581">
                  <c:v>89.483870967741936</c:v>
                </c:pt>
                <c:pt idx="582">
                  <c:v>89.41935483870968</c:v>
                </c:pt>
                <c:pt idx="583">
                  <c:v>89.290322580645167</c:v>
                </c:pt>
                <c:pt idx="584">
                  <c:v>89.645161290322577</c:v>
                </c:pt>
                <c:pt idx="585">
                  <c:v>89.354838709677423</c:v>
                </c:pt>
                <c:pt idx="586">
                  <c:v>89.451612903225808</c:v>
                </c:pt>
                <c:pt idx="587">
                  <c:v>89.41935483870968</c:v>
                </c:pt>
                <c:pt idx="588">
                  <c:v>89.096774193548384</c:v>
                </c:pt>
                <c:pt idx="589">
                  <c:v>89.290322580645167</c:v>
                </c:pt>
                <c:pt idx="590">
                  <c:v>89.645161290322577</c:v>
                </c:pt>
                <c:pt idx="591">
                  <c:v>89.774193548387103</c:v>
                </c:pt>
                <c:pt idx="592">
                  <c:v>89.935483870967744</c:v>
                </c:pt>
                <c:pt idx="593">
                  <c:v>89.612903225806448</c:v>
                </c:pt>
                <c:pt idx="594">
                  <c:v>89.032258064516128</c:v>
                </c:pt>
                <c:pt idx="595">
                  <c:v>88.967741935483872</c:v>
                </c:pt>
                <c:pt idx="596">
                  <c:v>88.677419354838705</c:v>
                </c:pt>
                <c:pt idx="597">
                  <c:v>88.290322580645167</c:v>
                </c:pt>
                <c:pt idx="598">
                  <c:v>88.161290322580641</c:v>
                </c:pt>
                <c:pt idx="599">
                  <c:v>88.032258064516128</c:v>
                </c:pt>
                <c:pt idx="600">
                  <c:v>88</c:v>
                </c:pt>
                <c:pt idx="601">
                  <c:v>88.161290322580641</c:v>
                </c:pt>
                <c:pt idx="602">
                  <c:v>88.645161290322577</c:v>
                </c:pt>
                <c:pt idx="603">
                  <c:v>89.354838709677423</c:v>
                </c:pt>
                <c:pt idx="604">
                  <c:v>89.290322580645167</c:v>
                </c:pt>
                <c:pt idx="605">
                  <c:v>89.387096774193552</c:v>
                </c:pt>
                <c:pt idx="606">
                  <c:v>89.806451612903231</c:v>
                </c:pt>
                <c:pt idx="607">
                  <c:v>90.225806451612897</c:v>
                </c:pt>
                <c:pt idx="608">
                  <c:v>90.354838709677423</c:v>
                </c:pt>
                <c:pt idx="609">
                  <c:v>90.806451612903231</c:v>
                </c:pt>
                <c:pt idx="610">
                  <c:v>91.483870967741936</c:v>
                </c:pt>
                <c:pt idx="611">
                  <c:v>92.193548387096769</c:v>
                </c:pt>
                <c:pt idx="612">
                  <c:v>92.516129032258064</c:v>
                </c:pt>
                <c:pt idx="613">
                  <c:v>92.645161290322577</c:v>
                </c:pt>
                <c:pt idx="614">
                  <c:v>93.161290322580641</c:v>
                </c:pt>
                <c:pt idx="615">
                  <c:v>93.290322580645167</c:v>
                </c:pt>
                <c:pt idx="616">
                  <c:v>93.741935483870961</c:v>
                </c:pt>
                <c:pt idx="617">
                  <c:v>93.709677419354833</c:v>
                </c:pt>
                <c:pt idx="618">
                  <c:v>94.290322580645167</c:v>
                </c:pt>
                <c:pt idx="619">
                  <c:v>94.967741935483872</c:v>
                </c:pt>
                <c:pt idx="620">
                  <c:v>95.290322580645167</c:v>
                </c:pt>
                <c:pt idx="621">
                  <c:v>95.451612903225808</c:v>
                </c:pt>
                <c:pt idx="622">
                  <c:v>95.709677419354833</c:v>
                </c:pt>
                <c:pt idx="623">
                  <c:v>95.709677419354833</c:v>
                </c:pt>
                <c:pt idx="624">
                  <c:v>96.064516129032256</c:v>
                </c:pt>
                <c:pt idx="625">
                  <c:v>96.838709677419359</c:v>
                </c:pt>
                <c:pt idx="626">
                  <c:v>97.516129032258064</c:v>
                </c:pt>
                <c:pt idx="627">
                  <c:v>98.064516129032256</c:v>
                </c:pt>
                <c:pt idx="628">
                  <c:v>98.677419354838705</c:v>
                </c:pt>
                <c:pt idx="629">
                  <c:v>99.193548387096769</c:v>
                </c:pt>
                <c:pt idx="630">
                  <c:v>99.290322580645167</c:v>
                </c:pt>
                <c:pt idx="631">
                  <c:v>99.387096774193552</c:v>
                </c:pt>
                <c:pt idx="632">
                  <c:v>99.354838709677423</c:v>
                </c:pt>
                <c:pt idx="633">
                  <c:v>99.290322580645167</c:v>
                </c:pt>
                <c:pt idx="634">
                  <c:v>99.032258064516128</c:v>
                </c:pt>
                <c:pt idx="635">
                  <c:v>99.193548387096769</c:v>
                </c:pt>
                <c:pt idx="636">
                  <c:v>99.451612903225808</c:v>
                </c:pt>
                <c:pt idx="637">
                  <c:v>99.387096774193552</c:v>
                </c:pt>
                <c:pt idx="638">
                  <c:v>99.290322580645167</c:v>
                </c:pt>
                <c:pt idx="639">
                  <c:v>99.41935483870968</c:v>
                </c:pt>
                <c:pt idx="640">
                  <c:v>99.354838709677423</c:v>
                </c:pt>
                <c:pt idx="641">
                  <c:v>99.193548387096769</c:v>
                </c:pt>
                <c:pt idx="642">
                  <c:v>98.967741935483872</c:v>
                </c:pt>
                <c:pt idx="643">
                  <c:v>99.290322580645167</c:v>
                </c:pt>
                <c:pt idx="644">
                  <c:v>99.290322580645167</c:v>
                </c:pt>
                <c:pt idx="645">
                  <c:v>99.322580645161295</c:v>
                </c:pt>
                <c:pt idx="646">
                  <c:v>99.483870967741936</c:v>
                </c:pt>
                <c:pt idx="647">
                  <c:v>99.516129032258064</c:v>
                </c:pt>
                <c:pt idx="648">
                  <c:v>99.612903225806448</c:v>
                </c:pt>
                <c:pt idx="649">
                  <c:v>99.032258064516128</c:v>
                </c:pt>
                <c:pt idx="650">
                  <c:v>98.58064516129032</c:v>
                </c:pt>
                <c:pt idx="651">
                  <c:v>98.322580645161295</c:v>
                </c:pt>
                <c:pt idx="652">
                  <c:v>97.870967741935488</c:v>
                </c:pt>
                <c:pt idx="653">
                  <c:v>97.258064516129039</c:v>
                </c:pt>
                <c:pt idx="654">
                  <c:v>97.225806451612897</c:v>
                </c:pt>
                <c:pt idx="655">
                  <c:v>96.709677419354833</c:v>
                </c:pt>
                <c:pt idx="656">
                  <c:v>96.258064516129039</c:v>
                </c:pt>
                <c:pt idx="657">
                  <c:v>95.709677419354833</c:v>
                </c:pt>
                <c:pt idx="658">
                  <c:v>95.258064516129039</c:v>
                </c:pt>
                <c:pt idx="659">
                  <c:v>94.58064516129032</c:v>
                </c:pt>
                <c:pt idx="660">
                  <c:v>94.032258064516128</c:v>
                </c:pt>
                <c:pt idx="661">
                  <c:v>93.935483870967744</c:v>
                </c:pt>
                <c:pt idx="662">
                  <c:v>93.58064516129032</c:v>
                </c:pt>
                <c:pt idx="663">
                  <c:v>93.354838709677423</c:v>
                </c:pt>
                <c:pt idx="664">
                  <c:v>93.516129032258064</c:v>
                </c:pt>
                <c:pt idx="665">
                  <c:v>93.451612903225808</c:v>
                </c:pt>
                <c:pt idx="666">
                  <c:v>93.032258064516128</c:v>
                </c:pt>
                <c:pt idx="667">
                  <c:v>92.774193548387103</c:v>
                </c:pt>
                <c:pt idx="668">
                  <c:v>92.387096774193552</c:v>
                </c:pt>
                <c:pt idx="669">
                  <c:v>92</c:v>
                </c:pt>
                <c:pt idx="670">
                  <c:v>91.612903225806448</c:v>
                </c:pt>
                <c:pt idx="671">
                  <c:v>91.645161290322577</c:v>
                </c:pt>
                <c:pt idx="672">
                  <c:v>91.322580645161295</c:v>
                </c:pt>
                <c:pt idx="673">
                  <c:v>91.032258064516128</c:v>
                </c:pt>
                <c:pt idx="674">
                  <c:v>90.387096774193552</c:v>
                </c:pt>
                <c:pt idx="675">
                  <c:v>90.354838709677423</c:v>
                </c:pt>
                <c:pt idx="676">
                  <c:v>90.225806451612897</c:v>
                </c:pt>
                <c:pt idx="677">
                  <c:v>90.032258064516128</c:v>
                </c:pt>
                <c:pt idx="678">
                  <c:v>90</c:v>
                </c:pt>
                <c:pt idx="679">
                  <c:v>89.838709677419359</c:v>
                </c:pt>
                <c:pt idx="680">
                  <c:v>90.032258064516128</c:v>
                </c:pt>
                <c:pt idx="681">
                  <c:v>90.322580645161295</c:v>
                </c:pt>
                <c:pt idx="682">
                  <c:v>90.193548387096769</c:v>
                </c:pt>
                <c:pt idx="683">
                  <c:v>90.548387096774192</c:v>
                </c:pt>
                <c:pt idx="684">
                  <c:v>90.548387096774192</c:v>
                </c:pt>
                <c:pt idx="685">
                  <c:v>90.096774193548384</c:v>
                </c:pt>
                <c:pt idx="686">
                  <c:v>90.645161290322577</c:v>
                </c:pt>
                <c:pt idx="687">
                  <c:v>90.612903225806448</c:v>
                </c:pt>
                <c:pt idx="688">
                  <c:v>90.838709677419359</c:v>
                </c:pt>
                <c:pt idx="689">
                  <c:v>90.806451612903231</c:v>
                </c:pt>
                <c:pt idx="690">
                  <c:v>91.064516129032256</c:v>
                </c:pt>
                <c:pt idx="691">
                  <c:v>91.258064516129039</c:v>
                </c:pt>
                <c:pt idx="692">
                  <c:v>91.096774193548384</c:v>
                </c:pt>
                <c:pt idx="693">
                  <c:v>90.838709677419359</c:v>
                </c:pt>
                <c:pt idx="694">
                  <c:v>90.870967741935488</c:v>
                </c:pt>
                <c:pt idx="695">
                  <c:v>90.741935483870961</c:v>
                </c:pt>
                <c:pt idx="696">
                  <c:v>90.967741935483872</c:v>
                </c:pt>
                <c:pt idx="697">
                  <c:v>90.838709677419359</c:v>
                </c:pt>
                <c:pt idx="698">
                  <c:v>90.838709677419359</c:v>
                </c:pt>
                <c:pt idx="699">
                  <c:v>91.258064516129039</c:v>
                </c:pt>
                <c:pt idx="700">
                  <c:v>91.290322580645167</c:v>
                </c:pt>
                <c:pt idx="701">
                  <c:v>90.967741935483872</c:v>
                </c:pt>
                <c:pt idx="702">
                  <c:v>90.677419354838705</c:v>
                </c:pt>
                <c:pt idx="703">
                  <c:v>90.645161290322577</c:v>
                </c:pt>
                <c:pt idx="704">
                  <c:v>90.451612903225808</c:v>
                </c:pt>
                <c:pt idx="705">
                  <c:v>90.548387096774192</c:v>
                </c:pt>
                <c:pt idx="706">
                  <c:v>90.032258064516128</c:v>
                </c:pt>
                <c:pt idx="707">
                  <c:v>89.838709677419359</c:v>
                </c:pt>
                <c:pt idx="708">
                  <c:v>89.516129032258064</c:v>
                </c:pt>
                <c:pt idx="709">
                  <c:v>89.064516129032256</c:v>
                </c:pt>
                <c:pt idx="710">
                  <c:v>89.193548387096769</c:v>
                </c:pt>
                <c:pt idx="711">
                  <c:v>89.225806451612897</c:v>
                </c:pt>
                <c:pt idx="712">
                  <c:v>88.838709677419359</c:v>
                </c:pt>
                <c:pt idx="713">
                  <c:v>88.935483870967744</c:v>
                </c:pt>
                <c:pt idx="714">
                  <c:v>88.548387096774192</c:v>
                </c:pt>
                <c:pt idx="715">
                  <c:v>88.645161290322577</c:v>
                </c:pt>
                <c:pt idx="716">
                  <c:v>88.516129032258064</c:v>
                </c:pt>
                <c:pt idx="717">
                  <c:v>88.322580645161295</c:v>
                </c:pt>
                <c:pt idx="718">
                  <c:v>88.161290322580641</c:v>
                </c:pt>
                <c:pt idx="719">
                  <c:v>87.741935483870961</c:v>
                </c:pt>
                <c:pt idx="720">
                  <c:v>87.870967741935488</c:v>
                </c:pt>
                <c:pt idx="721">
                  <c:v>88.096774193548384</c:v>
                </c:pt>
                <c:pt idx="722">
                  <c:v>88.096774193548384</c:v>
                </c:pt>
                <c:pt idx="723">
                  <c:v>88.129032258064512</c:v>
                </c:pt>
                <c:pt idx="724">
                  <c:v>88.322580645161295</c:v>
                </c:pt>
                <c:pt idx="725">
                  <c:v>88.58064516129032</c:v>
                </c:pt>
                <c:pt idx="726">
                  <c:v>88.290322580645167</c:v>
                </c:pt>
                <c:pt idx="727">
                  <c:v>87.903225806451616</c:v>
                </c:pt>
                <c:pt idx="728">
                  <c:v>87.935483870967744</c:v>
                </c:pt>
                <c:pt idx="729">
                  <c:v>88.032258064516128</c:v>
                </c:pt>
                <c:pt idx="730">
                  <c:v>87.709677419354833</c:v>
                </c:pt>
                <c:pt idx="731">
                  <c:v>87.645161290322577</c:v>
                </c:pt>
                <c:pt idx="732">
                  <c:v>87.806451612903231</c:v>
                </c:pt>
                <c:pt idx="733">
                  <c:v>87.645161290322577</c:v>
                </c:pt>
                <c:pt idx="734">
                  <c:v>87.58064516129032</c:v>
                </c:pt>
                <c:pt idx="735">
                  <c:v>87.645161290322577</c:v>
                </c:pt>
                <c:pt idx="736">
                  <c:v>87.41935483870968</c:v>
                </c:pt>
                <c:pt idx="737">
                  <c:v>87.838709677419359</c:v>
                </c:pt>
                <c:pt idx="738">
                  <c:v>88</c:v>
                </c:pt>
                <c:pt idx="739">
                  <c:v>88</c:v>
                </c:pt>
                <c:pt idx="740">
                  <c:v>88</c:v>
                </c:pt>
                <c:pt idx="741">
                  <c:v>87.58064516129032</c:v>
                </c:pt>
                <c:pt idx="742">
                  <c:v>87.612903225806448</c:v>
                </c:pt>
                <c:pt idx="743">
                  <c:v>88.064516129032256</c:v>
                </c:pt>
                <c:pt idx="744">
                  <c:v>88</c:v>
                </c:pt>
                <c:pt idx="745">
                  <c:v>88.387096774193552</c:v>
                </c:pt>
                <c:pt idx="746">
                  <c:v>88.935483870967744</c:v>
                </c:pt>
                <c:pt idx="747">
                  <c:v>89.129032258064512</c:v>
                </c:pt>
                <c:pt idx="748">
                  <c:v>89</c:v>
                </c:pt>
                <c:pt idx="749">
                  <c:v>89.451612903225808</c:v>
                </c:pt>
                <c:pt idx="750">
                  <c:v>89.41935483870968</c:v>
                </c:pt>
                <c:pt idx="751">
                  <c:v>89.677419354838705</c:v>
                </c:pt>
                <c:pt idx="752">
                  <c:v>89.354838709677423</c:v>
                </c:pt>
                <c:pt idx="753">
                  <c:v>89.354838709677423</c:v>
                </c:pt>
                <c:pt idx="754">
                  <c:v>89.129032258064512</c:v>
                </c:pt>
                <c:pt idx="755">
                  <c:v>89.387096774193552</c:v>
                </c:pt>
                <c:pt idx="756">
                  <c:v>89.290322580645167</c:v>
                </c:pt>
                <c:pt idx="757">
                  <c:v>89.387096774193552</c:v>
                </c:pt>
                <c:pt idx="758">
                  <c:v>89.161290322580641</c:v>
                </c:pt>
                <c:pt idx="759">
                  <c:v>89</c:v>
                </c:pt>
                <c:pt idx="760">
                  <c:v>88.516129032258064</c:v>
                </c:pt>
                <c:pt idx="761">
                  <c:v>88.548387096774192</c:v>
                </c:pt>
                <c:pt idx="762">
                  <c:v>88.741935483870961</c:v>
                </c:pt>
                <c:pt idx="763">
                  <c:v>89</c:v>
                </c:pt>
                <c:pt idx="764">
                  <c:v>89.322580645161295</c:v>
                </c:pt>
                <c:pt idx="765">
                  <c:v>89.645161290322577</c:v>
                </c:pt>
                <c:pt idx="766">
                  <c:v>89.903225806451616</c:v>
                </c:pt>
                <c:pt idx="767">
                  <c:v>90.064516129032256</c:v>
                </c:pt>
                <c:pt idx="768">
                  <c:v>89.741935483870961</c:v>
                </c:pt>
                <c:pt idx="769">
                  <c:v>89.322580645161295</c:v>
                </c:pt>
                <c:pt idx="770">
                  <c:v>89.193548387096769</c:v>
                </c:pt>
                <c:pt idx="771">
                  <c:v>89.645161290322577</c:v>
                </c:pt>
                <c:pt idx="772">
                  <c:v>90.064516129032256</c:v>
                </c:pt>
                <c:pt idx="773">
                  <c:v>90.193548387096769</c:v>
                </c:pt>
                <c:pt idx="774">
                  <c:v>89.838709677419359</c:v>
                </c:pt>
                <c:pt idx="775">
                  <c:v>89.903225806451616</c:v>
                </c:pt>
                <c:pt idx="776">
                  <c:v>90.064516129032256</c:v>
                </c:pt>
                <c:pt idx="777">
                  <c:v>89.870967741935488</c:v>
                </c:pt>
                <c:pt idx="778">
                  <c:v>90.161290322580641</c:v>
                </c:pt>
                <c:pt idx="779">
                  <c:v>90.032258064516128</c:v>
                </c:pt>
                <c:pt idx="780">
                  <c:v>89.677419354838705</c:v>
                </c:pt>
                <c:pt idx="781">
                  <c:v>90.258064516129039</c:v>
                </c:pt>
                <c:pt idx="782">
                  <c:v>90</c:v>
                </c:pt>
                <c:pt idx="783">
                  <c:v>89.806451612903231</c:v>
                </c:pt>
                <c:pt idx="784">
                  <c:v>89.806451612903231</c:v>
                </c:pt>
                <c:pt idx="785">
                  <c:v>89.741935483870961</c:v>
                </c:pt>
                <c:pt idx="786">
                  <c:v>89.483870967741936</c:v>
                </c:pt>
                <c:pt idx="787">
                  <c:v>89.612903225806448</c:v>
                </c:pt>
                <c:pt idx="788">
                  <c:v>89.677419354838705</c:v>
                </c:pt>
                <c:pt idx="789">
                  <c:v>90</c:v>
                </c:pt>
                <c:pt idx="790">
                  <c:v>90.193548387096769</c:v>
                </c:pt>
                <c:pt idx="791">
                  <c:v>90.290322580645167</c:v>
                </c:pt>
                <c:pt idx="792">
                  <c:v>90</c:v>
                </c:pt>
                <c:pt idx="793">
                  <c:v>90.225806451612897</c:v>
                </c:pt>
                <c:pt idx="794">
                  <c:v>90.193548387096769</c:v>
                </c:pt>
                <c:pt idx="795">
                  <c:v>90.032258064516128</c:v>
                </c:pt>
                <c:pt idx="796">
                  <c:v>90.129032258064512</c:v>
                </c:pt>
                <c:pt idx="797">
                  <c:v>89.903225806451616</c:v>
                </c:pt>
                <c:pt idx="798">
                  <c:v>90.129032258064512</c:v>
                </c:pt>
                <c:pt idx="799">
                  <c:v>90.258064516129039</c:v>
                </c:pt>
                <c:pt idx="800">
                  <c:v>90.548387096774192</c:v>
                </c:pt>
                <c:pt idx="801">
                  <c:v>90.709677419354833</c:v>
                </c:pt>
                <c:pt idx="802">
                  <c:v>90.645161290322577</c:v>
                </c:pt>
                <c:pt idx="803">
                  <c:v>90.612903225806448</c:v>
                </c:pt>
                <c:pt idx="804">
                  <c:v>90.258064516129039</c:v>
                </c:pt>
                <c:pt idx="805">
                  <c:v>90.483870967741936</c:v>
                </c:pt>
                <c:pt idx="806">
                  <c:v>90.129032258064512</c:v>
                </c:pt>
                <c:pt idx="807">
                  <c:v>89.935483870967744</c:v>
                </c:pt>
                <c:pt idx="808">
                  <c:v>89.612903225806448</c:v>
                </c:pt>
                <c:pt idx="809">
                  <c:v>89.516129032258064</c:v>
                </c:pt>
                <c:pt idx="810">
                  <c:v>89.741935483870961</c:v>
                </c:pt>
                <c:pt idx="811">
                  <c:v>89.741935483870961</c:v>
                </c:pt>
                <c:pt idx="812">
                  <c:v>89.774193548387103</c:v>
                </c:pt>
                <c:pt idx="813">
                  <c:v>89.58064516129032</c:v>
                </c:pt>
                <c:pt idx="814">
                  <c:v>90</c:v>
                </c:pt>
                <c:pt idx="815">
                  <c:v>90.258064516129039</c:v>
                </c:pt>
                <c:pt idx="816">
                  <c:v>90.41935483870968</c:v>
                </c:pt>
                <c:pt idx="817">
                  <c:v>90.354838709677423</c:v>
                </c:pt>
                <c:pt idx="818">
                  <c:v>89.903225806451616</c:v>
                </c:pt>
                <c:pt idx="819">
                  <c:v>89.774193548387103</c:v>
                </c:pt>
                <c:pt idx="820">
                  <c:v>89.451612903225808</c:v>
                </c:pt>
                <c:pt idx="821">
                  <c:v>89.645161290322577</c:v>
                </c:pt>
                <c:pt idx="822">
                  <c:v>89.58064516129032</c:v>
                </c:pt>
                <c:pt idx="823">
                  <c:v>90.129032258064512</c:v>
                </c:pt>
                <c:pt idx="824">
                  <c:v>89.548387096774192</c:v>
                </c:pt>
                <c:pt idx="825">
                  <c:v>89.58064516129032</c:v>
                </c:pt>
                <c:pt idx="826">
                  <c:v>89.903225806451616</c:v>
                </c:pt>
                <c:pt idx="827">
                  <c:v>89.516129032258064</c:v>
                </c:pt>
                <c:pt idx="828">
                  <c:v>89.516129032258064</c:v>
                </c:pt>
                <c:pt idx="829">
                  <c:v>89.41935483870968</c:v>
                </c:pt>
                <c:pt idx="830">
                  <c:v>89.741935483870961</c:v>
                </c:pt>
                <c:pt idx="831">
                  <c:v>89.774193548387103</c:v>
                </c:pt>
                <c:pt idx="832">
                  <c:v>89.645161290322577</c:v>
                </c:pt>
                <c:pt idx="833">
                  <c:v>89.41935483870968</c:v>
                </c:pt>
                <c:pt idx="834">
                  <c:v>89</c:v>
                </c:pt>
                <c:pt idx="835">
                  <c:v>89.161290322580641</c:v>
                </c:pt>
                <c:pt idx="836">
                  <c:v>89.161290322580641</c:v>
                </c:pt>
                <c:pt idx="837">
                  <c:v>89.451612903225808</c:v>
                </c:pt>
                <c:pt idx="838">
                  <c:v>89.483870967741936</c:v>
                </c:pt>
                <c:pt idx="839">
                  <c:v>89.838709677419359</c:v>
                </c:pt>
                <c:pt idx="840">
                  <c:v>89.741935483870961</c:v>
                </c:pt>
                <c:pt idx="841">
                  <c:v>89.838709677419359</c:v>
                </c:pt>
                <c:pt idx="842">
                  <c:v>89.903225806451616</c:v>
                </c:pt>
                <c:pt idx="843">
                  <c:v>89.709677419354833</c:v>
                </c:pt>
                <c:pt idx="844">
                  <c:v>89.967741935483872</c:v>
                </c:pt>
                <c:pt idx="845">
                  <c:v>90</c:v>
                </c:pt>
                <c:pt idx="846">
                  <c:v>89.935483870967744</c:v>
                </c:pt>
                <c:pt idx="847">
                  <c:v>89.838709677419359</c:v>
                </c:pt>
                <c:pt idx="848">
                  <c:v>90.129032258064512</c:v>
                </c:pt>
                <c:pt idx="849">
                  <c:v>90.58064516129032</c:v>
                </c:pt>
                <c:pt idx="850">
                  <c:v>90.41935483870968</c:v>
                </c:pt>
                <c:pt idx="851">
                  <c:v>90.774193548387103</c:v>
                </c:pt>
                <c:pt idx="852">
                  <c:v>90.677419354838705</c:v>
                </c:pt>
                <c:pt idx="853">
                  <c:v>90.935483870967744</c:v>
                </c:pt>
                <c:pt idx="854">
                  <c:v>90.870967741935488</c:v>
                </c:pt>
                <c:pt idx="855">
                  <c:v>91.032258064516128</c:v>
                </c:pt>
                <c:pt idx="856">
                  <c:v>90.870967741935488</c:v>
                </c:pt>
                <c:pt idx="857">
                  <c:v>90.774193548387103</c:v>
                </c:pt>
                <c:pt idx="858">
                  <c:v>90.774193548387103</c:v>
                </c:pt>
                <c:pt idx="859">
                  <c:v>91.225806451612897</c:v>
                </c:pt>
                <c:pt idx="860">
                  <c:v>91.451612903225808</c:v>
                </c:pt>
                <c:pt idx="861">
                  <c:v>91.129032258064512</c:v>
                </c:pt>
                <c:pt idx="862">
                  <c:v>91.032258064516128</c:v>
                </c:pt>
                <c:pt idx="863">
                  <c:v>91.483870967741936</c:v>
                </c:pt>
                <c:pt idx="864">
                  <c:v>91.58064516129032</c:v>
                </c:pt>
                <c:pt idx="865">
                  <c:v>92.096774193548384</c:v>
                </c:pt>
                <c:pt idx="866">
                  <c:v>92.258064516129039</c:v>
                </c:pt>
                <c:pt idx="867">
                  <c:v>91.903225806451616</c:v>
                </c:pt>
                <c:pt idx="868">
                  <c:v>92</c:v>
                </c:pt>
                <c:pt idx="869">
                  <c:v>92</c:v>
                </c:pt>
                <c:pt idx="870">
                  <c:v>91.677419354838705</c:v>
                </c:pt>
                <c:pt idx="871">
                  <c:v>91.354838709677423</c:v>
                </c:pt>
                <c:pt idx="872">
                  <c:v>91.322580645161295</c:v>
                </c:pt>
                <c:pt idx="873">
                  <c:v>91.483870967741936</c:v>
                </c:pt>
                <c:pt idx="874">
                  <c:v>91.41935483870968</c:v>
                </c:pt>
                <c:pt idx="875">
                  <c:v>91.096774193548384</c:v>
                </c:pt>
                <c:pt idx="876">
                  <c:v>90.709677419354833</c:v>
                </c:pt>
                <c:pt idx="877">
                  <c:v>90.290322580645167</c:v>
                </c:pt>
                <c:pt idx="878">
                  <c:v>90.645161290322577</c:v>
                </c:pt>
                <c:pt idx="879">
                  <c:v>90.41935483870968</c:v>
                </c:pt>
                <c:pt idx="880">
                  <c:v>89.903225806451616</c:v>
                </c:pt>
                <c:pt idx="881">
                  <c:v>90.161290322580641</c:v>
                </c:pt>
                <c:pt idx="882">
                  <c:v>90</c:v>
                </c:pt>
                <c:pt idx="883">
                  <c:v>89.806451612903231</c:v>
                </c:pt>
                <c:pt idx="884">
                  <c:v>89.41935483870968</c:v>
                </c:pt>
                <c:pt idx="885">
                  <c:v>88.935483870967744</c:v>
                </c:pt>
                <c:pt idx="886">
                  <c:v>89.41935483870968</c:v>
                </c:pt>
                <c:pt idx="887">
                  <c:v>89.548387096774192</c:v>
                </c:pt>
                <c:pt idx="888">
                  <c:v>89.258064516129039</c:v>
                </c:pt>
                <c:pt idx="889">
                  <c:v>89.709677419354833</c:v>
                </c:pt>
                <c:pt idx="890">
                  <c:v>89.709677419354833</c:v>
                </c:pt>
                <c:pt idx="891">
                  <c:v>89.612903225806448</c:v>
                </c:pt>
                <c:pt idx="892">
                  <c:v>89.41935483870968</c:v>
                </c:pt>
                <c:pt idx="893">
                  <c:v>89.387096774193552</c:v>
                </c:pt>
                <c:pt idx="894">
                  <c:v>88.903225806451616</c:v>
                </c:pt>
                <c:pt idx="895">
                  <c:v>89.064516129032256</c:v>
                </c:pt>
                <c:pt idx="896">
                  <c:v>88.967741935483872</c:v>
                </c:pt>
                <c:pt idx="897">
                  <c:v>88.741935483870961</c:v>
                </c:pt>
                <c:pt idx="898">
                  <c:v>88.903225806451616</c:v>
                </c:pt>
                <c:pt idx="899">
                  <c:v>88.58064516129032</c:v>
                </c:pt>
                <c:pt idx="900">
                  <c:v>88.548387096774192</c:v>
                </c:pt>
                <c:pt idx="901">
                  <c:v>88.387096774193552</c:v>
                </c:pt>
                <c:pt idx="902">
                  <c:v>89</c:v>
                </c:pt>
                <c:pt idx="903">
                  <c:v>89.032258064516128</c:v>
                </c:pt>
                <c:pt idx="904">
                  <c:v>89.161290322580641</c:v>
                </c:pt>
                <c:pt idx="905">
                  <c:v>89.129032258064512</c:v>
                </c:pt>
                <c:pt idx="906">
                  <c:v>89.58064516129032</c:v>
                </c:pt>
                <c:pt idx="907">
                  <c:v>89.935483870967744</c:v>
                </c:pt>
                <c:pt idx="908">
                  <c:v>90.354838709677423</c:v>
                </c:pt>
                <c:pt idx="909">
                  <c:v>90.096774193548384</c:v>
                </c:pt>
                <c:pt idx="910">
                  <c:v>89.967741935483872</c:v>
                </c:pt>
                <c:pt idx="911">
                  <c:v>89.935483870967744</c:v>
                </c:pt>
                <c:pt idx="912">
                  <c:v>89.967741935483872</c:v>
                </c:pt>
                <c:pt idx="913">
                  <c:v>90.064516129032256</c:v>
                </c:pt>
                <c:pt idx="914">
                  <c:v>90.41935483870968</c:v>
                </c:pt>
                <c:pt idx="915">
                  <c:v>90.451612903225808</c:v>
                </c:pt>
                <c:pt idx="916">
                  <c:v>90.806451612903231</c:v>
                </c:pt>
                <c:pt idx="917">
                  <c:v>90.161290322580641</c:v>
                </c:pt>
                <c:pt idx="918">
                  <c:v>89.967741935483872</c:v>
                </c:pt>
                <c:pt idx="919">
                  <c:v>90.129032258064512</c:v>
                </c:pt>
                <c:pt idx="920">
                  <c:v>89.806451612903231</c:v>
                </c:pt>
                <c:pt idx="921">
                  <c:v>89.354838709677423</c:v>
                </c:pt>
                <c:pt idx="922">
                  <c:v>89.258064516129039</c:v>
                </c:pt>
                <c:pt idx="923">
                  <c:v>89.193548387096769</c:v>
                </c:pt>
                <c:pt idx="924">
                  <c:v>89.225806451612897</c:v>
                </c:pt>
                <c:pt idx="925">
                  <c:v>89.258064516129039</c:v>
                </c:pt>
                <c:pt idx="926">
                  <c:v>88.838709677419359</c:v>
                </c:pt>
                <c:pt idx="927">
                  <c:v>88.774193548387103</c:v>
                </c:pt>
                <c:pt idx="928">
                  <c:v>88.806451612903231</c:v>
                </c:pt>
                <c:pt idx="929">
                  <c:v>88.548387096774192</c:v>
                </c:pt>
                <c:pt idx="930">
                  <c:v>88.870967741935488</c:v>
                </c:pt>
                <c:pt idx="931">
                  <c:v>89.032258064516128</c:v>
                </c:pt>
                <c:pt idx="932">
                  <c:v>89.258064516129039</c:v>
                </c:pt>
                <c:pt idx="933">
                  <c:v>89.161290322580641</c:v>
                </c:pt>
                <c:pt idx="934">
                  <c:v>89</c:v>
                </c:pt>
                <c:pt idx="935">
                  <c:v>88.548387096774192</c:v>
                </c:pt>
                <c:pt idx="936">
                  <c:v>88.645161290322577</c:v>
                </c:pt>
                <c:pt idx="937">
                  <c:v>88.322580645161295</c:v>
                </c:pt>
                <c:pt idx="938">
                  <c:v>88.483870967741936</c:v>
                </c:pt>
                <c:pt idx="939">
                  <c:v>88.58064516129032</c:v>
                </c:pt>
                <c:pt idx="940">
                  <c:v>88.645161290322577</c:v>
                </c:pt>
                <c:pt idx="941">
                  <c:v>89.032258064516128</c:v>
                </c:pt>
                <c:pt idx="942">
                  <c:v>89.193548387096769</c:v>
                </c:pt>
                <c:pt idx="943">
                  <c:v>89.161290322580641</c:v>
                </c:pt>
                <c:pt idx="944">
                  <c:v>88.967741935483872</c:v>
                </c:pt>
                <c:pt idx="945">
                  <c:v>88.677419354838705</c:v>
                </c:pt>
                <c:pt idx="946">
                  <c:v>89.193548387096769</c:v>
                </c:pt>
                <c:pt idx="947">
                  <c:v>89</c:v>
                </c:pt>
                <c:pt idx="948">
                  <c:v>89.451612903225808</c:v>
                </c:pt>
                <c:pt idx="949">
                  <c:v>89.612903225806448</c:v>
                </c:pt>
                <c:pt idx="950">
                  <c:v>89.483870967741936</c:v>
                </c:pt>
                <c:pt idx="951">
                  <c:v>89.258064516129039</c:v>
                </c:pt>
                <c:pt idx="952">
                  <c:v>89.225806451612897</c:v>
                </c:pt>
                <c:pt idx="953">
                  <c:v>89.290322580645167</c:v>
                </c:pt>
                <c:pt idx="954">
                  <c:v>89.870967741935488</c:v>
                </c:pt>
                <c:pt idx="955">
                  <c:v>89.677419354838705</c:v>
                </c:pt>
                <c:pt idx="956">
                  <c:v>90</c:v>
                </c:pt>
                <c:pt idx="957">
                  <c:v>90.225806451612897</c:v>
                </c:pt>
                <c:pt idx="958">
                  <c:v>89.935483870967744</c:v>
                </c:pt>
                <c:pt idx="959">
                  <c:v>90.161290322580641</c:v>
                </c:pt>
                <c:pt idx="960">
                  <c:v>90.774193548387103</c:v>
                </c:pt>
                <c:pt idx="961">
                  <c:v>90.677419354838705</c:v>
                </c:pt>
                <c:pt idx="962">
                  <c:v>90.548387096774192</c:v>
                </c:pt>
                <c:pt idx="963">
                  <c:v>90.677419354838705</c:v>
                </c:pt>
                <c:pt idx="964">
                  <c:v>90.645161290322577</c:v>
                </c:pt>
                <c:pt idx="965">
                  <c:v>90.838709677419359</c:v>
                </c:pt>
                <c:pt idx="966">
                  <c:v>91.064516129032256</c:v>
                </c:pt>
                <c:pt idx="967">
                  <c:v>90.935483870967744</c:v>
                </c:pt>
                <c:pt idx="968">
                  <c:v>90.903225806451616</c:v>
                </c:pt>
                <c:pt idx="969">
                  <c:v>90.290322580645167</c:v>
                </c:pt>
                <c:pt idx="970">
                  <c:v>89.903225806451616</c:v>
                </c:pt>
                <c:pt idx="971">
                  <c:v>90.258064516129039</c:v>
                </c:pt>
                <c:pt idx="972">
                  <c:v>89.741935483870961</c:v>
                </c:pt>
                <c:pt idx="973">
                  <c:v>89.774193548387103</c:v>
                </c:pt>
                <c:pt idx="974">
                  <c:v>89.935483870967744</c:v>
                </c:pt>
                <c:pt idx="975">
                  <c:v>89.967741935483872</c:v>
                </c:pt>
                <c:pt idx="976">
                  <c:v>90.032258064516128</c:v>
                </c:pt>
                <c:pt idx="977">
                  <c:v>89.645161290322577</c:v>
                </c:pt>
                <c:pt idx="978">
                  <c:v>89.935483870967744</c:v>
                </c:pt>
                <c:pt idx="979">
                  <c:v>89.548387096774192</c:v>
                </c:pt>
                <c:pt idx="980">
                  <c:v>89.258064516129039</c:v>
                </c:pt>
                <c:pt idx="981">
                  <c:v>89.548387096774192</c:v>
                </c:pt>
                <c:pt idx="982">
                  <c:v>90.129032258064512</c:v>
                </c:pt>
                <c:pt idx="983">
                  <c:v>90.548387096774192</c:v>
                </c:pt>
                <c:pt idx="984">
                  <c:v>90.258064516129039</c:v>
                </c:pt>
                <c:pt idx="985">
                  <c:v>89.806451612903231</c:v>
                </c:pt>
                <c:pt idx="986">
                  <c:v>89.838709677419359</c:v>
                </c:pt>
                <c:pt idx="987">
                  <c:v>90.064516129032256</c:v>
                </c:pt>
                <c:pt idx="988">
                  <c:v>89.870967741935488</c:v>
                </c:pt>
                <c:pt idx="989">
                  <c:v>90.161290322580641</c:v>
                </c:pt>
                <c:pt idx="990">
                  <c:v>90.129032258064512</c:v>
                </c:pt>
                <c:pt idx="991">
                  <c:v>89.838709677419359</c:v>
                </c:pt>
                <c:pt idx="992">
                  <c:v>89.645161290322577</c:v>
                </c:pt>
                <c:pt idx="993">
                  <c:v>89.645161290322577</c:v>
                </c:pt>
                <c:pt idx="994">
                  <c:v>89.612903225806448</c:v>
                </c:pt>
                <c:pt idx="995">
                  <c:v>89.645161290322577</c:v>
                </c:pt>
                <c:pt idx="996">
                  <c:v>89.709677419354833</c:v>
                </c:pt>
                <c:pt idx="997">
                  <c:v>89.645161290322577</c:v>
                </c:pt>
                <c:pt idx="998">
                  <c:v>89.774193548387103</c:v>
                </c:pt>
                <c:pt idx="999">
                  <c:v>90.032258064516128</c:v>
                </c:pt>
                <c:pt idx="1000">
                  <c:v>90.387096774193552</c:v>
                </c:pt>
                <c:pt idx="1001">
                  <c:v>90.387096774193552</c:v>
                </c:pt>
                <c:pt idx="1002">
                  <c:v>90.225806451612897</c:v>
                </c:pt>
                <c:pt idx="1003">
                  <c:v>90.741935483870961</c:v>
                </c:pt>
                <c:pt idx="1004">
                  <c:v>91</c:v>
                </c:pt>
                <c:pt idx="1005">
                  <c:v>90.677419354838705</c:v>
                </c:pt>
                <c:pt idx="1006">
                  <c:v>90.967741935483872</c:v>
                </c:pt>
                <c:pt idx="1007">
                  <c:v>90.677419354838705</c:v>
                </c:pt>
                <c:pt idx="1008">
                  <c:v>90.935483870967744</c:v>
                </c:pt>
                <c:pt idx="1009">
                  <c:v>91.064516129032256</c:v>
                </c:pt>
                <c:pt idx="1010">
                  <c:v>91.193548387096769</c:v>
                </c:pt>
                <c:pt idx="1011">
                  <c:v>91.225806451612897</c:v>
                </c:pt>
                <c:pt idx="1012">
                  <c:v>91.225806451612897</c:v>
                </c:pt>
                <c:pt idx="1013">
                  <c:v>91.225806451612897</c:v>
                </c:pt>
                <c:pt idx="1014">
                  <c:v>91.096774193548384</c:v>
                </c:pt>
                <c:pt idx="1015">
                  <c:v>91.612903225806448</c:v>
                </c:pt>
                <c:pt idx="1016">
                  <c:v>91.516129032258064</c:v>
                </c:pt>
                <c:pt idx="1017">
                  <c:v>91.548387096774192</c:v>
                </c:pt>
                <c:pt idx="1018">
                  <c:v>91.387096774193552</c:v>
                </c:pt>
                <c:pt idx="1019">
                  <c:v>91.645161290322577</c:v>
                </c:pt>
                <c:pt idx="1020">
                  <c:v>91.677419354838705</c:v>
                </c:pt>
                <c:pt idx="1021">
                  <c:v>91.870967741935488</c:v>
                </c:pt>
                <c:pt idx="1022">
                  <c:v>92.032258064516128</c:v>
                </c:pt>
                <c:pt idx="1023">
                  <c:v>92.483870967741936</c:v>
                </c:pt>
                <c:pt idx="1024">
                  <c:v>92.548387096774192</c:v>
                </c:pt>
                <c:pt idx="1025">
                  <c:v>92.516129032258064</c:v>
                </c:pt>
                <c:pt idx="1026">
                  <c:v>92.064516129032256</c:v>
                </c:pt>
                <c:pt idx="1027">
                  <c:v>91.838709677419359</c:v>
                </c:pt>
                <c:pt idx="1028">
                  <c:v>91.903225806451616</c:v>
                </c:pt>
                <c:pt idx="1029">
                  <c:v>91.870967741935488</c:v>
                </c:pt>
                <c:pt idx="1030">
                  <c:v>91.645161290322577</c:v>
                </c:pt>
                <c:pt idx="1031">
                  <c:v>91.41935483870968</c:v>
                </c:pt>
                <c:pt idx="1032">
                  <c:v>91.709677419354833</c:v>
                </c:pt>
                <c:pt idx="1033">
                  <c:v>91.451612903225808</c:v>
                </c:pt>
                <c:pt idx="1034">
                  <c:v>91.258064516129039</c:v>
                </c:pt>
                <c:pt idx="1035">
                  <c:v>91.129032258064512</c:v>
                </c:pt>
                <c:pt idx="1036">
                  <c:v>91.064516129032256</c:v>
                </c:pt>
                <c:pt idx="1037">
                  <c:v>91.032258064516128</c:v>
                </c:pt>
                <c:pt idx="1038">
                  <c:v>91.193548387096769</c:v>
                </c:pt>
                <c:pt idx="1039">
                  <c:v>91.193548387096769</c:v>
                </c:pt>
                <c:pt idx="1040">
                  <c:v>91.290322580645167</c:v>
                </c:pt>
                <c:pt idx="1041">
                  <c:v>91.645161290322577</c:v>
                </c:pt>
                <c:pt idx="1042">
                  <c:v>92.129032258064512</c:v>
                </c:pt>
                <c:pt idx="1043">
                  <c:v>92.225806451612897</c:v>
                </c:pt>
                <c:pt idx="1044">
                  <c:v>92.161290322580641</c:v>
                </c:pt>
                <c:pt idx="1045">
                  <c:v>92.354838709677423</c:v>
                </c:pt>
                <c:pt idx="1046">
                  <c:v>92.354838709677423</c:v>
                </c:pt>
                <c:pt idx="1047">
                  <c:v>92.806451612903231</c:v>
                </c:pt>
                <c:pt idx="1048">
                  <c:v>93.193548387096769</c:v>
                </c:pt>
                <c:pt idx="1049">
                  <c:v>93.548387096774192</c:v>
                </c:pt>
                <c:pt idx="1050">
                  <c:v>93.838709677419359</c:v>
                </c:pt>
                <c:pt idx="1051">
                  <c:v>94.064516129032256</c:v>
                </c:pt>
                <c:pt idx="1052">
                  <c:v>94.193548387096769</c:v>
                </c:pt>
                <c:pt idx="1053">
                  <c:v>94.451612903225808</c:v>
                </c:pt>
                <c:pt idx="1054">
                  <c:v>94.483870967741936</c:v>
                </c:pt>
                <c:pt idx="1055">
                  <c:v>94.774193548387103</c:v>
                </c:pt>
                <c:pt idx="1056">
                  <c:v>95.193548387096769</c:v>
                </c:pt>
                <c:pt idx="1057">
                  <c:v>95.806451612903231</c:v>
                </c:pt>
                <c:pt idx="1058">
                  <c:v>95.935483870967744</c:v>
                </c:pt>
                <c:pt idx="1059">
                  <c:v>96.193548387096769</c:v>
                </c:pt>
                <c:pt idx="1060">
                  <c:v>96.354838709677423</c:v>
                </c:pt>
                <c:pt idx="1061">
                  <c:v>96.709677419354833</c:v>
                </c:pt>
                <c:pt idx="1062">
                  <c:v>97.193548387096769</c:v>
                </c:pt>
                <c:pt idx="1063">
                  <c:v>97.354838709677423</c:v>
                </c:pt>
                <c:pt idx="1064">
                  <c:v>97.838709677419359</c:v>
                </c:pt>
                <c:pt idx="1065">
                  <c:v>98.096774193548384</c:v>
                </c:pt>
                <c:pt idx="1066">
                  <c:v>98.451612903225808</c:v>
                </c:pt>
                <c:pt idx="1067">
                  <c:v>98.903225806451616</c:v>
                </c:pt>
                <c:pt idx="1068">
                  <c:v>99.258064516129039</c:v>
                </c:pt>
                <c:pt idx="1069">
                  <c:v>99.870967741935488</c:v>
                </c:pt>
                <c:pt idx="1070">
                  <c:v>100.16129032258064</c:v>
                </c:pt>
                <c:pt idx="1071">
                  <c:v>100.16129032258064</c:v>
                </c:pt>
                <c:pt idx="1072">
                  <c:v>100.12903225806451</c:v>
                </c:pt>
                <c:pt idx="1073">
                  <c:v>100.35483870967742</c:v>
                </c:pt>
                <c:pt idx="1074">
                  <c:v>100.51612903225806</c:v>
                </c:pt>
                <c:pt idx="1075">
                  <c:v>100.41935483870968</c:v>
                </c:pt>
                <c:pt idx="1076">
                  <c:v>100.45161290322581</c:v>
                </c:pt>
                <c:pt idx="1077">
                  <c:v>100.41935483870968</c:v>
                </c:pt>
                <c:pt idx="1078">
                  <c:v>100.64516129032258</c:v>
                </c:pt>
                <c:pt idx="1079">
                  <c:v>100.74193548387096</c:v>
                </c:pt>
                <c:pt idx="1080">
                  <c:v>100.48387096774194</c:v>
                </c:pt>
                <c:pt idx="1081">
                  <c:v>100.64516129032258</c:v>
                </c:pt>
                <c:pt idx="1082">
                  <c:v>100.74193548387096</c:v>
                </c:pt>
                <c:pt idx="1083">
                  <c:v>100.61290322580645</c:v>
                </c:pt>
                <c:pt idx="1084">
                  <c:v>100.45161290322581</c:v>
                </c:pt>
                <c:pt idx="1085">
                  <c:v>100.54838709677419</c:v>
                </c:pt>
                <c:pt idx="1086">
                  <c:v>100.51612903225806</c:v>
                </c:pt>
                <c:pt idx="1087">
                  <c:v>100.58064516129032</c:v>
                </c:pt>
                <c:pt idx="1088">
                  <c:v>100.45161290322581</c:v>
                </c:pt>
                <c:pt idx="1089">
                  <c:v>100.61290322580645</c:v>
                </c:pt>
                <c:pt idx="1090">
                  <c:v>100.74193548387096</c:v>
                </c:pt>
                <c:pt idx="1091">
                  <c:v>100.80645161290323</c:v>
                </c:pt>
                <c:pt idx="1092">
                  <c:v>100.93548387096774</c:v>
                </c:pt>
                <c:pt idx="1093">
                  <c:v>100.96774193548387</c:v>
                </c:pt>
                <c:pt idx="1094">
                  <c:v>101.06451612903226</c:v>
                </c:pt>
                <c:pt idx="1095">
                  <c:v>101</c:v>
                </c:pt>
                <c:pt idx="1096">
                  <c:v>100.70967741935483</c:v>
                </c:pt>
                <c:pt idx="1097">
                  <c:v>100.35483870967742</c:v>
                </c:pt>
                <c:pt idx="1098">
                  <c:v>100.19354838709677</c:v>
                </c:pt>
                <c:pt idx="1099">
                  <c:v>99.967741935483872</c:v>
                </c:pt>
                <c:pt idx="1100">
                  <c:v>99.483870967741936</c:v>
                </c:pt>
                <c:pt idx="1101">
                  <c:v>99.193548387096769</c:v>
                </c:pt>
                <c:pt idx="1102">
                  <c:v>98.935483870967744</c:v>
                </c:pt>
                <c:pt idx="1103">
                  <c:v>98.967741935483872</c:v>
                </c:pt>
                <c:pt idx="1104">
                  <c:v>98.741935483870961</c:v>
                </c:pt>
                <c:pt idx="1105">
                  <c:v>98</c:v>
                </c:pt>
                <c:pt idx="1106">
                  <c:v>97.612903225806448</c:v>
                </c:pt>
                <c:pt idx="1107">
                  <c:v>97.129032258064512</c:v>
                </c:pt>
                <c:pt idx="1108">
                  <c:v>97</c:v>
                </c:pt>
                <c:pt idx="1109">
                  <c:v>96.516129032258064</c:v>
                </c:pt>
                <c:pt idx="1110">
                  <c:v>96.354838709677423</c:v>
                </c:pt>
                <c:pt idx="1111">
                  <c:v>96.258064516129039</c:v>
                </c:pt>
                <c:pt idx="1112">
                  <c:v>95.838709677419359</c:v>
                </c:pt>
                <c:pt idx="1113">
                  <c:v>95.41935483870968</c:v>
                </c:pt>
                <c:pt idx="1114">
                  <c:v>95.258064516129039</c:v>
                </c:pt>
                <c:pt idx="1115">
                  <c:v>94.774193548387103</c:v>
                </c:pt>
                <c:pt idx="1116">
                  <c:v>94.387096774193552</c:v>
                </c:pt>
                <c:pt idx="1117">
                  <c:v>94.032258064516128</c:v>
                </c:pt>
                <c:pt idx="1118">
                  <c:v>93.258064516129039</c:v>
                </c:pt>
                <c:pt idx="1119">
                  <c:v>93.258064516129039</c:v>
                </c:pt>
                <c:pt idx="1120">
                  <c:v>93.258064516129039</c:v>
                </c:pt>
                <c:pt idx="1121">
                  <c:v>92.870967741935488</c:v>
                </c:pt>
                <c:pt idx="1122">
                  <c:v>92.516129032258064</c:v>
                </c:pt>
                <c:pt idx="1123">
                  <c:v>91.870967741935488</c:v>
                </c:pt>
                <c:pt idx="1124">
                  <c:v>91.41935483870968</c:v>
                </c:pt>
                <c:pt idx="1125">
                  <c:v>91.290322580645167</c:v>
                </c:pt>
                <c:pt idx="1126">
                  <c:v>90.806451612903231</c:v>
                </c:pt>
                <c:pt idx="1127">
                  <c:v>90.58064516129032</c:v>
                </c:pt>
                <c:pt idx="1128">
                  <c:v>90.41935483870968</c:v>
                </c:pt>
                <c:pt idx="1129">
                  <c:v>90</c:v>
                </c:pt>
                <c:pt idx="1130">
                  <c:v>89.451612903225808</c:v>
                </c:pt>
                <c:pt idx="1131">
                  <c:v>89.774193548387103</c:v>
                </c:pt>
                <c:pt idx="1132">
                  <c:v>89.451612903225808</c:v>
                </c:pt>
                <c:pt idx="1133">
                  <c:v>89.193548387096769</c:v>
                </c:pt>
                <c:pt idx="1134">
                  <c:v>88.935483870967744</c:v>
                </c:pt>
                <c:pt idx="1135">
                  <c:v>89</c:v>
                </c:pt>
                <c:pt idx="1136">
                  <c:v>89.548387096774192</c:v>
                </c:pt>
                <c:pt idx="1137">
                  <c:v>89.935483870967744</c:v>
                </c:pt>
                <c:pt idx="1138">
                  <c:v>89.741935483870961</c:v>
                </c:pt>
                <c:pt idx="1139">
                  <c:v>89.354838709677423</c:v>
                </c:pt>
                <c:pt idx="1140">
                  <c:v>89.483870967741936</c:v>
                </c:pt>
                <c:pt idx="1141">
                  <c:v>89.451612903225808</c:v>
                </c:pt>
                <c:pt idx="1142">
                  <c:v>89.322580645161295</c:v>
                </c:pt>
                <c:pt idx="1143">
                  <c:v>89.483870967741936</c:v>
                </c:pt>
                <c:pt idx="1144">
                  <c:v>89.096774193548384</c:v>
                </c:pt>
                <c:pt idx="1145">
                  <c:v>88.709677419354833</c:v>
                </c:pt>
                <c:pt idx="1146">
                  <c:v>89.129032258064512</c:v>
                </c:pt>
                <c:pt idx="1147">
                  <c:v>89.41935483870968</c:v>
                </c:pt>
                <c:pt idx="1148">
                  <c:v>89.677419354838705</c:v>
                </c:pt>
                <c:pt idx="1149">
                  <c:v>89.838709677419359</c:v>
                </c:pt>
                <c:pt idx="1150">
                  <c:v>89.741935483870961</c:v>
                </c:pt>
                <c:pt idx="1151">
                  <c:v>89.516129032258064</c:v>
                </c:pt>
                <c:pt idx="1152">
                  <c:v>89.161290322580641</c:v>
                </c:pt>
                <c:pt idx="1153">
                  <c:v>89.193548387096769</c:v>
                </c:pt>
                <c:pt idx="1154">
                  <c:v>89.709677419354833</c:v>
                </c:pt>
                <c:pt idx="1155">
                  <c:v>89.516129032258064</c:v>
                </c:pt>
                <c:pt idx="1156">
                  <c:v>89.548387096774192</c:v>
                </c:pt>
                <c:pt idx="1157">
                  <c:v>90.032258064516128</c:v>
                </c:pt>
                <c:pt idx="1158">
                  <c:v>90.483870967741936</c:v>
                </c:pt>
                <c:pt idx="1159">
                  <c:v>90.354838709677423</c:v>
                </c:pt>
                <c:pt idx="1160">
                  <c:v>90.387096774193552</c:v>
                </c:pt>
                <c:pt idx="1161">
                  <c:v>90.806451612903231</c:v>
                </c:pt>
                <c:pt idx="1162">
                  <c:v>90.41935483870968</c:v>
                </c:pt>
                <c:pt idx="1163">
                  <c:v>90.677419354838705</c:v>
                </c:pt>
                <c:pt idx="1164">
                  <c:v>90.58064516129032</c:v>
                </c:pt>
                <c:pt idx="1165">
                  <c:v>90.709677419354833</c:v>
                </c:pt>
                <c:pt idx="1166">
                  <c:v>90.096774193548384</c:v>
                </c:pt>
                <c:pt idx="1167">
                  <c:v>89.612903225806448</c:v>
                </c:pt>
                <c:pt idx="1168">
                  <c:v>89.483870967741936</c:v>
                </c:pt>
                <c:pt idx="1169">
                  <c:v>89.612903225806448</c:v>
                </c:pt>
                <c:pt idx="1170">
                  <c:v>89.870967741935488</c:v>
                </c:pt>
                <c:pt idx="1171">
                  <c:v>89.612903225806448</c:v>
                </c:pt>
                <c:pt idx="1172">
                  <c:v>89.225806451612897</c:v>
                </c:pt>
                <c:pt idx="1173">
                  <c:v>89.322580645161295</c:v>
                </c:pt>
                <c:pt idx="1174">
                  <c:v>89.290322580645167</c:v>
                </c:pt>
                <c:pt idx="1175">
                  <c:v>89.387096774193552</c:v>
                </c:pt>
                <c:pt idx="1176">
                  <c:v>89.548387096774192</c:v>
                </c:pt>
                <c:pt idx="1177">
                  <c:v>89.225806451612897</c:v>
                </c:pt>
                <c:pt idx="1178">
                  <c:v>88.838709677419359</c:v>
                </c:pt>
                <c:pt idx="1179">
                  <c:v>88.548387096774192</c:v>
                </c:pt>
                <c:pt idx="1180">
                  <c:v>88.806451612903231</c:v>
                </c:pt>
                <c:pt idx="1181">
                  <c:v>88.548387096774192</c:v>
                </c:pt>
                <c:pt idx="1182">
                  <c:v>88.387096774193552</c:v>
                </c:pt>
                <c:pt idx="1183">
                  <c:v>88.451612903225808</c:v>
                </c:pt>
                <c:pt idx="1184">
                  <c:v>88.483870967741936</c:v>
                </c:pt>
                <c:pt idx="1185">
                  <c:v>87.935483870967744</c:v>
                </c:pt>
                <c:pt idx="1186">
                  <c:v>88.225806451612897</c:v>
                </c:pt>
                <c:pt idx="1187">
                  <c:v>88.225806451612897</c:v>
                </c:pt>
                <c:pt idx="1188">
                  <c:v>88.161290322580641</c:v>
                </c:pt>
                <c:pt idx="1189">
                  <c:v>87.741935483870961</c:v>
                </c:pt>
                <c:pt idx="1190">
                  <c:v>88</c:v>
                </c:pt>
                <c:pt idx="1191">
                  <c:v>88.451612903225808</c:v>
                </c:pt>
                <c:pt idx="1192">
                  <c:v>88.645161290322577</c:v>
                </c:pt>
                <c:pt idx="1193">
                  <c:v>89</c:v>
                </c:pt>
                <c:pt idx="1194">
                  <c:v>88.967741935483872</c:v>
                </c:pt>
                <c:pt idx="1195">
                  <c:v>89.258064516129039</c:v>
                </c:pt>
                <c:pt idx="1196">
                  <c:v>89.258064516129039</c:v>
                </c:pt>
                <c:pt idx="1197">
                  <c:v>89.225806451612897</c:v>
                </c:pt>
                <c:pt idx="1198">
                  <c:v>89.258064516129039</c:v>
                </c:pt>
                <c:pt idx="1199">
                  <c:v>89</c:v>
                </c:pt>
                <c:pt idx="1200">
                  <c:v>89</c:v>
                </c:pt>
                <c:pt idx="1201">
                  <c:v>88.677419354838705</c:v>
                </c:pt>
                <c:pt idx="1202">
                  <c:v>89.096774193548384</c:v>
                </c:pt>
                <c:pt idx="1203">
                  <c:v>89.41935483870968</c:v>
                </c:pt>
                <c:pt idx="1204">
                  <c:v>89.032258064516128</c:v>
                </c:pt>
                <c:pt idx="1205">
                  <c:v>88.903225806451616</c:v>
                </c:pt>
                <c:pt idx="1206">
                  <c:v>89.161290322580641</c:v>
                </c:pt>
                <c:pt idx="1207">
                  <c:v>89.483870967741936</c:v>
                </c:pt>
                <c:pt idx="1208">
                  <c:v>89.322580645161295</c:v>
                </c:pt>
                <c:pt idx="1209">
                  <c:v>89.354838709677423</c:v>
                </c:pt>
                <c:pt idx="1210">
                  <c:v>89.645161290322577</c:v>
                </c:pt>
                <c:pt idx="1211">
                  <c:v>89.225806451612897</c:v>
                </c:pt>
                <c:pt idx="1212">
                  <c:v>89.225806451612897</c:v>
                </c:pt>
                <c:pt idx="1213">
                  <c:v>89.129032258064512</c:v>
                </c:pt>
                <c:pt idx="1214">
                  <c:v>89.483870967741936</c:v>
                </c:pt>
                <c:pt idx="1215">
                  <c:v>89.387096774193552</c:v>
                </c:pt>
                <c:pt idx="1216">
                  <c:v>89.870967741935488</c:v>
                </c:pt>
                <c:pt idx="1217">
                  <c:v>89.677419354838705</c:v>
                </c:pt>
                <c:pt idx="1218">
                  <c:v>89.516129032258064</c:v>
                </c:pt>
                <c:pt idx="1219">
                  <c:v>89.548387096774192</c:v>
                </c:pt>
                <c:pt idx="1220">
                  <c:v>90.032258064516128</c:v>
                </c:pt>
                <c:pt idx="1221">
                  <c:v>89.741935483870961</c:v>
                </c:pt>
                <c:pt idx="1222">
                  <c:v>89.258064516129039</c:v>
                </c:pt>
                <c:pt idx="1223">
                  <c:v>88.645161290322577</c:v>
                </c:pt>
                <c:pt idx="1224">
                  <c:v>88.451612903225808</c:v>
                </c:pt>
                <c:pt idx="1225">
                  <c:v>88.709677419354833</c:v>
                </c:pt>
                <c:pt idx="1226">
                  <c:v>88.387096774193552</c:v>
                </c:pt>
                <c:pt idx="1227">
                  <c:v>88.387096774193552</c:v>
                </c:pt>
                <c:pt idx="1228">
                  <c:v>88.903225806451616</c:v>
                </c:pt>
                <c:pt idx="1229">
                  <c:v>89.193548387096769</c:v>
                </c:pt>
                <c:pt idx="1230">
                  <c:v>89.548387096774192</c:v>
                </c:pt>
                <c:pt idx="1231">
                  <c:v>90.032258064516128</c:v>
                </c:pt>
                <c:pt idx="1232">
                  <c:v>90.806451612903231</c:v>
                </c:pt>
                <c:pt idx="1233">
                  <c:v>91.032258064516128</c:v>
                </c:pt>
                <c:pt idx="1234">
                  <c:v>91.193548387096769</c:v>
                </c:pt>
                <c:pt idx="1235">
                  <c:v>91.838709677419359</c:v>
                </c:pt>
                <c:pt idx="1236">
                  <c:v>92.064516129032256</c:v>
                </c:pt>
                <c:pt idx="1237">
                  <c:v>92.322580645161295</c:v>
                </c:pt>
                <c:pt idx="1238">
                  <c:v>92.354838709677423</c:v>
                </c:pt>
                <c:pt idx="1239">
                  <c:v>93.129032258064512</c:v>
                </c:pt>
                <c:pt idx="1240">
                  <c:v>93.387096774193552</c:v>
                </c:pt>
                <c:pt idx="1241">
                  <c:v>93.483870967741936</c:v>
                </c:pt>
                <c:pt idx="1242">
                  <c:v>94.032258064516128</c:v>
                </c:pt>
                <c:pt idx="1243">
                  <c:v>94.58064516129032</c:v>
                </c:pt>
                <c:pt idx="1244">
                  <c:v>95.193548387096769</c:v>
                </c:pt>
                <c:pt idx="1245">
                  <c:v>95.354838709677423</c:v>
                </c:pt>
                <c:pt idx="1246">
                  <c:v>95.612903225806448</c:v>
                </c:pt>
                <c:pt idx="1247">
                  <c:v>95.677419354838705</c:v>
                </c:pt>
                <c:pt idx="1248">
                  <c:v>96.354838709677423</c:v>
                </c:pt>
                <c:pt idx="1249">
                  <c:v>96.58064516129032</c:v>
                </c:pt>
                <c:pt idx="1250">
                  <c:v>96.709677419354833</c:v>
                </c:pt>
                <c:pt idx="1251">
                  <c:v>96.709677419354833</c:v>
                </c:pt>
                <c:pt idx="1252">
                  <c:v>97.096774193548384</c:v>
                </c:pt>
                <c:pt idx="1253">
                  <c:v>97.774193548387103</c:v>
                </c:pt>
                <c:pt idx="1254">
                  <c:v>98.41935483870968</c:v>
                </c:pt>
                <c:pt idx="1255">
                  <c:v>98.806451612903231</c:v>
                </c:pt>
                <c:pt idx="1256">
                  <c:v>98.741935483870961</c:v>
                </c:pt>
                <c:pt idx="1257">
                  <c:v>99.516129032258064</c:v>
                </c:pt>
                <c:pt idx="1258">
                  <c:v>99.903225806451616</c:v>
                </c:pt>
                <c:pt idx="1259">
                  <c:v>99.870967741935488</c:v>
                </c:pt>
                <c:pt idx="1260">
                  <c:v>100.06451612903226</c:v>
                </c:pt>
                <c:pt idx="1261">
                  <c:v>100.25806451612904</c:v>
                </c:pt>
                <c:pt idx="1262">
                  <c:v>100.45161290322581</c:v>
                </c:pt>
                <c:pt idx="1263">
                  <c:v>100.45161290322581</c:v>
                </c:pt>
                <c:pt idx="1264">
                  <c:v>100.51612903225806</c:v>
                </c:pt>
                <c:pt idx="1265">
                  <c:v>100.45161290322581</c:v>
                </c:pt>
                <c:pt idx="1266">
                  <c:v>100.58064516129032</c:v>
                </c:pt>
                <c:pt idx="1267">
                  <c:v>100.48387096774194</c:v>
                </c:pt>
                <c:pt idx="1268">
                  <c:v>100.61290322580645</c:v>
                </c:pt>
                <c:pt idx="1269">
                  <c:v>100.87096774193549</c:v>
                </c:pt>
                <c:pt idx="1270">
                  <c:v>100.70967741935483</c:v>
                </c:pt>
                <c:pt idx="1271">
                  <c:v>100.87096774193549</c:v>
                </c:pt>
                <c:pt idx="1272">
                  <c:v>100.90322580645162</c:v>
                </c:pt>
                <c:pt idx="1273">
                  <c:v>100.96774193548387</c:v>
                </c:pt>
                <c:pt idx="1274">
                  <c:v>100.96774193548387</c:v>
                </c:pt>
                <c:pt idx="1275">
                  <c:v>100.90322580645162</c:v>
                </c:pt>
                <c:pt idx="1276">
                  <c:v>100.83870967741936</c:v>
                </c:pt>
                <c:pt idx="1277">
                  <c:v>100.83870967741936</c:v>
                </c:pt>
                <c:pt idx="1278">
                  <c:v>100.25806451612904</c:v>
                </c:pt>
                <c:pt idx="1279">
                  <c:v>99.548387096774192</c:v>
                </c:pt>
                <c:pt idx="1280">
                  <c:v>99.451612903225808</c:v>
                </c:pt>
                <c:pt idx="1281">
                  <c:v>99.258064516129039</c:v>
                </c:pt>
                <c:pt idx="1282">
                  <c:v>99.064516129032256</c:v>
                </c:pt>
                <c:pt idx="1283">
                  <c:v>98.709677419354833</c:v>
                </c:pt>
                <c:pt idx="1284">
                  <c:v>98.129032258064512</c:v>
                </c:pt>
                <c:pt idx="1285">
                  <c:v>97.645161290322577</c:v>
                </c:pt>
                <c:pt idx="1286">
                  <c:v>97.516129032258064</c:v>
                </c:pt>
                <c:pt idx="1287">
                  <c:v>97.322580645161295</c:v>
                </c:pt>
                <c:pt idx="1288">
                  <c:v>96.741935483870961</c:v>
                </c:pt>
                <c:pt idx="1289">
                  <c:v>96.258064516129039</c:v>
                </c:pt>
                <c:pt idx="1290">
                  <c:v>96.354838709677423</c:v>
                </c:pt>
                <c:pt idx="1291">
                  <c:v>95.967741935483872</c:v>
                </c:pt>
                <c:pt idx="1292">
                  <c:v>95.806451612903231</c:v>
                </c:pt>
                <c:pt idx="1293">
                  <c:v>95.516129032258064</c:v>
                </c:pt>
                <c:pt idx="1294">
                  <c:v>95.064516129032256</c:v>
                </c:pt>
                <c:pt idx="1295">
                  <c:v>94.645161290322577</c:v>
                </c:pt>
                <c:pt idx="1296">
                  <c:v>94.129032258064512</c:v>
                </c:pt>
                <c:pt idx="1297">
                  <c:v>93.516129032258064</c:v>
                </c:pt>
                <c:pt idx="1298">
                  <c:v>93.258064516129039</c:v>
                </c:pt>
                <c:pt idx="1299">
                  <c:v>92.903225806451616</c:v>
                </c:pt>
                <c:pt idx="1300">
                  <c:v>92.709677419354833</c:v>
                </c:pt>
                <c:pt idx="1301">
                  <c:v>92.064516129032256</c:v>
                </c:pt>
                <c:pt idx="1302">
                  <c:v>91.516129032258064</c:v>
                </c:pt>
                <c:pt idx="1303">
                  <c:v>91.354838709677423</c:v>
                </c:pt>
                <c:pt idx="1304">
                  <c:v>91.322580645161295</c:v>
                </c:pt>
                <c:pt idx="1305">
                  <c:v>91.225806451612897</c:v>
                </c:pt>
                <c:pt idx="1306">
                  <c:v>90.612903225806448</c:v>
                </c:pt>
                <c:pt idx="1307">
                  <c:v>90.58064516129032</c:v>
                </c:pt>
                <c:pt idx="1308">
                  <c:v>90.645161290322577</c:v>
                </c:pt>
                <c:pt idx="1309">
                  <c:v>90.709677419354833</c:v>
                </c:pt>
                <c:pt idx="1310">
                  <c:v>90.838709677419359</c:v>
                </c:pt>
                <c:pt idx="1311">
                  <c:v>90.838709677419359</c:v>
                </c:pt>
                <c:pt idx="1312">
                  <c:v>90.516129032258064</c:v>
                </c:pt>
                <c:pt idx="1313">
                  <c:v>90.387096774193552</c:v>
                </c:pt>
                <c:pt idx="1314">
                  <c:v>90.677419354838705</c:v>
                </c:pt>
                <c:pt idx="1315">
                  <c:v>91.161290322580641</c:v>
                </c:pt>
                <c:pt idx="1316">
                  <c:v>91.064516129032256</c:v>
                </c:pt>
                <c:pt idx="1317">
                  <c:v>90.838709677419359</c:v>
                </c:pt>
                <c:pt idx="1318">
                  <c:v>90.516129032258064</c:v>
                </c:pt>
                <c:pt idx="1319">
                  <c:v>90.612903225806448</c:v>
                </c:pt>
                <c:pt idx="1320">
                  <c:v>90.774193548387103</c:v>
                </c:pt>
                <c:pt idx="1321">
                  <c:v>90.516129032258064</c:v>
                </c:pt>
                <c:pt idx="1322">
                  <c:v>90.516129032258064</c:v>
                </c:pt>
                <c:pt idx="1323">
                  <c:v>90.612903225806448</c:v>
                </c:pt>
                <c:pt idx="1324">
                  <c:v>90.741935483870961</c:v>
                </c:pt>
                <c:pt idx="1325">
                  <c:v>90.903225806451616</c:v>
                </c:pt>
                <c:pt idx="1326">
                  <c:v>91.096774193548384</c:v>
                </c:pt>
                <c:pt idx="1327">
                  <c:v>91.290322580645167</c:v>
                </c:pt>
                <c:pt idx="1328">
                  <c:v>91.290322580645167</c:v>
                </c:pt>
                <c:pt idx="1329">
                  <c:v>91.225806451612897</c:v>
                </c:pt>
                <c:pt idx="1330">
                  <c:v>91.354838709677423</c:v>
                </c:pt>
                <c:pt idx="1331">
                  <c:v>91.129032258064512</c:v>
                </c:pt>
                <c:pt idx="1332">
                  <c:v>91.387096774193552</c:v>
                </c:pt>
                <c:pt idx="1333">
                  <c:v>91.516129032258064</c:v>
                </c:pt>
                <c:pt idx="1334">
                  <c:v>90.903225806451616</c:v>
                </c:pt>
                <c:pt idx="1335">
                  <c:v>90.548387096774192</c:v>
                </c:pt>
                <c:pt idx="1336">
                  <c:v>90.387096774193552</c:v>
                </c:pt>
                <c:pt idx="1337">
                  <c:v>90.387096774193552</c:v>
                </c:pt>
                <c:pt idx="1338">
                  <c:v>90.096774193548384</c:v>
                </c:pt>
                <c:pt idx="1339">
                  <c:v>89.58064516129032</c:v>
                </c:pt>
                <c:pt idx="1340">
                  <c:v>89.516129032258064</c:v>
                </c:pt>
                <c:pt idx="1341">
                  <c:v>89.645161290322577</c:v>
                </c:pt>
                <c:pt idx="1342">
                  <c:v>89.032258064516128</c:v>
                </c:pt>
                <c:pt idx="1343">
                  <c:v>89.225806451612897</c:v>
                </c:pt>
                <c:pt idx="1344">
                  <c:v>89.161290322580641</c:v>
                </c:pt>
                <c:pt idx="1345">
                  <c:v>88.903225806451616</c:v>
                </c:pt>
                <c:pt idx="1346">
                  <c:v>88.483870967741936</c:v>
                </c:pt>
                <c:pt idx="1347">
                  <c:v>88.774193548387103</c:v>
                </c:pt>
                <c:pt idx="1348">
                  <c:v>88.870967741935488</c:v>
                </c:pt>
                <c:pt idx="1349">
                  <c:v>89.096774193548384</c:v>
                </c:pt>
                <c:pt idx="1350">
                  <c:v>89.064516129032256</c:v>
                </c:pt>
                <c:pt idx="1351">
                  <c:v>89.193548387096769</c:v>
                </c:pt>
                <c:pt idx="1352">
                  <c:v>89.322580645161295</c:v>
                </c:pt>
                <c:pt idx="1353">
                  <c:v>89.709677419354833</c:v>
                </c:pt>
                <c:pt idx="1354">
                  <c:v>89.322580645161295</c:v>
                </c:pt>
                <c:pt idx="1355">
                  <c:v>88.935483870967744</c:v>
                </c:pt>
                <c:pt idx="1356">
                  <c:v>88.838709677419359</c:v>
                </c:pt>
                <c:pt idx="1357">
                  <c:v>88.774193548387103</c:v>
                </c:pt>
                <c:pt idx="1358">
                  <c:v>89.129032258064512</c:v>
                </c:pt>
                <c:pt idx="1359">
                  <c:v>89.129032258064512</c:v>
                </c:pt>
                <c:pt idx="1360">
                  <c:v>89.096774193548384</c:v>
                </c:pt>
                <c:pt idx="1361">
                  <c:v>89.032258064516128</c:v>
                </c:pt>
                <c:pt idx="1362">
                  <c:v>88.774193548387103</c:v>
                </c:pt>
                <c:pt idx="1363">
                  <c:v>88.677419354838705</c:v>
                </c:pt>
                <c:pt idx="1364">
                  <c:v>88.806451612903231</c:v>
                </c:pt>
                <c:pt idx="1365">
                  <c:v>89</c:v>
                </c:pt>
                <c:pt idx="1366">
                  <c:v>88.806451612903231</c:v>
                </c:pt>
                <c:pt idx="1367">
                  <c:v>88.935483870967744</c:v>
                </c:pt>
                <c:pt idx="1368">
                  <c:v>89.064516129032256</c:v>
                </c:pt>
                <c:pt idx="1369">
                  <c:v>88.870967741935488</c:v>
                </c:pt>
                <c:pt idx="1370">
                  <c:v>89.096774193548384</c:v>
                </c:pt>
                <c:pt idx="1371">
                  <c:v>89.483870967741936</c:v>
                </c:pt>
                <c:pt idx="1372">
                  <c:v>89.709677419354833</c:v>
                </c:pt>
                <c:pt idx="1373">
                  <c:v>89.806451612903231</c:v>
                </c:pt>
                <c:pt idx="1374">
                  <c:v>90.032258064516128</c:v>
                </c:pt>
                <c:pt idx="1375">
                  <c:v>90.483870967741936</c:v>
                </c:pt>
                <c:pt idx="1376">
                  <c:v>90.483870967741936</c:v>
                </c:pt>
                <c:pt idx="1377">
                  <c:v>90.548387096774192</c:v>
                </c:pt>
                <c:pt idx="1378">
                  <c:v>90.193548387096769</c:v>
                </c:pt>
                <c:pt idx="1379">
                  <c:v>90</c:v>
                </c:pt>
                <c:pt idx="1380">
                  <c:v>90.129032258064512</c:v>
                </c:pt>
                <c:pt idx="1381">
                  <c:v>90</c:v>
                </c:pt>
                <c:pt idx="1382">
                  <c:v>89.709677419354833</c:v>
                </c:pt>
                <c:pt idx="1383">
                  <c:v>89.838709677419359</c:v>
                </c:pt>
                <c:pt idx="1384">
                  <c:v>89.645161290322577</c:v>
                </c:pt>
                <c:pt idx="1385">
                  <c:v>89.677419354838705</c:v>
                </c:pt>
                <c:pt idx="1386">
                  <c:v>89.645161290322577</c:v>
                </c:pt>
                <c:pt idx="1387">
                  <c:v>89.290322580645167</c:v>
                </c:pt>
                <c:pt idx="1388">
                  <c:v>88.967741935483872</c:v>
                </c:pt>
                <c:pt idx="1389">
                  <c:v>88.870967741935488</c:v>
                </c:pt>
                <c:pt idx="1390">
                  <c:v>88.774193548387103</c:v>
                </c:pt>
                <c:pt idx="1391">
                  <c:v>88.677419354838705</c:v>
                </c:pt>
                <c:pt idx="1392">
                  <c:v>88.548387096774192</c:v>
                </c:pt>
                <c:pt idx="1393">
                  <c:v>88.483870967741936</c:v>
                </c:pt>
                <c:pt idx="1394">
                  <c:v>88.806451612903231</c:v>
                </c:pt>
                <c:pt idx="1395">
                  <c:v>89</c:v>
                </c:pt>
                <c:pt idx="1396">
                  <c:v>89.032258064516128</c:v>
                </c:pt>
                <c:pt idx="1397">
                  <c:v>89.387096774193552</c:v>
                </c:pt>
                <c:pt idx="1398">
                  <c:v>89.387096774193552</c:v>
                </c:pt>
                <c:pt idx="1399">
                  <c:v>89.161290322580641</c:v>
                </c:pt>
                <c:pt idx="1400">
                  <c:v>89.709677419354833</c:v>
                </c:pt>
                <c:pt idx="1401">
                  <c:v>89.838709677419359</c:v>
                </c:pt>
                <c:pt idx="1402">
                  <c:v>89.451612903225808</c:v>
                </c:pt>
                <c:pt idx="1403">
                  <c:v>89.225806451612897</c:v>
                </c:pt>
                <c:pt idx="1404">
                  <c:v>89.41935483870968</c:v>
                </c:pt>
                <c:pt idx="1405">
                  <c:v>89.096774193548384</c:v>
                </c:pt>
                <c:pt idx="1406">
                  <c:v>89</c:v>
                </c:pt>
                <c:pt idx="1407">
                  <c:v>89.354838709677423</c:v>
                </c:pt>
                <c:pt idx="1408">
                  <c:v>89.612903225806448</c:v>
                </c:pt>
                <c:pt idx="1409">
                  <c:v>89.838709677419359</c:v>
                </c:pt>
                <c:pt idx="1410">
                  <c:v>89.548387096774192</c:v>
                </c:pt>
                <c:pt idx="1411">
                  <c:v>89.290322580645167</c:v>
                </c:pt>
                <c:pt idx="1412">
                  <c:v>89.129032258064512</c:v>
                </c:pt>
                <c:pt idx="1413">
                  <c:v>89.322580645161295</c:v>
                </c:pt>
                <c:pt idx="1414">
                  <c:v>88.838709677419359</c:v>
                </c:pt>
                <c:pt idx="1415">
                  <c:v>88.677419354838705</c:v>
                </c:pt>
                <c:pt idx="1416">
                  <c:v>88.806451612903231</c:v>
                </c:pt>
                <c:pt idx="1417">
                  <c:v>89.161290322580641</c:v>
                </c:pt>
                <c:pt idx="1418">
                  <c:v>89.709677419354833</c:v>
                </c:pt>
                <c:pt idx="1419">
                  <c:v>89.903225806451616</c:v>
                </c:pt>
                <c:pt idx="1420">
                  <c:v>89.677419354838705</c:v>
                </c:pt>
                <c:pt idx="1421">
                  <c:v>89.677419354838705</c:v>
                </c:pt>
                <c:pt idx="1422">
                  <c:v>89.741935483870961</c:v>
                </c:pt>
                <c:pt idx="1423">
                  <c:v>89.451612903225808</c:v>
                </c:pt>
                <c:pt idx="1424">
                  <c:v>90.032258064516128</c:v>
                </c:pt>
                <c:pt idx="1425">
                  <c:v>90.096774193548384</c:v>
                </c:pt>
                <c:pt idx="1426">
                  <c:v>89.741935483870961</c:v>
                </c:pt>
                <c:pt idx="1427">
                  <c:v>89.58064516129032</c:v>
                </c:pt>
                <c:pt idx="1428">
                  <c:v>89.483870967741936</c:v>
                </c:pt>
                <c:pt idx="1429">
                  <c:v>89.483870967741936</c:v>
                </c:pt>
                <c:pt idx="1430">
                  <c:v>89.612903225806448</c:v>
                </c:pt>
                <c:pt idx="1431">
                  <c:v>89.41935483870968</c:v>
                </c:pt>
                <c:pt idx="1432">
                  <c:v>89.193548387096769</c:v>
                </c:pt>
                <c:pt idx="1433">
                  <c:v>89.225806451612897</c:v>
                </c:pt>
                <c:pt idx="1434">
                  <c:v>89.064516129032256</c:v>
                </c:pt>
                <c:pt idx="1435">
                  <c:v>88.870967741935488</c:v>
                </c:pt>
                <c:pt idx="1436">
                  <c:v>89.129032258064512</c:v>
                </c:pt>
                <c:pt idx="1437">
                  <c:v>88.709677419354833</c:v>
                </c:pt>
                <c:pt idx="1438">
                  <c:v>88.322580645161295</c:v>
                </c:pt>
                <c:pt idx="1439">
                  <c:v>88.193548387096769</c:v>
                </c:pt>
                <c:pt idx="1440">
                  <c:v>88.387096774193552</c:v>
                </c:pt>
                <c:pt idx="1441">
                  <c:v>88.677419354838705</c:v>
                </c:pt>
                <c:pt idx="1442">
                  <c:v>88.612903225806448</c:v>
                </c:pt>
                <c:pt idx="1443">
                  <c:v>88.806451612903231</c:v>
                </c:pt>
                <c:pt idx="1444">
                  <c:v>88.322580645161295</c:v>
                </c:pt>
                <c:pt idx="1445">
                  <c:v>88.838709677419359</c:v>
                </c:pt>
                <c:pt idx="1446">
                  <c:v>89.064516129032256</c:v>
                </c:pt>
                <c:pt idx="1447">
                  <c:v>89.161290322580641</c:v>
                </c:pt>
                <c:pt idx="1448">
                  <c:v>89.161290322580641</c:v>
                </c:pt>
                <c:pt idx="1449">
                  <c:v>88.58064516129032</c:v>
                </c:pt>
                <c:pt idx="1450">
                  <c:v>88.806451612903231</c:v>
                </c:pt>
                <c:pt idx="1451">
                  <c:v>88.516129032258064</c:v>
                </c:pt>
                <c:pt idx="1452">
                  <c:v>88.935483870967744</c:v>
                </c:pt>
                <c:pt idx="1453">
                  <c:v>88.838709677419359</c:v>
                </c:pt>
                <c:pt idx="1454">
                  <c:v>89.032258064516128</c:v>
                </c:pt>
                <c:pt idx="1455">
                  <c:v>88.677419354838705</c:v>
                </c:pt>
                <c:pt idx="1456">
                  <c:v>88.290322580645167</c:v>
                </c:pt>
                <c:pt idx="1457">
                  <c:v>88.225806451612897</c:v>
                </c:pt>
                <c:pt idx="1458">
                  <c:v>88.387096774193552</c:v>
                </c:pt>
                <c:pt idx="1459">
                  <c:v>88.387096774193552</c:v>
                </c:pt>
                <c:pt idx="1460">
                  <c:v>87.774193548387103</c:v>
                </c:pt>
                <c:pt idx="1461">
                  <c:v>87.903225806451616</c:v>
                </c:pt>
                <c:pt idx="1462">
                  <c:v>87.612903225806448</c:v>
                </c:pt>
                <c:pt idx="1463">
                  <c:v>87.935483870967744</c:v>
                </c:pt>
                <c:pt idx="1464">
                  <c:v>88.483870967741936</c:v>
                </c:pt>
                <c:pt idx="1465">
                  <c:v>88.548387096774192</c:v>
                </c:pt>
                <c:pt idx="1466">
                  <c:v>88.58064516129032</c:v>
                </c:pt>
                <c:pt idx="1467">
                  <c:v>88.129032258064512</c:v>
                </c:pt>
                <c:pt idx="1468">
                  <c:v>88.064516129032256</c:v>
                </c:pt>
                <c:pt idx="1469">
                  <c:v>88.161290322580641</c:v>
                </c:pt>
                <c:pt idx="1470">
                  <c:v>87.935483870967744</c:v>
                </c:pt>
                <c:pt idx="1471">
                  <c:v>87.612903225806448</c:v>
                </c:pt>
                <c:pt idx="1472">
                  <c:v>87.903225806451616</c:v>
                </c:pt>
                <c:pt idx="1473">
                  <c:v>88.41935483870968</c:v>
                </c:pt>
                <c:pt idx="1474">
                  <c:v>88.258064516129039</c:v>
                </c:pt>
                <c:pt idx="1475">
                  <c:v>88.612903225806448</c:v>
                </c:pt>
                <c:pt idx="1476">
                  <c:v>88.032258064516128</c:v>
                </c:pt>
                <c:pt idx="1477">
                  <c:v>87.806451612903231</c:v>
                </c:pt>
                <c:pt idx="1478">
                  <c:v>87.935483870967744</c:v>
                </c:pt>
                <c:pt idx="1479">
                  <c:v>87.516129032258064</c:v>
                </c:pt>
                <c:pt idx="1480">
                  <c:v>87.548387096774192</c:v>
                </c:pt>
                <c:pt idx="1481">
                  <c:v>87.387096774193552</c:v>
                </c:pt>
                <c:pt idx="1482">
                  <c:v>87.645161290322577</c:v>
                </c:pt>
                <c:pt idx="1483">
                  <c:v>87.354838709677423</c:v>
                </c:pt>
                <c:pt idx="1484">
                  <c:v>87.870967741935488</c:v>
                </c:pt>
                <c:pt idx="1485">
                  <c:v>88.290322580645167</c:v>
                </c:pt>
                <c:pt idx="1486">
                  <c:v>88.354838709677423</c:v>
                </c:pt>
                <c:pt idx="1487">
                  <c:v>88.225806451612897</c:v>
                </c:pt>
                <c:pt idx="1488">
                  <c:v>88.290322580645167</c:v>
                </c:pt>
                <c:pt idx="1489">
                  <c:v>88.258064516129039</c:v>
                </c:pt>
                <c:pt idx="1490">
                  <c:v>88.225806451612897</c:v>
                </c:pt>
                <c:pt idx="1491">
                  <c:v>88.58064516129032</c:v>
                </c:pt>
                <c:pt idx="1492">
                  <c:v>88.741935483870961</c:v>
                </c:pt>
                <c:pt idx="1493">
                  <c:v>89.225806451612897</c:v>
                </c:pt>
                <c:pt idx="1494">
                  <c:v>88.935483870967744</c:v>
                </c:pt>
                <c:pt idx="1495">
                  <c:v>88.58064516129032</c:v>
                </c:pt>
                <c:pt idx="1496">
                  <c:v>88.612903225806448</c:v>
                </c:pt>
                <c:pt idx="1497">
                  <c:v>88.709677419354833</c:v>
                </c:pt>
                <c:pt idx="1498">
                  <c:v>88.709677419354833</c:v>
                </c:pt>
                <c:pt idx="1499">
                  <c:v>89.225806451612897</c:v>
                </c:pt>
                <c:pt idx="1500">
                  <c:v>89.41935483870968</c:v>
                </c:pt>
                <c:pt idx="1501">
                  <c:v>89.354838709677423</c:v>
                </c:pt>
                <c:pt idx="1502">
                  <c:v>89.806451612903231</c:v>
                </c:pt>
                <c:pt idx="1503">
                  <c:v>89.741935483870961</c:v>
                </c:pt>
                <c:pt idx="1504">
                  <c:v>89.41935483870968</c:v>
                </c:pt>
                <c:pt idx="1505">
                  <c:v>89.451612903225808</c:v>
                </c:pt>
                <c:pt idx="1506">
                  <c:v>89.451612903225808</c:v>
                </c:pt>
                <c:pt idx="1507">
                  <c:v>89.806451612903231</c:v>
                </c:pt>
                <c:pt idx="1508">
                  <c:v>90.129032258064512</c:v>
                </c:pt>
                <c:pt idx="1509">
                  <c:v>90.064516129032256</c:v>
                </c:pt>
                <c:pt idx="1510">
                  <c:v>90.225806451612897</c:v>
                </c:pt>
                <c:pt idx="1511">
                  <c:v>90.516129032258064</c:v>
                </c:pt>
                <c:pt idx="1512">
                  <c:v>90.096774193548384</c:v>
                </c:pt>
                <c:pt idx="1513">
                  <c:v>90.41935483870968</c:v>
                </c:pt>
                <c:pt idx="1514">
                  <c:v>90.645161290322577</c:v>
                </c:pt>
                <c:pt idx="1515">
                  <c:v>90.516129032258064</c:v>
                </c:pt>
                <c:pt idx="1516">
                  <c:v>90.258064516129039</c:v>
                </c:pt>
                <c:pt idx="1517">
                  <c:v>90.064516129032256</c:v>
                </c:pt>
                <c:pt idx="1518">
                  <c:v>90.58064516129032</c:v>
                </c:pt>
                <c:pt idx="1519">
                  <c:v>90.451612903225808</c:v>
                </c:pt>
                <c:pt idx="1520">
                  <c:v>90.290322580645167</c:v>
                </c:pt>
                <c:pt idx="1521">
                  <c:v>90.612903225806448</c:v>
                </c:pt>
                <c:pt idx="1522">
                  <c:v>90.548387096774192</c:v>
                </c:pt>
                <c:pt idx="1523">
                  <c:v>90.290322580645167</c:v>
                </c:pt>
                <c:pt idx="1524">
                  <c:v>90.225806451612897</c:v>
                </c:pt>
                <c:pt idx="1525">
                  <c:v>90.387096774193552</c:v>
                </c:pt>
                <c:pt idx="1526">
                  <c:v>90.774193548387103</c:v>
                </c:pt>
                <c:pt idx="1527">
                  <c:v>90.935483870967744</c:v>
                </c:pt>
                <c:pt idx="1528">
                  <c:v>91.258064516129039</c:v>
                </c:pt>
                <c:pt idx="1529">
                  <c:v>91.645161290322577</c:v>
                </c:pt>
                <c:pt idx="1530">
                  <c:v>91.58064516129032</c:v>
                </c:pt>
                <c:pt idx="1531">
                  <c:v>91.161290322580641</c:v>
                </c:pt>
                <c:pt idx="1532">
                  <c:v>91.709677419354833</c:v>
                </c:pt>
                <c:pt idx="1533">
                  <c:v>91.645161290322577</c:v>
                </c:pt>
                <c:pt idx="1534">
                  <c:v>91.548387096774192</c:v>
                </c:pt>
                <c:pt idx="1535">
                  <c:v>91.516129032258064</c:v>
                </c:pt>
                <c:pt idx="1536">
                  <c:v>91.612903225806448</c:v>
                </c:pt>
                <c:pt idx="1537">
                  <c:v>91.58064516129032</c:v>
                </c:pt>
                <c:pt idx="1538">
                  <c:v>91.225806451612897</c:v>
                </c:pt>
                <c:pt idx="1539">
                  <c:v>91</c:v>
                </c:pt>
                <c:pt idx="1540">
                  <c:v>90.838709677419359</c:v>
                </c:pt>
                <c:pt idx="1541">
                  <c:v>90.774193548387103</c:v>
                </c:pt>
                <c:pt idx="1542">
                  <c:v>90.677419354838705</c:v>
                </c:pt>
                <c:pt idx="1543">
                  <c:v>90.870967741935488</c:v>
                </c:pt>
                <c:pt idx="1544">
                  <c:v>90.903225806451616</c:v>
                </c:pt>
                <c:pt idx="1545">
                  <c:v>90.677419354838705</c:v>
                </c:pt>
                <c:pt idx="1546">
                  <c:v>90.322580645161295</c:v>
                </c:pt>
                <c:pt idx="1547">
                  <c:v>90.451612903225808</c:v>
                </c:pt>
                <c:pt idx="1548">
                  <c:v>90.838709677419359</c:v>
                </c:pt>
                <c:pt idx="1549">
                  <c:v>90.451612903225808</c:v>
                </c:pt>
                <c:pt idx="1550">
                  <c:v>91</c:v>
                </c:pt>
                <c:pt idx="1551">
                  <c:v>91.225806451612897</c:v>
                </c:pt>
                <c:pt idx="1552">
                  <c:v>90.903225806451616</c:v>
                </c:pt>
                <c:pt idx="1553">
                  <c:v>90.870967741935488</c:v>
                </c:pt>
                <c:pt idx="1554">
                  <c:v>91.161290322580641</c:v>
                </c:pt>
                <c:pt idx="1555">
                  <c:v>91.225806451612897</c:v>
                </c:pt>
                <c:pt idx="1556">
                  <c:v>91</c:v>
                </c:pt>
                <c:pt idx="1557">
                  <c:v>90.612903225806448</c:v>
                </c:pt>
                <c:pt idx="1558">
                  <c:v>90.225806451612897</c:v>
                </c:pt>
                <c:pt idx="1559">
                  <c:v>90.161290322580641</c:v>
                </c:pt>
                <c:pt idx="1560">
                  <c:v>90.290322580645167</c:v>
                </c:pt>
                <c:pt idx="1561">
                  <c:v>90.032258064516128</c:v>
                </c:pt>
                <c:pt idx="1562">
                  <c:v>90.290322580645167</c:v>
                </c:pt>
                <c:pt idx="1563">
                  <c:v>89.838709677419359</c:v>
                </c:pt>
                <c:pt idx="1564">
                  <c:v>89.516129032258064</c:v>
                </c:pt>
                <c:pt idx="1565">
                  <c:v>89.451612903225808</c:v>
                </c:pt>
                <c:pt idx="1566">
                  <c:v>89.58064516129032</c:v>
                </c:pt>
                <c:pt idx="1567">
                  <c:v>89.903225806451616</c:v>
                </c:pt>
                <c:pt idx="1568">
                  <c:v>89.870967741935488</c:v>
                </c:pt>
                <c:pt idx="1569">
                  <c:v>90.258064516129039</c:v>
                </c:pt>
                <c:pt idx="1570">
                  <c:v>90.483870967741936</c:v>
                </c:pt>
                <c:pt idx="1571">
                  <c:v>90.516129032258064</c:v>
                </c:pt>
                <c:pt idx="1572">
                  <c:v>90.483870967741936</c:v>
                </c:pt>
                <c:pt idx="1573">
                  <c:v>90.483870967741936</c:v>
                </c:pt>
                <c:pt idx="1574">
                  <c:v>90.548387096774192</c:v>
                </c:pt>
                <c:pt idx="1575">
                  <c:v>90.258064516129039</c:v>
                </c:pt>
                <c:pt idx="1576">
                  <c:v>90.322580645161295</c:v>
                </c:pt>
                <c:pt idx="1577">
                  <c:v>90.516129032258064</c:v>
                </c:pt>
                <c:pt idx="1578">
                  <c:v>90.290322580645167</c:v>
                </c:pt>
                <c:pt idx="1579">
                  <c:v>90.387096774193552</c:v>
                </c:pt>
                <c:pt idx="1580">
                  <c:v>90.838709677419359</c:v>
                </c:pt>
                <c:pt idx="1581">
                  <c:v>90.58064516129032</c:v>
                </c:pt>
                <c:pt idx="1582">
                  <c:v>90.838709677419359</c:v>
                </c:pt>
                <c:pt idx="1583">
                  <c:v>91</c:v>
                </c:pt>
                <c:pt idx="1584">
                  <c:v>91.290322580645167</c:v>
                </c:pt>
                <c:pt idx="1585">
                  <c:v>91.258064516129039</c:v>
                </c:pt>
                <c:pt idx="1586">
                  <c:v>91.129032258064512</c:v>
                </c:pt>
                <c:pt idx="1587">
                  <c:v>91.225806451612897</c:v>
                </c:pt>
                <c:pt idx="1588">
                  <c:v>91.41935483870968</c:v>
                </c:pt>
                <c:pt idx="1589">
                  <c:v>91.903225806451616</c:v>
                </c:pt>
                <c:pt idx="1590">
                  <c:v>91.677419354838705</c:v>
                </c:pt>
                <c:pt idx="1591">
                  <c:v>91.58064516129032</c:v>
                </c:pt>
                <c:pt idx="1592">
                  <c:v>91.967741935483872</c:v>
                </c:pt>
                <c:pt idx="1593">
                  <c:v>92.322580645161295</c:v>
                </c:pt>
                <c:pt idx="1594">
                  <c:v>92.225806451612897</c:v>
                </c:pt>
                <c:pt idx="1595">
                  <c:v>92.516129032258064</c:v>
                </c:pt>
                <c:pt idx="1596">
                  <c:v>92.354838709677423</c:v>
                </c:pt>
                <c:pt idx="1597">
                  <c:v>92.677419354838705</c:v>
                </c:pt>
                <c:pt idx="1598">
                  <c:v>92.451612903225808</c:v>
                </c:pt>
                <c:pt idx="1599">
                  <c:v>92.483870967741936</c:v>
                </c:pt>
                <c:pt idx="1600">
                  <c:v>92.387096774193552</c:v>
                </c:pt>
                <c:pt idx="1601">
                  <c:v>92.387096774193552</c:v>
                </c:pt>
                <c:pt idx="1602">
                  <c:v>92.193548387096769</c:v>
                </c:pt>
                <c:pt idx="1603">
                  <c:v>92.354838709677423</c:v>
                </c:pt>
                <c:pt idx="1604">
                  <c:v>92.41935483870968</c:v>
                </c:pt>
                <c:pt idx="1605">
                  <c:v>92.612903225806448</c:v>
                </c:pt>
                <c:pt idx="1606">
                  <c:v>92.483870967741936</c:v>
                </c:pt>
                <c:pt idx="1607">
                  <c:v>92.677419354838705</c:v>
                </c:pt>
                <c:pt idx="1608">
                  <c:v>92.838709677419359</c:v>
                </c:pt>
                <c:pt idx="1609">
                  <c:v>92.870967741935488</c:v>
                </c:pt>
                <c:pt idx="1610">
                  <c:v>92.290322580645167</c:v>
                </c:pt>
                <c:pt idx="1611">
                  <c:v>92.322580645161295</c:v>
                </c:pt>
                <c:pt idx="1612">
                  <c:v>92.387096774193552</c:v>
                </c:pt>
                <c:pt idx="1613">
                  <c:v>91.935483870967744</c:v>
                </c:pt>
                <c:pt idx="1614">
                  <c:v>91.935483870967744</c:v>
                </c:pt>
                <c:pt idx="1615">
                  <c:v>91.483870967741936</c:v>
                </c:pt>
                <c:pt idx="1616">
                  <c:v>91.225806451612897</c:v>
                </c:pt>
                <c:pt idx="1617">
                  <c:v>91.129032258064512</c:v>
                </c:pt>
                <c:pt idx="1618">
                  <c:v>90.967741935483872</c:v>
                </c:pt>
                <c:pt idx="1619">
                  <c:v>90.645161290322577</c:v>
                </c:pt>
                <c:pt idx="1620">
                  <c:v>90.129032258064512</c:v>
                </c:pt>
                <c:pt idx="1621">
                  <c:v>90.516129032258064</c:v>
                </c:pt>
                <c:pt idx="1622">
                  <c:v>90.193548387096769</c:v>
                </c:pt>
                <c:pt idx="1623">
                  <c:v>89.612903225806448</c:v>
                </c:pt>
                <c:pt idx="1624">
                  <c:v>89.193548387096769</c:v>
                </c:pt>
                <c:pt idx="1625">
                  <c:v>89.741935483870961</c:v>
                </c:pt>
                <c:pt idx="1626">
                  <c:v>89.645161290322577</c:v>
                </c:pt>
                <c:pt idx="1627">
                  <c:v>89.41935483870968</c:v>
                </c:pt>
                <c:pt idx="1628">
                  <c:v>89</c:v>
                </c:pt>
                <c:pt idx="1629">
                  <c:v>89.290322580645167</c:v>
                </c:pt>
                <c:pt idx="1630">
                  <c:v>89.451612903225808</c:v>
                </c:pt>
                <c:pt idx="1631">
                  <c:v>89.548387096774192</c:v>
                </c:pt>
                <c:pt idx="1632">
                  <c:v>89.354838709677423</c:v>
                </c:pt>
                <c:pt idx="1633">
                  <c:v>89.548387096774192</c:v>
                </c:pt>
                <c:pt idx="1634">
                  <c:v>89.548387096774192</c:v>
                </c:pt>
                <c:pt idx="1635">
                  <c:v>89.548387096774192</c:v>
                </c:pt>
                <c:pt idx="1636">
                  <c:v>89.612903225806448</c:v>
                </c:pt>
                <c:pt idx="1637">
                  <c:v>89.677419354838705</c:v>
                </c:pt>
                <c:pt idx="1638">
                  <c:v>89.741935483870961</c:v>
                </c:pt>
                <c:pt idx="1639">
                  <c:v>89.677419354838705</c:v>
                </c:pt>
                <c:pt idx="1640">
                  <c:v>89.806451612903231</c:v>
                </c:pt>
                <c:pt idx="1641">
                  <c:v>90.258064516129039</c:v>
                </c:pt>
                <c:pt idx="1642">
                  <c:v>89.870967741935488</c:v>
                </c:pt>
                <c:pt idx="1643">
                  <c:v>89.741935483870961</c:v>
                </c:pt>
                <c:pt idx="1644">
                  <c:v>89.774193548387103</c:v>
                </c:pt>
                <c:pt idx="1645">
                  <c:v>89.774193548387103</c:v>
                </c:pt>
                <c:pt idx="1646">
                  <c:v>90.161290322580641</c:v>
                </c:pt>
                <c:pt idx="1647">
                  <c:v>90.290322580645167</c:v>
                </c:pt>
                <c:pt idx="1648">
                  <c:v>90.612903225806448</c:v>
                </c:pt>
                <c:pt idx="1649">
                  <c:v>91.161290322580641</c:v>
                </c:pt>
                <c:pt idx="1650">
                  <c:v>91.645161290322577</c:v>
                </c:pt>
                <c:pt idx="1651">
                  <c:v>92.258064516129039</c:v>
                </c:pt>
                <c:pt idx="1652">
                  <c:v>91.903225806451616</c:v>
                </c:pt>
                <c:pt idx="1653">
                  <c:v>91.806451612903231</c:v>
                </c:pt>
                <c:pt idx="1654">
                  <c:v>92.225806451612897</c:v>
                </c:pt>
                <c:pt idx="1655">
                  <c:v>92.258064516129039</c:v>
                </c:pt>
                <c:pt idx="1656">
                  <c:v>92.032258064516128</c:v>
                </c:pt>
                <c:pt idx="1657">
                  <c:v>91.870967741935488</c:v>
                </c:pt>
                <c:pt idx="1658">
                  <c:v>92.225806451612897</c:v>
                </c:pt>
                <c:pt idx="1659">
                  <c:v>92.41935483870968</c:v>
                </c:pt>
                <c:pt idx="1660">
                  <c:v>91.967741935483872</c:v>
                </c:pt>
                <c:pt idx="1661">
                  <c:v>91.709677419354833</c:v>
                </c:pt>
                <c:pt idx="1662">
                  <c:v>91.58064516129032</c:v>
                </c:pt>
                <c:pt idx="1663">
                  <c:v>91.741935483870961</c:v>
                </c:pt>
                <c:pt idx="1664">
                  <c:v>91.709677419354833</c:v>
                </c:pt>
                <c:pt idx="1665">
                  <c:v>91.387096774193552</c:v>
                </c:pt>
                <c:pt idx="1666">
                  <c:v>91.548387096774192</c:v>
                </c:pt>
                <c:pt idx="1667">
                  <c:v>91.354838709677423</c:v>
                </c:pt>
                <c:pt idx="1668">
                  <c:v>91.516129032258064</c:v>
                </c:pt>
                <c:pt idx="1669">
                  <c:v>91.258064516129039</c:v>
                </c:pt>
                <c:pt idx="1670">
                  <c:v>91.58064516129032</c:v>
                </c:pt>
                <c:pt idx="1671">
                  <c:v>91.645161290322577</c:v>
                </c:pt>
                <c:pt idx="1672">
                  <c:v>91.741935483870961</c:v>
                </c:pt>
                <c:pt idx="1673">
                  <c:v>91.516129032258064</c:v>
                </c:pt>
                <c:pt idx="1674">
                  <c:v>91.483870967741936</c:v>
                </c:pt>
                <c:pt idx="1675">
                  <c:v>91.645161290322577</c:v>
                </c:pt>
                <c:pt idx="1676">
                  <c:v>91.354838709677423</c:v>
                </c:pt>
                <c:pt idx="1677">
                  <c:v>91.032258064516128</c:v>
                </c:pt>
                <c:pt idx="1678">
                  <c:v>90.870967741935488</c:v>
                </c:pt>
                <c:pt idx="1679">
                  <c:v>90.709677419354833</c:v>
                </c:pt>
                <c:pt idx="1680">
                  <c:v>90.451612903225808</c:v>
                </c:pt>
                <c:pt idx="1681">
                  <c:v>90.161290322580641</c:v>
                </c:pt>
                <c:pt idx="1682">
                  <c:v>89.58064516129032</c:v>
                </c:pt>
                <c:pt idx="1683">
                  <c:v>89.709677419354833</c:v>
                </c:pt>
                <c:pt idx="1684">
                  <c:v>90.225806451612897</c:v>
                </c:pt>
                <c:pt idx="1685">
                  <c:v>90.032258064516128</c:v>
                </c:pt>
                <c:pt idx="1686">
                  <c:v>90.096774193548384</c:v>
                </c:pt>
                <c:pt idx="1687">
                  <c:v>89.806451612903231</c:v>
                </c:pt>
                <c:pt idx="1688">
                  <c:v>90</c:v>
                </c:pt>
                <c:pt idx="1689">
                  <c:v>89.806451612903231</c:v>
                </c:pt>
                <c:pt idx="1690">
                  <c:v>89.935483870967744</c:v>
                </c:pt>
                <c:pt idx="1691">
                  <c:v>89.838709677419359</c:v>
                </c:pt>
                <c:pt idx="1692">
                  <c:v>90.193548387096769</c:v>
                </c:pt>
                <c:pt idx="1693">
                  <c:v>90.451612903225808</c:v>
                </c:pt>
                <c:pt idx="1694">
                  <c:v>90.161290322580641</c:v>
                </c:pt>
                <c:pt idx="1695">
                  <c:v>89.806451612903231</c:v>
                </c:pt>
                <c:pt idx="1696">
                  <c:v>90.161290322580641</c:v>
                </c:pt>
                <c:pt idx="1697">
                  <c:v>89.838709677419359</c:v>
                </c:pt>
                <c:pt idx="1698">
                  <c:v>89.741935483870961</c:v>
                </c:pt>
                <c:pt idx="1699">
                  <c:v>90.096774193548384</c:v>
                </c:pt>
                <c:pt idx="1700">
                  <c:v>90.548387096774192</c:v>
                </c:pt>
                <c:pt idx="1701">
                  <c:v>90.645161290322577</c:v>
                </c:pt>
                <c:pt idx="1702">
                  <c:v>90.612903225806448</c:v>
                </c:pt>
                <c:pt idx="1703">
                  <c:v>90.806451612903231</c:v>
                </c:pt>
                <c:pt idx="1704">
                  <c:v>91.354838709677423</c:v>
                </c:pt>
                <c:pt idx="1705">
                  <c:v>91.774193548387103</c:v>
                </c:pt>
                <c:pt idx="1706">
                  <c:v>92.322580645161295</c:v>
                </c:pt>
                <c:pt idx="1707">
                  <c:v>92.741935483870961</c:v>
                </c:pt>
                <c:pt idx="1708">
                  <c:v>93.161290322580641</c:v>
                </c:pt>
                <c:pt idx="1709">
                  <c:v>93.516129032258064</c:v>
                </c:pt>
                <c:pt idx="1710">
                  <c:v>93.516129032258064</c:v>
                </c:pt>
                <c:pt idx="1711">
                  <c:v>93.838709677419359</c:v>
                </c:pt>
                <c:pt idx="1712">
                  <c:v>94.258064516129039</c:v>
                </c:pt>
                <c:pt idx="1713">
                  <c:v>94.870967741935488</c:v>
                </c:pt>
                <c:pt idx="1714">
                  <c:v>94.967741935483872</c:v>
                </c:pt>
                <c:pt idx="1715">
                  <c:v>94.903225806451616</c:v>
                </c:pt>
                <c:pt idx="1716">
                  <c:v>95.096774193548384</c:v>
                </c:pt>
                <c:pt idx="1717">
                  <c:v>95.322580645161295</c:v>
                </c:pt>
                <c:pt idx="1718">
                  <c:v>95.967741935483872</c:v>
                </c:pt>
                <c:pt idx="1719">
                  <c:v>96.387096774193552</c:v>
                </c:pt>
                <c:pt idx="1720">
                  <c:v>97.032258064516128</c:v>
                </c:pt>
                <c:pt idx="1721">
                  <c:v>97.129032258064512</c:v>
                </c:pt>
                <c:pt idx="1722">
                  <c:v>97.838709677419359</c:v>
                </c:pt>
                <c:pt idx="1723">
                  <c:v>97.967741935483872</c:v>
                </c:pt>
                <c:pt idx="1724">
                  <c:v>97.967741935483872</c:v>
                </c:pt>
                <c:pt idx="1725">
                  <c:v>98.451612903225808</c:v>
                </c:pt>
                <c:pt idx="1726">
                  <c:v>98.967741935483872</c:v>
                </c:pt>
                <c:pt idx="1727">
                  <c:v>99.354838709677423</c:v>
                </c:pt>
                <c:pt idx="1728">
                  <c:v>100</c:v>
                </c:pt>
                <c:pt idx="1729">
                  <c:v>100.45161290322581</c:v>
                </c:pt>
                <c:pt idx="1730">
                  <c:v>100.12903225806451</c:v>
                </c:pt>
                <c:pt idx="1731">
                  <c:v>100.06451612903226</c:v>
                </c:pt>
                <c:pt idx="1732">
                  <c:v>99.838709677419359</c:v>
                </c:pt>
                <c:pt idx="1733">
                  <c:v>99.903225806451616</c:v>
                </c:pt>
                <c:pt idx="1734">
                  <c:v>99.806451612903231</c:v>
                </c:pt>
                <c:pt idx="1735">
                  <c:v>100</c:v>
                </c:pt>
                <c:pt idx="1736">
                  <c:v>100.12903225806451</c:v>
                </c:pt>
                <c:pt idx="1737">
                  <c:v>100.12903225806451</c:v>
                </c:pt>
                <c:pt idx="1738">
                  <c:v>100.12903225806451</c:v>
                </c:pt>
                <c:pt idx="1739">
                  <c:v>100.19354838709677</c:v>
                </c:pt>
                <c:pt idx="1740">
                  <c:v>100.3225806451613</c:v>
                </c:pt>
                <c:pt idx="1741">
                  <c:v>100.48387096774194</c:v>
                </c:pt>
                <c:pt idx="1742">
                  <c:v>100.58064516129032</c:v>
                </c:pt>
                <c:pt idx="1743">
                  <c:v>100.3225806451613</c:v>
                </c:pt>
                <c:pt idx="1744">
                  <c:v>99.709677419354833</c:v>
                </c:pt>
                <c:pt idx="1745">
                  <c:v>99.258064516129039</c:v>
                </c:pt>
                <c:pt idx="1746">
                  <c:v>99</c:v>
                </c:pt>
                <c:pt idx="1747">
                  <c:v>98.645161290322577</c:v>
                </c:pt>
                <c:pt idx="1748">
                  <c:v>98.774193548387103</c:v>
                </c:pt>
                <c:pt idx="1749">
                  <c:v>98.548387096774192</c:v>
                </c:pt>
                <c:pt idx="1750">
                  <c:v>98.193548387096769</c:v>
                </c:pt>
                <c:pt idx="1751">
                  <c:v>97.838709677419359</c:v>
                </c:pt>
                <c:pt idx="1752">
                  <c:v>97.290322580645167</c:v>
                </c:pt>
                <c:pt idx="1753">
                  <c:v>97.064516129032256</c:v>
                </c:pt>
                <c:pt idx="1754">
                  <c:v>96.516129032258064</c:v>
                </c:pt>
                <c:pt idx="1755">
                  <c:v>96.387096774193552</c:v>
                </c:pt>
                <c:pt idx="1756">
                  <c:v>95.903225806451616</c:v>
                </c:pt>
                <c:pt idx="1757">
                  <c:v>95.677419354838705</c:v>
                </c:pt>
                <c:pt idx="1758">
                  <c:v>95.225806451612897</c:v>
                </c:pt>
                <c:pt idx="1759">
                  <c:v>94.677419354838705</c:v>
                </c:pt>
                <c:pt idx="1760">
                  <c:v>94.354838709677423</c:v>
                </c:pt>
                <c:pt idx="1761">
                  <c:v>94.161290322580641</c:v>
                </c:pt>
                <c:pt idx="1762">
                  <c:v>93.709677419354833</c:v>
                </c:pt>
                <c:pt idx="1763">
                  <c:v>93.290322580645167</c:v>
                </c:pt>
                <c:pt idx="1764">
                  <c:v>92.967741935483872</c:v>
                </c:pt>
                <c:pt idx="1765">
                  <c:v>92.935483870967744</c:v>
                </c:pt>
                <c:pt idx="1766">
                  <c:v>92.322580645161295</c:v>
                </c:pt>
                <c:pt idx="1767">
                  <c:v>92</c:v>
                </c:pt>
                <c:pt idx="1768">
                  <c:v>91.677419354838705</c:v>
                </c:pt>
                <c:pt idx="1769">
                  <c:v>91.290322580645167</c:v>
                </c:pt>
                <c:pt idx="1770">
                  <c:v>90.935483870967744</c:v>
                </c:pt>
                <c:pt idx="1771">
                  <c:v>90.677419354838705</c:v>
                </c:pt>
                <c:pt idx="1772">
                  <c:v>90.096774193548384</c:v>
                </c:pt>
                <c:pt idx="1773">
                  <c:v>89.58064516129032</c:v>
                </c:pt>
                <c:pt idx="1774">
                  <c:v>89.516129032258064</c:v>
                </c:pt>
                <c:pt idx="1775">
                  <c:v>89.612903225806448</c:v>
                </c:pt>
                <c:pt idx="1776">
                  <c:v>89.935483870967744</c:v>
                </c:pt>
                <c:pt idx="1777">
                  <c:v>89.709677419354833</c:v>
                </c:pt>
                <c:pt idx="1778">
                  <c:v>90.225806451612897</c:v>
                </c:pt>
                <c:pt idx="1779">
                  <c:v>90.193548387096769</c:v>
                </c:pt>
                <c:pt idx="1780">
                  <c:v>89.903225806451616</c:v>
                </c:pt>
                <c:pt idx="1781">
                  <c:v>89.870967741935488</c:v>
                </c:pt>
                <c:pt idx="1782">
                  <c:v>89.483870967741936</c:v>
                </c:pt>
                <c:pt idx="1783">
                  <c:v>89.806451612903231</c:v>
                </c:pt>
                <c:pt idx="1784">
                  <c:v>89.387096774193552</c:v>
                </c:pt>
                <c:pt idx="1785">
                  <c:v>89.516129032258064</c:v>
                </c:pt>
                <c:pt idx="1786">
                  <c:v>89.645161290322577</c:v>
                </c:pt>
                <c:pt idx="1787">
                  <c:v>89.935483870967744</c:v>
                </c:pt>
                <c:pt idx="1788">
                  <c:v>90.225806451612897</c:v>
                </c:pt>
                <c:pt idx="1789">
                  <c:v>90.516129032258064</c:v>
                </c:pt>
                <c:pt idx="1790">
                  <c:v>90.290322580645167</c:v>
                </c:pt>
                <c:pt idx="1791">
                  <c:v>90.096774193548384</c:v>
                </c:pt>
                <c:pt idx="1792">
                  <c:v>90.387096774193552</c:v>
                </c:pt>
                <c:pt idx="1793">
                  <c:v>90.258064516129039</c:v>
                </c:pt>
                <c:pt idx="1794">
                  <c:v>90.322580645161295</c:v>
                </c:pt>
                <c:pt idx="1795">
                  <c:v>90.548387096774192</c:v>
                </c:pt>
                <c:pt idx="1796">
                  <c:v>90.451612903225808</c:v>
                </c:pt>
                <c:pt idx="1797">
                  <c:v>90.548387096774192</c:v>
                </c:pt>
                <c:pt idx="1798">
                  <c:v>90.322580645161295</c:v>
                </c:pt>
                <c:pt idx="1799">
                  <c:v>90.451612903225808</c:v>
                </c:pt>
                <c:pt idx="1800">
                  <c:v>90.387096774193552</c:v>
                </c:pt>
                <c:pt idx="1801">
                  <c:v>90.193548387096769</c:v>
                </c:pt>
                <c:pt idx="1802">
                  <c:v>89.967741935483872</c:v>
                </c:pt>
                <c:pt idx="1803">
                  <c:v>90.387096774193552</c:v>
                </c:pt>
                <c:pt idx="1804">
                  <c:v>90.225806451612897</c:v>
                </c:pt>
                <c:pt idx="1805">
                  <c:v>90.032258064516128</c:v>
                </c:pt>
                <c:pt idx="1806">
                  <c:v>90.322580645161295</c:v>
                </c:pt>
                <c:pt idx="1807">
                  <c:v>90.193548387096769</c:v>
                </c:pt>
                <c:pt idx="1808">
                  <c:v>90.774193548387103</c:v>
                </c:pt>
                <c:pt idx="1809">
                  <c:v>90.58064516129032</c:v>
                </c:pt>
                <c:pt idx="1810">
                  <c:v>90.548387096774192</c:v>
                </c:pt>
                <c:pt idx="1811">
                  <c:v>90.741935483870961</c:v>
                </c:pt>
                <c:pt idx="1812">
                  <c:v>90.354838709677423</c:v>
                </c:pt>
                <c:pt idx="1813">
                  <c:v>90.451612903225808</c:v>
                </c:pt>
                <c:pt idx="1814">
                  <c:v>90.548387096774192</c:v>
                </c:pt>
                <c:pt idx="1815">
                  <c:v>90.903225806451616</c:v>
                </c:pt>
                <c:pt idx="1816">
                  <c:v>91.161290322580641</c:v>
                </c:pt>
                <c:pt idx="1817">
                  <c:v>90.645161290322577</c:v>
                </c:pt>
                <c:pt idx="1818">
                  <c:v>90.387096774193552</c:v>
                </c:pt>
                <c:pt idx="1819">
                  <c:v>90.290322580645167</c:v>
                </c:pt>
                <c:pt idx="1820">
                  <c:v>89.677419354838705</c:v>
                </c:pt>
                <c:pt idx="1821">
                  <c:v>90.225806451612897</c:v>
                </c:pt>
                <c:pt idx="1822">
                  <c:v>90.322580645161295</c:v>
                </c:pt>
                <c:pt idx="1823">
                  <c:v>90.096774193548384</c:v>
                </c:pt>
                <c:pt idx="1824">
                  <c:v>90.096774193548384</c:v>
                </c:pt>
                <c:pt idx="1825">
                  <c:v>90.225806451612897</c:v>
                </c:pt>
                <c:pt idx="1826">
                  <c:v>89.774193548387103</c:v>
                </c:pt>
                <c:pt idx="1827">
                  <c:v>89.41935483870968</c:v>
                </c:pt>
                <c:pt idx="1828">
                  <c:v>89.516129032258064</c:v>
                </c:pt>
                <c:pt idx="1829">
                  <c:v>89.645161290322577</c:v>
                </c:pt>
                <c:pt idx="1830">
                  <c:v>89.290322580645167</c:v>
                </c:pt>
                <c:pt idx="1831">
                  <c:v>89.838709677419359</c:v>
                </c:pt>
                <c:pt idx="1832">
                  <c:v>90.129032258064512</c:v>
                </c:pt>
                <c:pt idx="1833">
                  <c:v>90.258064516129039</c:v>
                </c:pt>
                <c:pt idx="1834">
                  <c:v>90.193548387096769</c:v>
                </c:pt>
                <c:pt idx="1835">
                  <c:v>90.483870967741936</c:v>
                </c:pt>
                <c:pt idx="1836">
                  <c:v>90.483870967741936</c:v>
                </c:pt>
                <c:pt idx="1837">
                  <c:v>90.290322580645167</c:v>
                </c:pt>
                <c:pt idx="1838">
                  <c:v>90.161290322580641</c:v>
                </c:pt>
                <c:pt idx="1839">
                  <c:v>89.612903225806448</c:v>
                </c:pt>
                <c:pt idx="1840">
                  <c:v>89.225806451612897</c:v>
                </c:pt>
                <c:pt idx="1841">
                  <c:v>88.806451612903231</c:v>
                </c:pt>
                <c:pt idx="1842">
                  <c:v>88.806451612903231</c:v>
                </c:pt>
                <c:pt idx="1843">
                  <c:v>89.193548387096769</c:v>
                </c:pt>
                <c:pt idx="1844">
                  <c:v>89.645161290322577</c:v>
                </c:pt>
                <c:pt idx="1845">
                  <c:v>89.41935483870968</c:v>
                </c:pt>
                <c:pt idx="1846">
                  <c:v>89.161290322580641</c:v>
                </c:pt>
                <c:pt idx="1847">
                  <c:v>89.096774193548384</c:v>
                </c:pt>
                <c:pt idx="1848">
                  <c:v>89.516129032258064</c:v>
                </c:pt>
                <c:pt idx="1849">
                  <c:v>89.645161290322577</c:v>
                </c:pt>
                <c:pt idx="1850">
                  <c:v>89.677419354838705</c:v>
                </c:pt>
                <c:pt idx="1851">
                  <c:v>90.225806451612897</c:v>
                </c:pt>
                <c:pt idx="1852">
                  <c:v>90.258064516129039</c:v>
                </c:pt>
                <c:pt idx="1853">
                  <c:v>89.967741935483872</c:v>
                </c:pt>
                <c:pt idx="1854">
                  <c:v>89.935483870967744</c:v>
                </c:pt>
                <c:pt idx="1855">
                  <c:v>90.161290322580641</c:v>
                </c:pt>
                <c:pt idx="1856">
                  <c:v>90.064516129032256</c:v>
                </c:pt>
                <c:pt idx="1857">
                  <c:v>90.677419354838705</c:v>
                </c:pt>
                <c:pt idx="1858">
                  <c:v>90.516129032258064</c:v>
                </c:pt>
                <c:pt idx="1859">
                  <c:v>90.193548387096769</c:v>
                </c:pt>
                <c:pt idx="1860">
                  <c:v>90.451612903225808</c:v>
                </c:pt>
                <c:pt idx="1861">
                  <c:v>90.193548387096769</c:v>
                </c:pt>
                <c:pt idx="1862">
                  <c:v>89.677419354838705</c:v>
                </c:pt>
                <c:pt idx="1863">
                  <c:v>89.548387096774192</c:v>
                </c:pt>
                <c:pt idx="1864">
                  <c:v>89.516129032258064</c:v>
                </c:pt>
                <c:pt idx="1865">
                  <c:v>89.161290322580641</c:v>
                </c:pt>
                <c:pt idx="1866">
                  <c:v>89.322580645161295</c:v>
                </c:pt>
                <c:pt idx="1867">
                  <c:v>89.354838709677423</c:v>
                </c:pt>
                <c:pt idx="1868">
                  <c:v>89.741935483870961</c:v>
                </c:pt>
                <c:pt idx="1869">
                  <c:v>90.161290322580641</c:v>
                </c:pt>
                <c:pt idx="1870">
                  <c:v>90.322580645161295</c:v>
                </c:pt>
                <c:pt idx="1871">
                  <c:v>90.806451612903231</c:v>
                </c:pt>
                <c:pt idx="1872">
                  <c:v>90.709677419354833</c:v>
                </c:pt>
                <c:pt idx="1873">
                  <c:v>90.290322580645167</c:v>
                </c:pt>
                <c:pt idx="1874">
                  <c:v>90.483870967741936</c:v>
                </c:pt>
                <c:pt idx="1875">
                  <c:v>90</c:v>
                </c:pt>
                <c:pt idx="1876">
                  <c:v>90.354838709677423</c:v>
                </c:pt>
                <c:pt idx="1877">
                  <c:v>90.548387096774192</c:v>
                </c:pt>
                <c:pt idx="1878">
                  <c:v>90.677419354838705</c:v>
                </c:pt>
                <c:pt idx="1879">
                  <c:v>90.741935483870961</c:v>
                </c:pt>
                <c:pt idx="1880">
                  <c:v>90.935483870967744</c:v>
                </c:pt>
                <c:pt idx="1881">
                  <c:v>91.032258064516128</c:v>
                </c:pt>
                <c:pt idx="1882">
                  <c:v>90.709677419354833</c:v>
                </c:pt>
                <c:pt idx="1883">
                  <c:v>90.741935483870961</c:v>
                </c:pt>
                <c:pt idx="1884">
                  <c:v>90.967741935483872</c:v>
                </c:pt>
                <c:pt idx="1885">
                  <c:v>91.193548387096769</c:v>
                </c:pt>
                <c:pt idx="1886">
                  <c:v>91.516129032258064</c:v>
                </c:pt>
                <c:pt idx="1887">
                  <c:v>91.967741935483872</c:v>
                </c:pt>
                <c:pt idx="1888">
                  <c:v>91.838709677419359</c:v>
                </c:pt>
                <c:pt idx="1889">
                  <c:v>92.548387096774192</c:v>
                </c:pt>
                <c:pt idx="1890">
                  <c:v>93.225806451612897</c:v>
                </c:pt>
                <c:pt idx="1891">
                  <c:v>93.225806451612897</c:v>
                </c:pt>
                <c:pt idx="1892">
                  <c:v>93.870967741935488</c:v>
                </c:pt>
                <c:pt idx="1893">
                  <c:v>94.290322580645167</c:v>
                </c:pt>
                <c:pt idx="1894">
                  <c:v>94.741935483870961</c:v>
                </c:pt>
                <c:pt idx="1895">
                  <c:v>95.064516129032256</c:v>
                </c:pt>
                <c:pt idx="1896">
                  <c:v>95.645161290322577</c:v>
                </c:pt>
                <c:pt idx="1897">
                  <c:v>95.58064516129032</c:v>
                </c:pt>
                <c:pt idx="1898">
                  <c:v>96.096774193548384</c:v>
                </c:pt>
                <c:pt idx="1899">
                  <c:v>96.193548387096769</c:v>
                </c:pt>
                <c:pt idx="1900">
                  <c:v>96.258064516129039</c:v>
                </c:pt>
                <c:pt idx="1901">
                  <c:v>96.774193548387103</c:v>
                </c:pt>
                <c:pt idx="1902">
                  <c:v>96.741935483870961</c:v>
                </c:pt>
                <c:pt idx="1903">
                  <c:v>97.483870967741936</c:v>
                </c:pt>
                <c:pt idx="1904">
                  <c:v>98</c:v>
                </c:pt>
                <c:pt idx="1905">
                  <c:v>98.064516129032256</c:v>
                </c:pt>
                <c:pt idx="1906">
                  <c:v>98.451612903225808</c:v>
                </c:pt>
                <c:pt idx="1907">
                  <c:v>98.612903225806448</c:v>
                </c:pt>
                <c:pt idx="1908">
                  <c:v>99.032258064516128</c:v>
                </c:pt>
                <c:pt idx="1909">
                  <c:v>99.129032258064512</c:v>
                </c:pt>
                <c:pt idx="1910">
                  <c:v>99.161290322580641</c:v>
                </c:pt>
                <c:pt idx="1911">
                  <c:v>99.064516129032256</c:v>
                </c:pt>
                <c:pt idx="1912">
                  <c:v>98.967741935483872</c:v>
                </c:pt>
                <c:pt idx="1913">
                  <c:v>99.387096774193552</c:v>
                </c:pt>
                <c:pt idx="1914">
                  <c:v>99.516129032258064</c:v>
                </c:pt>
                <c:pt idx="1915">
                  <c:v>99.838709677419359</c:v>
                </c:pt>
                <c:pt idx="1916">
                  <c:v>99.903225806451616</c:v>
                </c:pt>
                <c:pt idx="1917">
                  <c:v>99.870967741935488</c:v>
                </c:pt>
                <c:pt idx="1918">
                  <c:v>100.03225806451613</c:v>
                </c:pt>
                <c:pt idx="1919">
                  <c:v>100.29032258064517</c:v>
                </c:pt>
                <c:pt idx="1920">
                  <c:v>100.25806451612904</c:v>
                </c:pt>
                <c:pt idx="1921">
                  <c:v>100.03225806451613</c:v>
                </c:pt>
                <c:pt idx="1922">
                  <c:v>99.903225806451616</c:v>
                </c:pt>
                <c:pt idx="1923">
                  <c:v>99.774193548387103</c:v>
                </c:pt>
                <c:pt idx="1924">
                  <c:v>99.870967741935488</c:v>
                </c:pt>
                <c:pt idx="1925">
                  <c:v>99.838709677419359</c:v>
                </c:pt>
                <c:pt idx="1926">
                  <c:v>99.967741935483872</c:v>
                </c:pt>
                <c:pt idx="1927">
                  <c:v>100.09677419354838</c:v>
                </c:pt>
                <c:pt idx="1928">
                  <c:v>100.16129032258064</c:v>
                </c:pt>
                <c:pt idx="1929">
                  <c:v>100.03225806451613</c:v>
                </c:pt>
                <c:pt idx="1930">
                  <c:v>99.806451612903231</c:v>
                </c:pt>
                <c:pt idx="1931">
                  <c:v>99.741935483870961</c:v>
                </c:pt>
                <c:pt idx="1932">
                  <c:v>99.483870967741936</c:v>
                </c:pt>
                <c:pt idx="1933">
                  <c:v>99.225806451612897</c:v>
                </c:pt>
                <c:pt idx="1934">
                  <c:v>98.774193548387103</c:v>
                </c:pt>
                <c:pt idx="1935">
                  <c:v>98.58064516129032</c:v>
                </c:pt>
                <c:pt idx="1936">
                  <c:v>98.451612903225808</c:v>
                </c:pt>
                <c:pt idx="1937">
                  <c:v>98.387096774193552</c:v>
                </c:pt>
                <c:pt idx="1938">
                  <c:v>97.774193548387103</c:v>
                </c:pt>
                <c:pt idx="1939">
                  <c:v>97.387096774193552</c:v>
                </c:pt>
                <c:pt idx="1940">
                  <c:v>97.290322580645167</c:v>
                </c:pt>
                <c:pt idx="1941">
                  <c:v>96.967741935483872</c:v>
                </c:pt>
                <c:pt idx="1942">
                  <c:v>96.516129032258064</c:v>
                </c:pt>
                <c:pt idx="1943">
                  <c:v>96.483870967741936</c:v>
                </c:pt>
                <c:pt idx="1944">
                  <c:v>95.903225806451616</c:v>
                </c:pt>
                <c:pt idx="1945">
                  <c:v>95.709677419354833</c:v>
                </c:pt>
                <c:pt idx="1946">
                  <c:v>95.645161290322577</c:v>
                </c:pt>
                <c:pt idx="1947">
                  <c:v>95.193548387096769</c:v>
                </c:pt>
                <c:pt idx="1948">
                  <c:v>94.774193548387103</c:v>
                </c:pt>
                <c:pt idx="1949">
                  <c:v>93.967741935483872</c:v>
                </c:pt>
                <c:pt idx="1950">
                  <c:v>93.41935483870968</c:v>
                </c:pt>
                <c:pt idx="1951">
                  <c:v>92.935483870967744</c:v>
                </c:pt>
                <c:pt idx="1952">
                  <c:v>92.806451612903231</c:v>
                </c:pt>
                <c:pt idx="1953">
                  <c:v>92.903225806451616</c:v>
                </c:pt>
                <c:pt idx="1954">
                  <c:v>92.806451612903231</c:v>
                </c:pt>
                <c:pt idx="1955">
                  <c:v>92.58064516129032</c:v>
                </c:pt>
                <c:pt idx="1956">
                  <c:v>92.354838709677423</c:v>
                </c:pt>
                <c:pt idx="1957">
                  <c:v>91.967741935483872</c:v>
                </c:pt>
                <c:pt idx="1958">
                  <c:v>91.290322580645167</c:v>
                </c:pt>
                <c:pt idx="1959">
                  <c:v>91.129032258064512</c:v>
                </c:pt>
                <c:pt idx="1960">
                  <c:v>90.516129032258064</c:v>
                </c:pt>
                <c:pt idx="1961">
                  <c:v>90.032258064516128</c:v>
                </c:pt>
                <c:pt idx="1962">
                  <c:v>89.548387096774192</c:v>
                </c:pt>
                <c:pt idx="1963">
                  <c:v>89.161290322580641</c:v>
                </c:pt>
                <c:pt idx="1964">
                  <c:v>89.516129032258064</c:v>
                </c:pt>
                <c:pt idx="1965">
                  <c:v>89.483870967741936</c:v>
                </c:pt>
                <c:pt idx="1966">
                  <c:v>89.677419354838705</c:v>
                </c:pt>
                <c:pt idx="1967">
                  <c:v>89.322580645161295</c:v>
                </c:pt>
                <c:pt idx="1968">
                  <c:v>89.290322580645167</c:v>
                </c:pt>
                <c:pt idx="1969">
                  <c:v>89.258064516129039</c:v>
                </c:pt>
                <c:pt idx="1970">
                  <c:v>89.41935483870968</c:v>
                </c:pt>
                <c:pt idx="1971">
                  <c:v>88.838709677419359</c:v>
                </c:pt>
                <c:pt idx="1972">
                  <c:v>88.806451612903231</c:v>
                </c:pt>
                <c:pt idx="1973">
                  <c:v>88.935483870967744</c:v>
                </c:pt>
                <c:pt idx="1974">
                  <c:v>88.516129032258064</c:v>
                </c:pt>
                <c:pt idx="1975">
                  <c:v>88.903225806451616</c:v>
                </c:pt>
                <c:pt idx="1976">
                  <c:v>88.516129032258064</c:v>
                </c:pt>
                <c:pt idx="1977">
                  <c:v>88.064516129032256</c:v>
                </c:pt>
                <c:pt idx="1978">
                  <c:v>87.903225806451616</c:v>
                </c:pt>
                <c:pt idx="1979">
                  <c:v>87.774193548387103</c:v>
                </c:pt>
                <c:pt idx="1980">
                  <c:v>87.967741935483872</c:v>
                </c:pt>
                <c:pt idx="1981">
                  <c:v>88.258064516129039</c:v>
                </c:pt>
                <c:pt idx="1982">
                  <c:v>88.41935483870968</c:v>
                </c:pt>
                <c:pt idx="1983">
                  <c:v>88.451612903225808</c:v>
                </c:pt>
                <c:pt idx="1984">
                  <c:v>88.064516129032256</c:v>
                </c:pt>
                <c:pt idx="1985">
                  <c:v>88.290322580645167</c:v>
                </c:pt>
                <c:pt idx="1986">
                  <c:v>88.193548387096769</c:v>
                </c:pt>
                <c:pt idx="1987">
                  <c:v>88.161290322580641</c:v>
                </c:pt>
                <c:pt idx="1988">
                  <c:v>88.161290322580641</c:v>
                </c:pt>
                <c:pt idx="1989">
                  <c:v>88.161290322580641</c:v>
                </c:pt>
                <c:pt idx="1990">
                  <c:v>88</c:v>
                </c:pt>
                <c:pt idx="1991">
                  <c:v>88.064516129032256</c:v>
                </c:pt>
                <c:pt idx="1992">
                  <c:v>88.709677419354833</c:v>
                </c:pt>
                <c:pt idx="1993">
                  <c:v>89.225806451612897</c:v>
                </c:pt>
                <c:pt idx="1994">
                  <c:v>89.354838709677423</c:v>
                </c:pt>
                <c:pt idx="1995">
                  <c:v>89.096774193548384</c:v>
                </c:pt>
                <c:pt idx="1996">
                  <c:v>89.41935483870968</c:v>
                </c:pt>
                <c:pt idx="1997">
                  <c:v>88.967741935483872</c:v>
                </c:pt>
                <c:pt idx="1998">
                  <c:v>88.838709677419359</c:v>
                </c:pt>
                <c:pt idx="1999">
                  <c:v>88.677419354838705</c:v>
                </c:pt>
                <c:pt idx="2000">
                  <c:v>88.806451612903231</c:v>
                </c:pt>
                <c:pt idx="2001">
                  <c:v>88.774193548387103</c:v>
                </c:pt>
                <c:pt idx="2002">
                  <c:v>89.161290322580641</c:v>
                </c:pt>
                <c:pt idx="2003">
                  <c:v>89.354838709677423</c:v>
                </c:pt>
                <c:pt idx="2004">
                  <c:v>89.161290322580641</c:v>
                </c:pt>
                <c:pt idx="2005">
                  <c:v>89.516129032258064</c:v>
                </c:pt>
                <c:pt idx="2006">
                  <c:v>89.064516129032256</c:v>
                </c:pt>
                <c:pt idx="2007">
                  <c:v>88.935483870967744</c:v>
                </c:pt>
                <c:pt idx="2008">
                  <c:v>88.935483870967744</c:v>
                </c:pt>
                <c:pt idx="2009">
                  <c:v>89.032258064516128</c:v>
                </c:pt>
                <c:pt idx="2010">
                  <c:v>89.096774193548384</c:v>
                </c:pt>
                <c:pt idx="2011">
                  <c:v>88.903225806451616</c:v>
                </c:pt>
                <c:pt idx="2012">
                  <c:v>88.645161290322577</c:v>
                </c:pt>
                <c:pt idx="2013">
                  <c:v>88.354838709677423</c:v>
                </c:pt>
                <c:pt idx="2014">
                  <c:v>88.129032258064512</c:v>
                </c:pt>
                <c:pt idx="2015">
                  <c:v>88.193548387096769</c:v>
                </c:pt>
                <c:pt idx="2016">
                  <c:v>88.193548387096769</c:v>
                </c:pt>
                <c:pt idx="2017">
                  <c:v>88</c:v>
                </c:pt>
                <c:pt idx="2018">
                  <c:v>87.903225806451616</c:v>
                </c:pt>
                <c:pt idx="2019">
                  <c:v>88</c:v>
                </c:pt>
                <c:pt idx="2020">
                  <c:v>88.032258064516128</c:v>
                </c:pt>
                <c:pt idx="2021">
                  <c:v>88.258064516129039</c:v>
                </c:pt>
                <c:pt idx="2022">
                  <c:v>88.161290322580641</c:v>
                </c:pt>
                <c:pt idx="2023">
                  <c:v>87.870967741935488</c:v>
                </c:pt>
                <c:pt idx="2024">
                  <c:v>87.774193548387103</c:v>
                </c:pt>
                <c:pt idx="2025">
                  <c:v>88.032258064516128</c:v>
                </c:pt>
                <c:pt idx="2026">
                  <c:v>87.903225806451616</c:v>
                </c:pt>
                <c:pt idx="2027">
                  <c:v>87.903225806451616</c:v>
                </c:pt>
                <c:pt idx="2028">
                  <c:v>87.903225806451616</c:v>
                </c:pt>
                <c:pt idx="2029">
                  <c:v>87.967741935483872</c:v>
                </c:pt>
                <c:pt idx="2030">
                  <c:v>88.193548387096769</c:v>
                </c:pt>
                <c:pt idx="2031">
                  <c:v>87.935483870967744</c:v>
                </c:pt>
                <c:pt idx="2032">
                  <c:v>87.58064516129032</c:v>
                </c:pt>
                <c:pt idx="2033">
                  <c:v>87.193548387096769</c:v>
                </c:pt>
                <c:pt idx="2034">
                  <c:v>87.096774193548384</c:v>
                </c:pt>
                <c:pt idx="2035">
                  <c:v>87.548387096774192</c:v>
                </c:pt>
                <c:pt idx="2036">
                  <c:v>87.677419354838705</c:v>
                </c:pt>
                <c:pt idx="2037">
                  <c:v>88.161290322580641</c:v>
                </c:pt>
                <c:pt idx="2038">
                  <c:v>88.225806451612897</c:v>
                </c:pt>
                <c:pt idx="2039">
                  <c:v>88.741935483870961</c:v>
                </c:pt>
                <c:pt idx="2040">
                  <c:v>89.129032258064512</c:v>
                </c:pt>
                <c:pt idx="2041">
                  <c:v>89.41935483870968</c:v>
                </c:pt>
                <c:pt idx="2042">
                  <c:v>89.516129032258064</c:v>
                </c:pt>
                <c:pt idx="2043">
                  <c:v>89.322580645161295</c:v>
                </c:pt>
                <c:pt idx="2044">
                  <c:v>89.387096774193552</c:v>
                </c:pt>
                <c:pt idx="2045">
                  <c:v>89.225806451612897</c:v>
                </c:pt>
                <c:pt idx="2046">
                  <c:v>88.935483870967744</c:v>
                </c:pt>
                <c:pt idx="2047">
                  <c:v>88.387096774193552</c:v>
                </c:pt>
                <c:pt idx="2048">
                  <c:v>88.677419354838705</c:v>
                </c:pt>
                <c:pt idx="2049">
                  <c:v>88.677419354838705</c:v>
                </c:pt>
                <c:pt idx="2050">
                  <c:v>88.387096774193552</c:v>
                </c:pt>
                <c:pt idx="2051">
                  <c:v>88.741935483870961</c:v>
                </c:pt>
                <c:pt idx="2052">
                  <c:v>88.41935483870968</c:v>
                </c:pt>
                <c:pt idx="2053">
                  <c:v>88.58064516129032</c:v>
                </c:pt>
                <c:pt idx="2054">
                  <c:v>88.225806451612897</c:v>
                </c:pt>
                <c:pt idx="2055">
                  <c:v>87.870967741935488</c:v>
                </c:pt>
                <c:pt idx="2056">
                  <c:v>87.58064516129032</c:v>
                </c:pt>
                <c:pt idx="2057">
                  <c:v>87.483870967741936</c:v>
                </c:pt>
                <c:pt idx="2058">
                  <c:v>87.225806451612897</c:v>
                </c:pt>
                <c:pt idx="2059">
                  <c:v>87.58064516129032</c:v>
                </c:pt>
                <c:pt idx="2060">
                  <c:v>87.870967741935488</c:v>
                </c:pt>
                <c:pt idx="2061">
                  <c:v>87.870967741935488</c:v>
                </c:pt>
                <c:pt idx="2062">
                  <c:v>88.129032258064512</c:v>
                </c:pt>
                <c:pt idx="2063">
                  <c:v>88.483870967741936</c:v>
                </c:pt>
                <c:pt idx="2064">
                  <c:v>88.838709677419359</c:v>
                </c:pt>
                <c:pt idx="2065">
                  <c:v>88.967741935483872</c:v>
                </c:pt>
                <c:pt idx="2066">
                  <c:v>88.709677419354833</c:v>
                </c:pt>
                <c:pt idx="2067">
                  <c:v>88.774193548387103</c:v>
                </c:pt>
                <c:pt idx="2068">
                  <c:v>88.645161290322577</c:v>
                </c:pt>
                <c:pt idx="2069">
                  <c:v>88.903225806451616</c:v>
                </c:pt>
                <c:pt idx="2070">
                  <c:v>88.774193548387103</c:v>
                </c:pt>
                <c:pt idx="2071">
                  <c:v>88.741935483870961</c:v>
                </c:pt>
                <c:pt idx="2072">
                  <c:v>88.516129032258064</c:v>
                </c:pt>
                <c:pt idx="2073">
                  <c:v>88.967741935483872</c:v>
                </c:pt>
                <c:pt idx="2074">
                  <c:v>89</c:v>
                </c:pt>
                <c:pt idx="2075">
                  <c:v>89.064516129032256</c:v>
                </c:pt>
                <c:pt idx="2076">
                  <c:v>89.516129032258064</c:v>
                </c:pt>
                <c:pt idx="2077">
                  <c:v>89.774193548387103</c:v>
                </c:pt>
                <c:pt idx="2078">
                  <c:v>89.677419354838705</c:v>
                </c:pt>
                <c:pt idx="2079">
                  <c:v>89.41935483870968</c:v>
                </c:pt>
                <c:pt idx="2080">
                  <c:v>89.741935483870961</c:v>
                </c:pt>
                <c:pt idx="2081">
                  <c:v>90.129032258064512</c:v>
                </c:pt>
                <c:pt idx="2082">
                  <c:v>90.290322580645167</c:v>
                </c:pt>
                <c:pt idx="2083">
                  <c:v>90.451612903225808</c:v>
                </c:pt>
                <c:pt idx="2084">
                  <c:v>90.838709677419359</c:v>
                </c:pt>
                <c:pt idx="2085">
                  <c:v>91.290322580645167</c:v>
                </c:pt>
                <c:pt idx="2086">
                  <c:v>91.677419354838705</c:v>
                </c:pt>
                <c:pt idx="2087">
                  <c:v>92.032258064516128</c:v>
                </c:pt>
                <c:pt idx="2088">
                  <c:v>91.935483870967744</c:v>
                </c:pt>
                <c:pt idx="2089">
                  <c:v>92</c:v>
                </c:pt>
                <c:pt idx="2090">
                  <c:v>91.677419354838705</c:v>
                </c:pt>
                <c:pt idx="2091">
                  <c:v>91.548387096774192</c:v>
                </c:pt>
                <c:pt idx="2092">
                  <c:v>91.41935483870968</c:v>
                </c:pt>
                <c:pt idx="2093">
                  <c:v>91.709677419354833</c:v>
                </c:pt>
                <c:pt idx="2094">
                  <c:v>91.354838709677423</c:v>
                </c:pt>
                <c:pt idx="2095">
                  <c:v>91.322580645161295</c:v>
                </c:pt>
                <c:pt idx="2096">
                  <c:v>91.129032258064512</c:v>
                </c:pt>
                <c:pt idx="2097">
                  <c:v>91.161290322580641</c:v>
                </c:pt>
                <c:pt idx="2098">
                  <c:v>90.806451612903231</c:v>
                </c:pt>
                <c:pt idx="2099">
                  <c:v>90.451612903225808</c:v>
                </c:pt>
                <c:pt idx="2100">
                  <c:v>90.193548387096769</c:v>
                </c:pt>
                <c:pt idx="2101">
                  <c:v>90</c:v>
                </c:pt>
                <c:pt idx="2102">
                  <c:v>89.58064516129032</c:v>
                </c:pt>
                <c:pt idx="2103">
                  <c:v>90.064516129032256</c:v>
                </c:pt>
                <c:pt idx="2104">
                  <c:v>89.903225806451616</c:v>
                </c:pt>
                <c:pt idx="2105">
                  <c:v>90.322580645161295</c:v>
                </c:pt>
                <c:pt idx="2106">
                  <c:v>90.354838709677423</c:v>
                </c:pt>
                <c:pt idx="2107">
                  <c:v>89.935483870967744</c:v>
                </c:pt>
                <c:pt idx="2108">
                  <c:v>89.903225806451616</c:v>
                </c:pt>
                <c:pt idx="2109">
                  <c:v>89.967741935483872</c:v>
                </c:pt>
                <c:pt idx="2110">
                  <c:v>90.129032258064512</c:v>
                </c:pt>
                <c:pt idx="2111">
                  <c:v>89.870967741935488</c:v>
                </c:pt>
                <c:pt idx="2112">
                  <c:v>89.41935483870968</c:v>
                </c:pt>
                <c:pt idx="2113">
                  <c:v>89</c:v>
                </c:pt>
                <c:pt idx="2114">
                  <c:v>88.677419354838705</c:v>
                </c:pt>
                <c:pt idx="2115">
                  <c:v>88.548387096774192</c:v>
                </c:pt>
                <c:pt idx="2116">
                  <c:v>88.290322580645167</c:v>
                </c:pt>
                <c:pt idx="2117">
                  <c:v>88.193548387096769</c:v>
                </c:pt>
                <c:pt idx="2118">
                  <c:v>88.258064516129039</c:v>
                </c:pt>
                <c:pt idx="2119">
                  <c:v>88.806451612903231</c:v>
                </c:pt>
                <c:pt idx="2120">
                  <c:v>88.870967741935488</c:v>
                </c:pt>
                <c:pt idx="2121">
                  <c:v>89.193548387096769</c:v>
                </c:pt>
                <c:pt idx="2122">
                  <c:v>89.354838709677423</c:v>
                </c:pt>
                <c:pt idx="2123">
                  <c:v>89.387096774193552</c:v>
                </c:pt>
                <c:pt idx="2124">
                  <c:v>88.967741935483872</c:v>
                </c:pt>
                <c:pt idx="2125">
                  <c:v>89.129032258064512</c:v>
                </c:pt>
                <c:pt idx="2126">
                  <c:v>89.064516129032256</c:v>
                </c:pt>
                <c:pt idx="2127">
                  <c:v>89.322580645161295</c:v>
                </c:pt>
                <c:pt idx="2128">
                  <c:v>89.58064516129032</c:v>
                </c:pt>
                <c:pt idx="2129">
                  <c:v>89.870967741935488</c:v>
                </c:pt>
                <c:pt idx="2130">
                  <c:v>90.193548387096769</c:v>
                </c:pt>
                <c:pt idx="2131">
                  <c:v>90.58064516129032</c:v>
                </c:pt>
                <c:pt idx="2132">
                  <c:v>90.774193548387103</c:v>
                </c:pt>
                <c:pt idx="2133">
                  <c:v>91.129032258064512</c:v>
                </c:pt>
                <c:pt idx="2134">
                  <c:v>90.483870967741936</c:v>
                </c:pt>
                <c:pt idx="2135">
                  <c:v>90.193548387096769</c:v>
                </c:pt>
                <c:pt idx="2136">
                  <c:v>90.225806451612897</c:v>
                </c:pt>
                <c:pt idx="2137">
                  <c:v>90.032258064516128</c:v>
                </c:pt>
                <c:pt idx="2138">
                  <c:v>90.258064516129039</c:v>
                </c:pt>
                <c:pt idx="2139">
                  <c:v>90.612903225806448</c:v>
                </c:pt>
                <c:pt idx="2140">
                  <c:v>90.838709677419359</c:v>
                </c:pt>
                <c:pt idx="2141">
                  <c:v>91.096774193548384</c:v>
                </c:pt>
                <c:pt idx="2142">
                  <c:v>91.129032258064512</c:v>
                </c:pt>
                <c:pt idx="2143">
                  <c:v>91.387096774193552</c:v>
                </c:pt>
                <c:pt idx="2144">
                  <c:v>91.677419354838705</c:v>
                </c:pt>
                <c:pt idx="2145">
                  <c:v>91.870967741935488</c:v>
                </c:pt>
                <c:pt idx="2146">
                  <c:v>91.903225806451616</c:v>
                </c:pt>
                <c:pt idx="2147">
                  <c:v>92.225806451612897</c:v>
                </c:pt>
                <c:pt idx="2148">
                  <c:v>92.451612903225808</c:v>
                </c:pt>
                <c:pt idx="2149">
                  <c:v>92.129032258064512</c:v>
                </c:pt>
                <c:pt idx="2150">
                  <c:v>91.645161290322577</c:v>
                </c:pt>
                <c:pt idx="2151">
                  <c:v>91.741935483870961</c:v>
                </c:pt>
                <c:pt idx="2152">
                  <c:v>91.612903225806448</c:v>
                </c:pt>
                <c:pt idx="2153">
                  <c:v>91.161290322580641</c:v>
                </c:pt>
                <c:pt idx="2154">
                  <c:v>91.322580645161295</c:v>
                </c:pt>
                <c:pt idx="2155">
                  <c:v>91.677419354838705</c:v>
                </c:pt>
                <c:pt idx="2156">
                  <c:v>91.58064516129032</c:v>
                </c:pt>
                <c:pt idx="2157">
                  <c:v>91.806451612903231</c:v>
                </c:pt>
                <c:pt idx="2158">
                  <c:v>91.451612903225808</c:v>
                </c:pt>
                <c:pt idx="2159">
                  <c:v>90.967741935483872</c:v>
                </c:pt>
                <c:pt idx="2160">
                  <c:v>90.935483870967744</c:v>
                </c:pt>
                <c:pt idx="2161">
                  <c:v>90.935483870967744</c:v>
                </c:pt>
                <c:pt idx="2162">
                  <c:v>90.967741935483872</c:v>
                </c:pt>
                <c:pt idx="2163">
                  <c:v>91.161290322580641</c:v>
                </c:pt>
                <c:pt idx="2164">
                  <c:v>91.064516129032256</c:v>
                </c:pt>
                <c:pt idx="2165">
                  <c:v>91.387096774193552</c:v>
                </c:pt>
                <c:pt idx="2166">
                  <c:v>91.935483870967744</c:v>
                </c:pt>
                <c:pt idx="2167">
                  <c:v>91.516129032258064</c:v>
                </c:pt>
                <c:pt idx="2168">
                  <c:v>91.58064516129032</c:v>
                </c:pt>
                <c:pt idx="2169">
                  <c:v>91.322580645161295</c:v>
                </c:pt>
                <c:pt idx="2170">
                  <c:v>90.774193548387103</c:v>
                </c:pt>
                <c:pt idx="2171">
                  <c:v>90.903225806451616</c:v>
                </c:pt>
                <c:pt idx="2172">
                  <c:v>90.41935483870968</c:v>
                </c:pt>
                <c:pt idx="2173">
                  <c:v>90.290322580645167</c:v>
                </c:pt>
                <c:pt idx="2174">
                  <c:v>90.032258064516128</c:v>
                </c:pt>
                <c:pt idx="2175">
                  <c:v>89.677419354838705</c:v>
                </c:pt>
                <c:pt idx="2176">
                  <c:v>90.096774193548384</c:v>
                </c:pt>
                <c:pt idx="2177">
                  <c:v>90.161290322580641</c:v>
                </c:pt>
                <c:pt idx="2178">
                  <c:v>89.870967741935488</c:v>
                </c:pt>
                <c:pt idx="2179">
                  <c:v>89.612903225806448</c:v>
                </c:pt>
                <c:pt idx="2180">
                  <c:v>89.354838709677423</c:v>
                </c:pt>
                <c:pt idx="2181">
                  <c:v>89.322580645161295</c:v>
                </c:pt>
                <c:pt idx="2182">
                  <c:v>89.225806451612897</c:v>
                </c:pt>
                <c:pt idx="2183">
                  <c:v>89.129032258064512</c:v>
                </c:pt>
                <c:pt idx="2184">
                  <c:v>89.709677419354833</c:v>
                </c:pt>
                <c:pt idx="2185">
                  <c:v>89.548387096774192</c:v>
                </c:pt>
                <c:pt idx="2186">
                  <c:v>89.58064516129032</c:v>
                </c:pt>
                <c:pt idx="2187">
                  <c:v>89.645161290322577</c:v>
                </c:pt>
                <c:pt idx="2188">
                  <c:v>89.709677419354833</c:v>
                </c:pt>
                <c:pt idx="2189">
                  <c:v>89.967741935483872</c:v>
                </c:pt>
                <c:pt idx="2190">
                  <c:v>89.967741935483872</c:v>
                </c:pt>
                <c:pt idx="2191">
                  <c:v>89.935483870967744</c:v>
                </c:pt>
                <c:pt idx="2192">
                  <c:v>90.032258064516128</c:v>
                </c:pt>
                <c:pt idx="2193">
                  <c:v>89.612903225806448</c:v>
                </c:pt>
                <c:pt idx="2194">
                  <c:v>89.322580645161295</c:v>
                </c:pt>
                <c:pt idx="2195">
                  <c:v>89.129032258064512</c:v>
                </c:pt>
                <c:pt idx="2196">
                  <c:v>89.354838709677423</c:v>
                </c:pt>
                <c:pt idx="2197">
                  <c:v>89.354838709677423</c:v>
                </c:pt>
                <c:pt idx="2198">
                  <c:v>89.58064516129032</c:v>
                </c:pt>
                <c:pt idx="2199">
                  <c:v>89.516129032258064</c:v>
                </c:pt>
                <c:pt idx="2200">
                  <c:v>89.806451612903231</c:v>
                </c:pt>
                <c:pt idx="2201">
                  <c:v>90.387096774193552</c:v>
                </c:pt>
                <c:pt idx="2202">
                  <c:v>90.41935483870968</c:v>
                </c:pt>
                <c:pt idx="2203">
                  <c:v>90.741935483870961</c:v>
                </c:pt>
                <c:pt idx="2204">
                  <c:v>90.58064516129032</c:v>
                </c:pt>
                <c:pt idx="2205">
                  <c:v>90.645161290322577</c:v>
                </c:pt>
                <c:pt idx="2206">
                  <c:v>91.064516129032256</c:v>
                </c:pt>
                <c:pt idx="2207">
                  <c:v>90.58064516129032</c:v>
                </c:pt>
                <c:pt idx="2208">
                  <c:v>90.516129032258064</c:v>
                </c:pt>
                <c:pt idx="2209">
                  <c:v>90.612903225806448</c:v>
                </c:pt>
                <c:pt idx="2210">
                  <c:v>90.451612903225808</c:v>
                </c:pt>
                <c:pt idx="2211">
                  <c:v>90.741935483870961</c:v>
                </c:pt>
                <c:pt idx="2212">
                  <c:v>90.741935483870961</c:v>
                </c:pt>
                <c:pt idx="2213">
                  <c:v>90.516129032258064</c:v>
                </c:pt>
                <c:pt idx="2214">
                  <c:v>90.41935483870968</c:v>
                </c:pt>
                <c:pt idx="2215">
                  <c:v>89.838709677419359</c:v>
                </c:pt>
                <c:pt idx="2216">
                  <c:v>89.903225806451616</c:v>
                </c:pt>
                <c:pt idx="2217">
                  <c:v>89.967741935483872</c:v>
                </c:pt>
                <c:pt idx="2218">
                  <c:v>90.193548387096769</c:v>
                </c:pt>
                <c:pt idx="2219">
                  <c:v>90.096774193548384</c:v>
                </c:pt>
                <c:pt idx="2220">
                  <c:v>90.129032258064512</c:v>
                </c:pt>
                <c:pt idx="2221">
                  <c:v>90.612903225806448</c:v>
                </c:pt>
                <c:pt idx="2222">
                  <c:v>90.451612903225808</c:v>
                </c:pt>
                <c:pt idx="2223">
                  <c:v>90.903225806451616</c:v>
                </c:pt>
                <c:pt idx="2224">
                  <c:v>91.838709677419359</c:v>
                </c:pt>
                <c:pt idx="2225">
                  <c:v>92.548387096774192</c:v>
                </c:pt>
                <c:pt idx="2226">
                  <c:v>93.096774193548384</c:v>
                </c:pt>
                <c:pt idx="2227">
                  <c:v>93.451612903225808</c:v>
                </c:pt>
                <c:pt idx="2228">
                  <c:v>93.806451612903231</c:v>
                </c:pt>
                <c:pt idx="2229">
                  <c:v>94.41935483870968</c:v>
                </c:pt>
                <c:pt idx="2230">
                  <c:v>95.032258064516128</c:v>
                </c:pt>
                <c:pt idx="2231">
                  <c:v>95.612903225806448</c:v>
                </c:pt>
                <c:pt idx="2232">
                  <c:v>95.903225806451616</c:v>
                </c:pt>
                <c:pt idx="2233">
                  <c:v>96.193548387096769</c:v>
                </c:pt>
                <c:pt idx="2234">
                  <c:v>96.516129032258064</c:v>
                </c:pt>
                <c:pt idx="2235">
                  <c:v>97.161290322580641</c:v>
                </c:pt>
                <c:pt idx="2236">
                  <c:v>98</c:v>
                </c:pt>
                <c:pt idx="2237">
                  <c:v>98.516129032258064</c:v>
                </c:pt>
                <c:pt idx="2238">
                  <c:v>99.258064516129039</c:v>
                </c:pt>
                <c:pt idx="2239">
                  <c:v>99.645161290322577</c:v>
                </c:pt>
                <c:pt idx="2240">
                  <c:v>100</c:v>
                </c:pt>
                <c:pt idx="2241">
                  <c:v>100.74193548387096</c:v>
                </c:pt>
                <c:pt idx="2242">
                  <c:v>101</c:v>
                </c:pt>
                <c:pt idx="2243">
                  <c:v>101.58064516129032</c:v>
                </c:pt>
                <c:pt idx="2244">
                  <c:v>102.03225806451613</c:v>
                </c:pt>
                <c:pt idx="2245">
                  <c:v>103.06451612903226</c:v>
                </c:pt>
                <c:pt idx="2246">
                  <c:v>103.70967741935483</c:v>
                </c:pt>
                <c:pt idx="2247">
                  <c:v>104.35483870967742</c:v>
                </c:pt>
                <c:pt idx="2248">
                  <c:v>104.41935483870968</c:v>
                </c:pt>
                <c:pt idx="2249">
                  <c:v>104.6774193548387</c:v>
                </c:pt>
                <c:pt idx="2250">
                  <c:v>104.87096774193549</c:v>
                </c:pt>
                <c:pt idx="2251">
                  <c:v>105.16129032258064</c:v>
                </c:pt>
                <c:pt idx="2252">
                  <c:v>105.25806451612904</c:v>
                </c:pt>
                <c:pt idx="2253">
                  <c:v>105.87096774193549</c:v>
                </c:pt>
                <c:pt idx="2254">
                  <c:v>105.61290322580645</c:v>
                </c:pt>
                <c:pt idx="2255">
                  <c:v>105.61290322580645</c:v>
                </c:pt>
                <c:pt idx="2256">
                  <c:v>105.45161290322581</c:v>
                </c:pt>
                <c:pt idx="2257">
                  <c:v>105.45161290322581</c:v>
                </c:pt>
                <c:pt idx="2258">
                  <c:v>105.41935483870968</c:v>
                </c:pt>
                <c:pt idx="2259">
                  <c:v>105.19354838709677</c:v>
                </c:pt>
                <c:pt idx="2260">
                  <c:v>105.3225806451613</c:v>
                </c:pt>
                <c:pt idx="2261">
                  <c:v>105.61290322580645</c:v>
                </c:pt>
                <c:pt idx="2262">
                  <c:v>105.80645161290323</c:v>
                </c:pt>
                <c:pt idx="2263">
                  <c:v>105.80645161290323</c:v>
                </c:pt>
                <c:pt idx="2264">
                  <c:v>106.16129032258064</c:v>
                </c:pt>
                <c:pt idx="2265">
                  <c:v>106.51612903225806</c:v>
                </c:pt>
                <c:pt idx="2266">
                  <c:v>106.90322580645162</c:v>
                </c:pt>
                <c:pt idx="2267">
                  <c:v>107.2258064516129</c:v>
                </c:pt>
                <c:pt idx="2268">
                  <c:v>107.54838709677419</c:v>
                </c:pt>
                <c:pt idx="2269">
                  <c:v>107.87096774193549</c:v>
                </c:pt>
                <c:pt idx="2270">
                  <c:v>108.25806451612904</c:v>
                </c:pt>
                <c:pt idx="2271">
                  <c:v>108.90322580645162</c:v>
                </c:pt>
                <c:pt idx="2272">
                  <c:v>109.2258064516129</c:v>
                </c:pt>
                <c:pt idx="2273">
                  <c:v>109.93548387096774</c:v>
                </c:pt>
                <c:pt idx="2274">
                  <c:v>110.54838709677419</c:v>
                </c:pt>
                <c:pt idx="2275">
                  <c:v>107.2258064516129</c:v>
                </c:pt>
                <c:pt idx="2276">
                  <c:v>103.51612903225806</c:v>
                </c:pt>
                <c:pt idx="2277">
                  <c:v>100.29032258064517</c:v>
                </c:pt>
                <c:pt idx="2278">
                  <c:v>96.612903225806448</c:v>
                </c:pt>
                <c:pt idx="2279">
                  <c:v>93.354838709677423</c:v>
                </c:pt>
                <c:pt idx="2280">
                  <c:v>90</c:v>
                </c:pt>
                <c:pt idx="2281">
                  <c:v>86.709677419354833</c:v>
                </c:pt>
                <c:pt idx="2282">
                  <c:v>83.41935483870968</c:v>
                </c:pt>
                <c:pt idx="2283">
                  <c:v>80.225806451612897</c:v>
                </c:pt>
                <c:pt idx="2284">
                  <c:v>76.709677419354833</c:v>
                </c:pt>
                <c:pt idx="2285">
                  <c:v>73.483870967741936</c:v>
                </c:pt>
                <c:pt idx="2286">
                  <c:v>69.838709677419359</c:v>
                </c:pt>
                <c:pt idx="2287">
                  <c:v>66.387096774193552</c:v>
                </c:pt>
                <c:pt idx="2288">
                  <c:v>63.161290322580648</c:v>
                </c:pt>
                <c:pt idx="2289">
                  <c:v>59.70967741935484</c:v>
                </c:pt>
                <c:pt idx="2290">
                  <c:v>56.354838709677416</c:v>
                </c:pt>
                <c:pt idx="2291">
                  <c:v>55.87096774193548</c:v>
                </c:pt>
                <c:pt idx="2292">
                  <c:v>55.193548387096776</c:v>
                </c:pt>
                <c:pt idx="2293">
                  <c:v>54.774193548387096</c:v>
                </c:pt>
                <c:pt idx="2294">
                  <c:v>54.451612903225808</c:v>
                </c:pt>
                <c:pt idx="2295">
                  <c:v>53.645161290322584</c:v>
                </c:pt>
                <c:pt idx="2296">
                  <c:v>52.87096774193548</c:v>
                </c:pt>
                <c:pt idx="2297">
                  <c:v>52.258064516129032</c:v>
                </c:pt>
                <c:pt idx="2298">
                  <c:v>51.064516129032256</c:v>
                </c:pt>
                <c:pt idx="2299">
                  <c:v>49.935483870967744</c:v>
                </c:pt>
                <c:pt idx="2300">
                  <c:v>49.032258064516128</c:v>
                </c:pt>
                <c:pt idx="2301">
                  <c:v>47.87096774193548</c:v>
                </c:pt>
                <c:pt idx="2302">
                  <c:v>46.87096774193548</c:v>
                </c:pt>
                <c:pt idx="2303">
                  <c:v>45.58064516129032</c:v>
                </c:pt>
                <c:pt idx="2304">
                  <c:v>44.548387096774192</c:v>
                </c:pt>
                <c:pt idx="2305">
                  <c:v>43.677419354838712</c:v>
                </c:pt>
                <c:pt idx="2306">
                  <c:v>46.903225806451616</c:v>
                </c:pt>
                <c:pt idx="2307">
                  <c:v>49.903225806451616</c:v>
                </c:pt>
                <c:pt idx="2308">
                  <c:v>52.774193548387096</c:v>
                </c:pt>
                <c:pt idx="2309">
                  <c:v>55.645161290322584</c:v>
                </c:pt>
                <c:pt idx="2310">
                  <c:v>58.645161290322584</c:v>
                </c:pt>
                <c:pt idx="2311">
                  <c:v>61.741935483870968</c:v>
                </c:pt>
                <c:pt idx="2312">
                  <c:v>64.645161290322577</c:v>
                </c:pt>
                <c:pt idx="2313">
                  <c:v>67.451612903225808</c:v>
                </c:pt>
                <c:pt idx="2314">
                  <c:v>70.612903225806448</c:v>
                </c:pt>
                <c:pt idx="2315">
                  <c:v>73.741935483870961</c:v>
                </c:pt>
                <c:pt idx="2316">
                  <c:v>76.903225806451616</c:v>
                </c:pt>
                <c:pt idx="2317">
                  <c:v>80.129032258064512</c:v>
                </c:pt>
                <c:pt idx="2318">
                  <c:v>82.774193548387103</c:v>
                </c:pt>
                <c:pt idx="2319">
                  <c:v>85.870967741935488</c:v>
                </c:pt>
                <c:pt idx="2320">
                  <c:v>88.483870967741936</c:v>
                </c:pt>
                <c:pt idx="2321">
                  <c:v>91.58064516129032</c:v>
                </c:pt>
                <c:pt idx="2322">
                  <c:v>91.322580645161295</c:v>
                </c:pt>
                <c:pt idx="2323">
                  <c:v>91.258064516129039</c:v>
                </c:pt>
                <c:pt idx="2324">
                  <c:v>90.612903225806448</c:v>
                </c:pt>
                <c:pt idx="2325">
                  <c:v>90.677419354838705</c:v>
                </c:pt>
                <c:pt idx="2326">
                  <c:v>90.838709677419359</c:v>
                </c:pt>
                <c:pt idx="2327">
                  <c:v>90.967741935483872</c:v>
                </c:pt>
                <c:pt idx="2328">
                  <c:v>90.548387096774192</c:v>
                </c:pt>
                <c:pt idx="2329">
                  <c:v>91.129032258064512</c:v>
                </c:pt>
                <c:pt idx="2330">
                  <c:v>91.032258064516128</c:v>
                </c:pt>
                <c:pt idx="2331">
                  <c:v>91.193548387096769</c:v>
                </c:pt>
                <c:pt idx="2332">
                  <c:v>91.225806451612897</c:v>
                </c:pt>
                <c:pt idx="2333">
                  <c:v>91.129032258064512</c:v>
                </c:pt>
                <c:pt idx="2334">
                  <c:v>91.258064516129039</c:v>
                </c:pt>
                <c:pt idx="2335">
                  <c:v>91.032258064516128</c:v>
                </c:pt>
                <c:pt idx="2336">
                  <c:v>90.645161290322577</c:v>
                </c:pt>
                <c:pt idx="2337">
                  <c:v>90.032258064516128</c:v>
                </c:pt>
                <c:pt idx="2338">
                  <c:v>89.709677419354833</c:v>
                </c:pt>
                <c:pt idx="2339">
                  <c:v>89.741935483870961</c:v>
                </c:pt>
                <c:pt idx="2340">
                  <c:v>89.58064516129032</c:v>
                </c:pt>
                <c:pt idx="2341">
                  <c:v>89.193548387096769</c:v>
                </c:pt>
                <c:pt idx="2342">
                  <c:v>88.741935483870961</c:v>
                </c:pt>
                <c:pt idx="2343">
                  <c:v>88.677419354838705</c:v>
                </c:pt>
                <c:pt idx="2344">
                  <c:v>88.483870967741936</c:v>
                </c:pt>
                <c:pt idx="2345">
                  <c:v>88.193548387096769</c:v>
                </c:pt>
                <c:pt idx="2346">
                  <c:v>87.741935483870961</c:v>
                </c:pt>
                <c:pt idx="2347">
                  <c:v>87.483870967741936</c:v>
                </c:pt>
                <c:pt idx="2348">
                  <c:v>87.354838709677423</c:v>
                </c:pt>
                <c:pt idx="2349">
                  <c:v>87.58064516129032</c:v>
                </c:pt>
                <c:pt idx="2350">
                  <c:v>87.612903225806448</c:v>
                </c:pt>
                <c:pt idx="2351">
                  <c:v>88.032258064516128</c:v>
                </c:pt>
                <c:pt idx="2352">
                  <c:v>87.903225806451616</c:v>
                </c:pt>
                <c:pt idx="2353">
                  <c:v>87.806451612903231</c:v>
                </c:pt>
                <c:pt idx="2354">
                  <c:v>87.870967741935488</c:v>
                </c:pt>
                <c:pt idx="2355">
                  <c:v>88.387096774193552</c:v>
                </c:pt>
                <c:pt idx="2356">
                  <c:v>88.193548387096769</c:v>
                </c:pt>
                <c:pt idx="2357">
                  <c:v>88.193548387096769</c:v>
                </c:pt>
                <c:pt idx="2358">
                  <c:v>87.935483870967744</c:v>
                </c:pt>
                <c:pt idx="2359">
                  <c:v>88.290322580645167</c:v>
                </c:pt>
                <c:pt idx="2360">
                  <c:v>87.677419354838705</c:v>
                </c:pt>
                <c:pt idx="2361">
                  <c:v>88</c:v>
                </c:pt>
                <c:pt idx="2362">
                  <c:v>87.58064516129032</c:v>
                </c:pt>
                <c:pt idx="2363">
                  <c:v>87.483870967741936</c:v>
                </c:pt>
                <c:pt idx="2364">
                  <c:v>87.354838709677423</c:v>
                </c:pt>
                <c:pt idx="2365">
                  <c:v>87.41935483870968</c:v>
                </c:pt>
                <c:pt idx="2366">
                  <c:v>87.967741935483872</c:v>
                </c:pt>
                <c:pt idx="2367">
                  <c:v>88.096774193548384</c:v>
                </c:pt>
                <c:pt idx="2368">
                  <c:v>88.612903225806448</c:v>
                </c:pt>
                <c:pt idx="2369">
                  <c:v>88.677419354838705</c:v>
                </c:pt>
                <c:pt idx="2370">
                  <c:v>88.677419354838705</c:v>
                </c:pt>
                <c:pt idx="2371">
                  <c:v>89</c:v>
                </c:pt>
                <c:pt idx="2372">
                  <c:v>89.032258064516128</c:v>
                </c:pt>
                <c:pt idx="2373">
                  <c:v>89.58064516129032</c:v>
                </c:pt>
                <c:pt idx="2374">
                  <c:v>89.741935483870961</c:v>
                </c:pt>
                <c:pt idx="2375">
                  <c:v>90.322580645161295</c:v>
                </c:pt>
                <c:pt idx="2376">
                  <c:v>90.032258064516128</c:v>
                </c:pt>
                <c:pt idx="2377">
                  <c:v>89.967741935483872</c:v>
                </c:pt>
                <c:pt idx="2378">
                  <c:v>89.677419354838705</c:v>
                </c:pt>
                <c:pt idx="2379">
                  <c:v>89.322580645161295</c:v>
                </c:pt>
                <c:pt idx="2380">
                  <c:v>89.161290322580641</c:v>
                </c:pt>
                <c:pt idx="2381">
                  <c:v>89.032258064516128</c:v>
                </c:pt>
                <c:pt idx="2382">
                  <c:v>88.935483870967744</c:v>
                </c:pt>
                <c:pt idx="2383">
                  <c:v>88.645161290322577</c:v>
                </c:pt>
                <c:pt idx="2384">
                  <c:v>88.774193548387103</c:v>
                </c:pt>
                <c:pt idx="2385">
                  <c:v>89.032258064516128</c:v>
                </c:pt>
                <c:pt idx="2386">
                  <c:v>89.064516129032256</c:v>
                </c:pt>
                <c:pt idx="2387">
                  <c:v>89.225806451612897</c:v>
                </c:pt>
                <c:pt idx="2388">
                  <c:v>89.322580645161295</c:v>
                </c:pt>
                <c:pt idx="2389">
                  <c:v>89.129032258064512</c:v>
                </c:pt>
                <c:pt idx="2390">
                  <c:v>88.935483870967744</c:v>
                </c:pt>
                <c:pt idx="2391">
                  <c:v>89.129032258064512</c:v>
                </c:pt>
                <c:pt idx="2392">
                  <c:v>88.870967741935488</c:v>
                </c:pt>
                <c:pt idx="2393">
                  <c:v>88.935483870967744</c:v>
                </c:pt>
                <c:pt idx="2394">
                  <c:v>89.451612903225808</c:v>
                </c:pt>
                <c:pt idx="2395">
                  <c:v>89.387096774193552</c:v>
                </c:pt>
                <c:pt idx="2396">
                  <c:v>89.612903225806448</c:v>
                </c:pt>
                <c:pt idx="2397">
                  <c:v>89.58064516129032</c:v>
                </c:pt>
                <c:pt idx="2398">
                  <c:v>89.58064516129032</c:v>
                </c:pt>
                <c:pt idx="2399">
                  <c:v>89.41935483870968</c:v>
                </c:pt>
                <c:pt idx="2400">
                  <c:v>89.258064516129039</c:v>
                </c:pt>
                <c:pt idx="2401">
                  <c:v>89.58064516129032</c:v>
                </c:pt>
                <c:pt idx="2402">
                  <c:v>89.58064516129032</c:v>
                </c:pt>
                <c:pt idx="2403">
                  <c:v>89.838709677419359</c:v>
                </c:pt>
                <c:pt idx="2404">
                  <c:v>89.612903225806448</c:v>
                </c:pt>
                <c:pt idx="2405">
                  <c:v>89.225806451612897</c:v>
                </c:pt>
                <c:pt idx="2406">
                  <c:v>88.967741935483872</c:v>
                </c:pt>
                <c:pt idx="2407">
                  <c:v>89.451612903225808</c:v>
                </c:pt>
                <c:pt idx="2408">
                  <c:v>90.064516129032256</c:v>
                </c:pt>
                <c:pt idx="2409">
                  <c:v>90.483870967741936</c:v>
                </c:pt>
                <c:pt idx="2410">
                  <c:v>90.806451612903231</c:v>
                </c:pt>
                <c:pt idx="2411">
                  <c:v>90.741935483870961</c:v>
                </c:pt>
                <c:pt idx="2412">
                  <c:v>90.58064516129032</c:v>
                </c:pt>
                <c:pt idx="2413">
                  <c:v>90.387096774193552</c:v>
                </c:pt>
                <c:pt idx="2414">
                  <c:v>90.483870967741936</c:v>
                </c:pt>
                <c:pt idx="2415">
                  <c:v>90.741935483870961</c:v>
                </c:pt>
                <c:pt idx="2416">
                  <c:v>90.645161290322577</c:v>
                </c:pt>
                <c:pt idx="2417">
                  <c:v>90.516129032258064</c:v>
                </c:pt>
                <c:pt idx="2418">
                  <c:v>90.129032258064512</c:v>
                </c:pt>
                <c:pt idx="2419">
                  <c:v>90.225806451612897</c:v>
                </c:pt>
                <c:pt idx="2420">
                  <c:v>90.516129032258064</c:v>
                </c:pt>
                <c:pt idx="2421">
                  <c:v>90.516129032258064</c:v>
                </c:pt>
                <c:pt idx="2422">
                  <c:v>90.612903225806448</c:v>
                </c:pt>
                <c:pt idx="2423">
                  <c:v>90.7</c:v>
                </c:pt>
                <c:pt idx="2424">
                  <c:v>90.965517241379317</c:v>
                </c:pt>
                <c:pt idx="2425">
                  <c:v>90.785714285714292</c:v>
                </c:pt>
                <c:pt idx="2426">
                  <c:v>91.148148148148152</c:v>
                </c:pt>
                <c:pt idx="2427">
                  <c:v>91.07692307692308</c:v>
                </c:pt>
                <c:pt idx="2428">
                  <c:v>90.8</c:v>
                </c:pt>
                <c:pt idx="2429">
                  <c:v>91.083333333333329</c:v>
                </c:pt>
                <c:pt idx="2430">
                  <c:v>91.043478260869563</c:v>
                </c:pt>
                <c:pt idx="2431">
                  <c:v>91.545454545454547</c:v>
                </c:pt>
                <c:pt idx="2432">
                  <c:v>91.142857142857139</c:v>
                </c:pt>
                <c:pt idx="2433">
                  <c:v>91</c:v>
                </c:pt>
                <c:pt idx="2434">
                  <c:v>91.05263157894737</c:v>
                </c:pt>
                <c:pt idx="2435">
                  <c:v>91</c:v>
                </c:pt>
                <c:pt idx="2436">
                  <c:v>91.588235294117652</c:v>
                </c:pt>
                <c:pt idx="2437">
                  <c:v>91.625</c:v>
                </c:pt>
                <c:pt idx="2438">
                  <c:v>91.4</c:v>
                </c:pt>
                <c:pt idx="2439">
                  <c:v>90.785714285714292</c:v>
                </c:pt>
                <c:pt idx="2440">
                  <c:v>90.538461538461533</c:v>
                </c:pt>
                <c:pt idx="2441">
                  <c:v>90.166666666666671</c:v>
                </c:pt>
                <c:pt idx="2442">
                  <c:v>90.909090909090907</c:v>
                </c:pt>
                <c:pt idx="2443">
                  <c:v>91.2</c:v>
                </c:pt>
                <c:pt idx="2444">
                  <c:v>91.888888888888886</c:v>
                </c:pt>
                <c:pt idx="2445">
                  <c:v>92.625</c:v>
                </c:pt>
                <c:pt idx="2446">
                  <c:v>91.714285714285708</c:v>
                </c:pt>
                <c:pt idx="2447">
                  <c:v>91.333333333333329</c:v>
                </c:pt>
                <c:pt idx="2448">
                  <c:v>91</c:v>
                </c:pt>
                <c:pt idx="2449">
                  <c:v>92</c:v>
                </c:pt>
                <c:pt idx="2450">
                  <c:v>89.333333333333329</c:v>
                </c:pt>
                <c:pt idx="2451">
                  <c:v>89.5</c:v>
                </c:pt>
              </c:numCache>
            </c:numRef>
          </c:val>
          <c:smooth val="0"/>
          <c:extLst>
            <c:ext xmlns:c16="http://schemas.microsoft.com/office/drawing/2014/chart" uri="{C3380CC4-5D6E-409C-BE32-E72D297353CC}">
              <c16:uniqueId val="{00000002-29A8-CF42-9633-B19AC805DF98}"/>
            </c:ext>
          </c:extLst>
        </c:ser>
        <c:ser>
          <c:idx val="3"/>
          <c:order val="3"/>
          <c:tx>
            <c:strRef>
              <c:f>'DRT Rolling Mean'!$F$1</c:f>
              <c:strCache>
                <c:ptCount val="1"/>
                <c:pt idx="0">
                  <c:v>Pump Torque </c:v>
                </c:pt>
              </c:strCache>
            </c:strRef>
          </c:tx>
          <c:spPr>
            <a:ln w="28575" cap="rnd">
              <a:solidFill>
                <a:schemeClr val="accent4"/>
              </a:solidFill>
              <a:round/>
            </a:ln>
            <a:effectLst/>
          </c:spPr>
          <c:marker>
            <c:symbol val="none"/>
          </c:marker>
          <c:cat>
            <c:numRef>
              <c:f>'DRT Rolling Mean'!$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F$2:$F$2453</c:f>
              <c:numCache>
                <c:formatCode>#,##0.00</c:formatCode>
                <c:ptCount val="2452"/>
                <c:pt idx="0">
                  <c:v>202.74193548387098</c:v>
                </c:pt>
                <c:pt idx="1">
                  <c:v>203.09677419354838</c:v>
                </c:pt>
                <c:pt idx="2">
                  <c:v>202.41935483870967</c:v>
                </c:pt>
                <c:pt idx="3">
                  <c:v>201.70967741935485</c:v>
                </c:pt>
                <c:pt idx="4">
                  <c:v>201.74193548387098</c:v>
                </c:pt>
                <c:pt idx="5">
                  <c:v>201.70967741935485</c:v>
                </c:pt>
                <c:pt idx="6">
                  <c:v>201.45161290322579</c:v>
                </c:pt>
                <c:pt idx="7">
                  <c:v>200.7741935483871</c:v>
                </c:pt>
                <c:pt idx="8">
                  <c:v>200.35483870967741</c:v>
                </c:pt>
                <c:pt idx="9">
                  <c:v>200.45161290322579</c:v>
                </c:pt>
                <c:pt idx="10">
                  <c:v>201.41935483870967</c:v>
                </c:pt>
                <c:pt idx="11">
                  <c:v>201.2258064516129</c:v>
                </c:pt>
                <c:pt idx="12">
                  <c:v>201.09677419354838</c:v>
                </c:pt>
                <c:pt idx="13">
                  <c:v>200.87096774193549</c:v>
                </c:pt>
                <c:pt idx="14">
                  <c:v>201.2258064516129</c:v>
                </c:pt>
                <c:pt idx="15">
                  <c:v>201.83870967741936</c:v>
                </c:pt>
                <c:pt idx="16">
                  <c:v>201.96774193548387</c:v>
                </c:pt>
                <c:pt idx="17">
                  <c:v>202</c:v>
                </c:pt>
                <c:pt idx="18">
                  <c:v>202.16129032258064</c:v>
                </c:pt>
                <c:pt idx="19">
                  <c:v>202.45161290322579</c:v>
                </c:pt>
                <c:pt idx="20">
                  <c:v>202.16129032258064</c:v>
                </c:pt>
                <c:pt idx="21">
                  <c:v>201.74193548387098</c:v>
                </c:pt>
                <c:pt idx="22">
                  <c:v>201.35483870967741</c:v>
                </c:pt>
                <c:pt idx="23">
                  <c:v>201.19354838709677</c:v>
                </c:pt>
                <c:pt idx="24">
                  <c:v>200.67741935483872</c:v>
                </c:pt>
                <c:pt idx="25">
                  <c:v>200.38709677419354</c:v>
                </c:pt>
                <c:pt idx="26">
                  <c:v>200.06451612903226</c:v>
                </c:pt>
                <c:pt idx="27">
                  <c:v>199.64516129032259</c:v>
                </c:pt>
                <c:pt idx="28">
                  <c:v>198.96774193548387</c:v>
                </c:pt>
                <c:pt idx="29">
                  <c:v>198.83870967741936</c:v>
                </c:pt>
                <c:pt idx="30">
                  <c:v>198.54838709677421</c:v>
                </c:pt>
                <c:pt idx="31">
                  <c:v>198.25806451612902</c:v>
                </c:pt>
                <c:pt idx="32">
                  <c:v>197.7741935483871</c:v>
                </c:pt>
                <c:pt idx="33">
                  <c:v>198.48387096774192</c:v>
                </c:pt>
                <c:pt idx="34">
                  <c:v>198.45161290322579</c:v>
                </c:pt>
                <c:pt idx="35">
                  <c:v>199.16129032258064</c:v>
                </c:pt>
                <c:pt idx="36">
                  <c:v>198.90322580645162</c:v>
                </c:pt>
                <c:pt idx="37">
                  <c:v>198.2258064516129</c:v>
                </c:pt>
                <c:pt idx="38">
                  <c:v>198.25806451612902</c:v>
                </c:pt>
                <c:pt idx="39">
                  <c:v>198.25806451612902</c:v>
                </c:pt>
                <c:pt idx="40">
                  <c:v>199</c:v>
                </c:pt>
                <c:pt idx="41">
                  <c:v>198.41935483870967</c:v>
                </c:pt>
                <c:pt idx="42">
                  <c:v>197.93548387096774</c:v>
                </c:pt>
                <c:pt idx="43">
                  <c:v>198.38709677419354</c:v>
                </c:pt>
                <c:pt idx="44">
                  <c:v>198.67741935483872</c:v>
                </c:pt>
                <c:pt idx="45">
                  <c:v>198.32258064516128</c:v>
                </c:pt>
                <c:pt idx="46">
                  <c:v>198.09677419354838</c:v>
                </c:pt>
                <c:pt idx="47">
                  <c:v>197.96774193548387</c:v>
                </c:pt>
                <c:pt idx="48">
                  <c:v>198.29032258064515</c:v>
                </c:pt>
                <c:pt idx="49">
                  <c:v>198.80645161290323</c:v>
                </c:pt>
                <c:pt idx="50">
                  <c:v>199.74193548387098</c:v>
                </c:pt>
                <c:pt idx="51">
                  <c:v>200.2258064516129</c:v>
                </c:pt>
                <c:pt idx="52">
                  <c:v>199.7741935483871</c:v>
                </c:pt>
                <c:pt idx="53">
                  <c:v>199.2258064516129</c:v>
                </c:pt>
                <c:pt idx="54">
                  <c:v>199.16129032258064</c:v>
                </c:pt>
                <c:pt idx="55">
                  <c:v>199.29032258064515</c:v>
                </c:pt>
                <c:pt idx="56">
                  <c:v>198.7741935483871</c:v>
                </c:pt>
                <c:pt idx="57">
                  <c:v>199.45161290322579</c:v>
                </c:pt>
                <c:pt idx="58">
                  <c:v>199.32258064516128</c:v>
                </c:pt>
                <c:pt idx="59">
                  <c:v>199.06451612903226</c:v>
                </c:pt>
                <c:pt idx="60">
                  <c:v>198.74193548387098</c:v>
                </c:pt>
                <c:pt idx="61">
                  <c:v>199.29032258064515</c:v>
                </c:pt>
                <c:pt idx="62">
                  <c:v>200.2258064516129</c:v>
                </c:pt>
                <c:pt idx="63">
                  <c:v>200.70967741935485</c:v>
                </c:pt>
                <c:pt idx="64">
                  <c:v>199.87096774193549</c:v>
                </c:pt>
                <c:pt idx="65">
                  <c:v>200.41935483870967</c:v>
                </c:pt>
                <c:pt idx="66">
                  <c:v>199.90322580645162</c:v>
                </c:pt>
                <c:pt idx="67">
                  <c:v>200.67741935483872</c:v>
                </c:pt>
                <c:pt idx="68">
                  <c:v>201.25806451612902</c:v>
                </c:pt>
                <c:pt idx="69">
                  <c:v>201.48387096774192</c:v>
                </c:pt>
                <c:pt idx="70">
                  <c:v>202.45161290322579</c:v>
                </c:pt>
                <c:pt idx="71">
                  <c:v>201.90322580645162</c:v>
                </c:pt>
                <c:pt idx="72">
                  <c:v>201.67741935483872</c:v>
                </c:pt>
                <c:pt idx="73">
                  <c:v>202.35483870967741</c:v>
                </c:pt>
                <c:pt idx="74">
                  <c:v>202.41935483870967</c:v>
                </c:pt>
                <c:pt idx="75">
                  <c:v>201.2258064516129</c:v>
                </c:pt>
                <c:pt idx="76">
                  <c:v>201.06451612903226</c:v>
                </c:pt>
                <c:pt idx="77">
                  <c:v>200.58064516129033</c:v>
                </c:pt>
                <c:pt idx="78">
                  <c:v>200.7741935483871</c:v>
                </c:pt>
                <c:pt idx="79">
                  <c:v>200.80645161290323</c:v>
                </c:pt>
                <c:pt idx="80">
                  <c:v>200.58064516129033</c:v>
                </c:pt>
                <c:pt idx="81">
                  <c:v>199.41935483870967</c:v>
                </c:pt>
                <c:pt idx="82">
                  <c:v>200.03225806451613</c:v>
                </c:pt>
                <c:pt idx="83">
                  <c:v>200.74193548387098</c:v>
                </c:pt>
                <c:pt idx="84">
                  <c:v>201.64516129032259</c:v>
                </c:pt>
                <c:pt idx="85">
                  <c:v>201.09677419354838</c:v>
                </c:pt>
                <c:pt idx="86">
                  <c:v>201.87096774193549</c:v>
                </c:pt>
                <c:pt idx="87">
                  <c:v>201.61290322580646</c:v>
                </c:pt>
                <c:pt idx="88">
                  <c:v>202.12903225806451</c:v>
                </c:pt>
                <c:pt idx="89">
                  <c:v>202.83870967741936</c:v>
                </c:pt>
                <c:pt idx="90">
                  <c:v>203.41935483870967</c:v>
                </c:pt>
                <c:pt idx="91">
                  <c:v>202.80645161290323</c:v>
                </c:pt>
                <c:pt idx="92">
                  <c:v>201.93548387096774</c:v>
                </c:pt>
                <c:pt idx="93">
                  <c:v>202</c:v>
                </c:pt>
                <c:pt idx="94">
                  <c:v>200.93548387096774</c:v>
                </c:pt>
                <c:pt idx="95">
                  <c:v>201.38709677419354</c:v>
                </c:pt>
                <c:pt idx="96">
                  <c:v>201.29032258064515</c:v>
                </c:pt>
                <c:pt idx="97">
                  <c:v>201.45161290322579</c:v>
                </c:pt>
                <c:pt idx="98">
                  <c:v>200.90322580645162</c:v>
                </c:pt>
                <c:pt idx="99">
                  <c:v>200.54838709677421</c:v>
                </c:pt>
                <c:pt idx="100">
                  <c:v>200.74193548387098</c:v>
                </c:pt>
                <c:pt idx="101">
                  <c:v>200.19354838709677</c:v>
                </c:pt>
                <c:pt idx="102">
                  <c:v>200.7741935483871</c:v>
                </c:pt>
                <c:pt idx="103">
                  <c:v>200.61290322580646</c:v>
                </c:pt>
                <c:pt idx="104">
                  <c:v>199.80645161290323</c:v>
                </c:pt>
                <c:pt idx="105">
                  <c:v>199.67741935483872</c:v>
                </c:pt>
                <c:pt idx="106">
                  <c:v>200.41935483870967</c:v>
                </c:pt>
                <c:pt idx="107">
                  <c:v>201.58064516129033</c:v>
                </c:pt>
                <c:pt idx="108">
                  <c:v>201.58064516129033</c:v>
                </c:pt>
                <c:pt idx="109">
                  <c:v>201.74193548387098</c:v>
                </c:pt>
                <c:pt idx="110">
                  <c:v>201.67741935483872</c:v>
                </c:pt>
                <c:pt idx="111">
                  <c:v>200.80645161290323</c:v>
                </c:pt>
                <c:pt idx="112">
                  <c:v>200.70967741935485</c:v>
                </c:pt>
                <c:pt idx="113">
                  <c:v>200.70967741935485</c:v>
                </c:pt>
                <c:pt idx="114">
                  <c:v>199.61290322580646</c:v>
                </c:pt>
                <c:pt idx="115">
                  <c:v>199.70967741935485</c:v>
                </c:pt>
                <c:pt idx="116">
                  <c:v>199.38709677419354</c:v>
                </c:pt>
                <c:pt idx="117">
                  <c:v>198.67741935483872</c:v>
                </c:pt>
                <c:pt idx="118">
                  <c:v>199.58064516129033</c:v>
                </c:pt>
                <c:pt idx="119">
                  <c:v>198.32258064516128</c:v>
                </c:pt>
                <c:pt idx="120">
                  <c:v>198.2258064516129</c:v>
                </c:pt>
                <c:pt idx="121">
                  <c:v>198.09677419354838</c:v>
                </c:pt>
                <c:pt idx="122">
                  <c:v>198.67741935483872</c:v>
                </c:pt>
                <c:pt idx="123">
                  <c:v>198.45161290322579</c:v>
                </c:pt>
                <c:pt idx="124">
                  <c:v>198</c:v>
                </c:pt>
                <c:pt idx="125">
                  <c:v>198.90322580645162</c:v>
                </c:pt>
                <c:pt idx="126">
                  <c:v>199.12903225806451</c:v>
                </c:pt>
                <c:pt idx="127">
                  <c:v>199.67741935483872</c:v>
                </c:pt>
                <c:pt idx="128">
                  <c:v>199.70967741935485</c:v>
                </c:pt>
                <c:pt idx="129">
                  <c:v>199.7741935483871</c:v>
                </c:pt>
                <c:pt idx="130">
                  <c:v>200.2258064516129</c:v>
                </c:pt>
                <c:pt idx="131">
                  <c:v>200.70967741935485</c:v>
                </c:pt>
                <c:pt idx="132">
                  <c:v>201.35483870967741</c:v>
                </c:pt>
                <c:pt idx="133">
                  <c:v>200.83870967741936</c:v>
                </c:pt>
                <c:pt idx="134">
                  <c:v>201.58064516129033</c:v>
                </c:pt>
                <c:pt idx="135">
                  <c:v>202.29032258064515</c:v>
                </c:pt>
                <c:pt idx="136">
                  <c:v>201.70967741935485</c:v>
                </c:pt>
                <c:pt idx="137">
                  <c:v>201.29032258064515</c:v>
                </c:pt>
                <c:pt idx="138">
                  <c:v>201.12903225806451</c:v>
                </c:pt>
                <c:pt idx="139">
                  <c:v>201.61290322580646</c:v>
                </c:pt>
                <c:pt idx="140">
                  <c:v>201.35483870967741</c:v>
                </c:pt>
                <c:pt idx="141">
                  <c:v>201.51612903225808</c:v>
                </c:pt>
                <c:pt idx="142">
                  <c:v>201.96774193548387</c:v>
                </c:pt>
                <c:pt idx="143">
                  <c:v>202.09677419354838</c:v>
                </c:pt>
                <c:pt idx="144">
                  <c:v>201.67741935483872</c:v>
                </c:pt>
                <c:pt idx="145">
                  <c:v>202.32258064516128</c:v>
                </c:pt>
                <c:pt idx="146">
                  <c:v>202.38709677419354</c:v>
                </c:pt>
                <c:pt idx="147">
                  <c:v>202.7741935483871</c:v>
                </c:pt>
                <c:pt idx="148">
                  <c:v>203.06451612903226</c:v>
                </c:pt>
                <c:pt idx="149">
                  <c:v>202.03225806451613</c:v>
                </c:pt>
                <c:pt idx="150">
                  <c:v>202.93548387096774</c:v>
                </c:pt>
                <c:pt idx="151">
                  <c:v>202.74193548387098</c:v>
                </c:pt>
                <c:pt idx="152">
                  <c:v>203.2258064516129</c:v>
                </c:pt>
                <c:pt idx="153">
                  <c:v>203.25806451612902</c:v>
                </c:pt>
                <c:pt idx="154">
                  <c:v>203.7741935483871</c:v>
                </c:pt>
                <c:pt idx="155">
                  <c:v>203.90322580645162</c:v>
                </c:pt>
                <c:pt idx="156">
                  <c:v>203.48387096774192</c:v>
                </c:pt>
                <c:pt idx="157">
                  <c:v>202.74193548387098</c:v>
                </c:pt>
                <c:pt idx="158">
                  <c:v>202.03225806451613</c:v>
                </c:pt>
                <c:pt idx="159">
                  <c:v>202.32258064516128</c:v>
                </c:pt>
                <c:pt idx="160">
                  <c:v>202.67741935483872</c:v>
                </c:pt>
                <c:pt idx="161">
                  <c:v>202.83870967741936</c:v>
                </c:pt>
                <c:pt idx="162">
                  <c:v>202.16129032258064</c:v>
                </c:pt>
                <c:pt idx="163">
                  <c:v>201.45161290322579</c:v>
                </c:pt>
                <c:pt idx="164">
                  <c:v>201.35483870967741</c:v>
                </c:pt>
                <c:pt idx="165">
                  <c:v>200.32258064516128</c:v>
                </c:pt>
                <c:pt idx="166">
                  <c:v>200.48387096774192</c:v>
                </c:pt>
                <c:pt idx="167">
                  <c:v>201.2258064516129</c:v>
                </c:pt>
                <c:pt idx="168">
                  <c:v>201.06451612903226</c:v>
                </c:pt>
                <c:pt idx="169">
                  <c:v>200</c:v>
                </c:pt>
                <c:pt idx="170">
                  <c:v>199.83870967741936</c:v>
                </c:pt>
                <c:pt idx="171">
                  <c:v>200.83870967741936</c:v>
                </c:pt>
                <c:pt idx="172">
                  <c:v>200</c:v>
                </c:pt>
                <c:pt idx="173">
                  <c:v>199.90322580645162</c:v>
                </c:pt>
                <c:pt idx="174">
                  <c:v>200.64516129032259</c:v>
                </c:pt>
                <c:pt idx="175">
                  <c:v>200.58064516129033</c:v>
                </c:pt>
                <c:pt idx="176">
                  <c:v>199.93548387096774</c:v>
                </c:pt>
                <c:pt idx="177">
                  <c:v>199.67741935483872</c:v>
                </c:pt>
                <c:pt idx="178">
                  <c:v>200.19354838709677</c:v>
                </c:pt>
                <c:pt idx="179">
                  <c:v>199.87096774193549</c:v>
                </c:pt>
                <c:pt idx="180">
                  <c:v>201.09677419354838</c:v>
                </c:pt>
                <c:pt idx="181">
                  <c:v>201.29032258064515</c:v>
                </c:pt>
                <c:pt idx="182">
                  <c:v>200.90322580645162</c:v>
                </c:pt>
                <c:pt idx="183">
                  <c:v>200.12903225806451</c:v>
                </c:pt>
                <c:pt idx="184">
                  <c:v>199.51612903225808</c:v>
                </c:pt>
                <c:pt idx="185">
                  <c:v>200.03225806451613</c:v>
                </c:pt>
                <c:pt idx="186">
                  <c:v>200.12903225806451</c:v>
                </c:pt>
                <c:pt idx="187">
                  <c:v>200.38709677419354</c:v>
                </c:pt>
                <c:pt idx="188">
                  <c:v>201.09677419354838</c:v>
                </c:pt>
                <c:pt idx="189">
                  <c:v>200.67741935483872</c:v>
                </c:pt>
                <c:pt idx="190">
                  <c:v>200.90322580645162</c:v>
                </c:pt>
                <c:pt idx="191">
                  <c:v>201.09677419354838</c:v>
                </c:pt>
                <c:pt idx="192">
                  <c:v>200.03225806451613</c:v>
                </c:pt>
                <c:pt idx="193">
                  <c:v>199.48387096774192</c:v>
                </c:pt>
                <c:pt idx="194">
                  <c:v>200.09677419354838</c:v>
                </c:pt>
                <c:pt idx="195">
                  <c:v>199.64516129032259</c:v>
                </c:pt>
                <c:pt idx="196">
                  <c:v>199.96774193548387</c:v>
                </c:pt>
                <c:pt idx="197">
                  <c:v>199.09677419354838</c:v>
                </c:pt>
                <c:pt idx="198">
                  <c:v>198.93548387096774</c:v>
                </c:pt>
                <c:pt idx="199">
                  <c:v>198.7741935483871</c:v>
                </c:pt>
                <c:pt idx="200">
                  <c:v>199.48387096774192</c:v>
                </c:pt>
                <c:pt idx="201">
                  <c:v>199.70967741935485</c:v>
                </c:pt>
                <c:pt idx="202">
                  <c:v>199.74193548387098</c:v>
                </c:pt>
                <c:pt idx="203">
                  <c:v>199.96774193548387</c:v>
                </c:pt>
                <c:pt idx="204">
                  <c:v>199.80645161290323</c:v>
                </c:pt>
                <c:pt idx="205">
                  <c:v>199.51612903225808</c:v>
                </c:pt>
                <c:pt idx="206">
                  <c:v>200</c:v>
                </c:pt>
                <c:pt idx="207">
                  <c:v>200.38709677419354</c:v>
                </c:pt>
                <c:pt idx="208">
                  <c:v>199.80645161290323</c:v>
                </c:pt>
                <c:pt idx="209">
                  <c:v>199.45161290322579</c:v>
                </c:pt>
                <c:pt idx="210">
                  <c:v>199.06451612903226</c:v>
                </c:pt>
                <c:pt idx="211">
                  <c:v>198.38709677419354</c:v>
                </c:pt>
                <c:pt idx="212">
                  <c:v>198.58064516129033</c:v>
                </c:pt>
                <c:pt idx="213">
                  <c:v>199.70967741935485</c:v>
                </c:pt>
                <c:pt idx="214">
                  <c:v>201.06451612903226</c:v>
                </c:pt>
                <c:pt idx="215">
                  <c:v>202.41935483870967</c:v>
                </c:pt>
                <c:pt idx="216">
                  <c:v>203.03225806451613</c:v>
                </c:pt>
                <c:pt idx="217">
                  <c:v>203.93548387096774</c:v>
                </c:pt>
                <c:pt idx="218">
                  <c:v>204.96774193548387</c:v>
                </c:pt>
                <c:pt idx="219">
                  <c:v>206.03225806451613</c:v>
                </c:pt>
                <c:pt idx="220">
                  <c:v>207.70967741935485</c:v>
                </c:pt>
                <c:pt idx="221">
                  <c:v>208.16129032258064</c:v>
                </c:pt>
                <c:pt idx="222">
                  <c:v>208.64516129032259</c:v>
                </c:pt>
                <c:pt idx="223">
                  <c:v>210.38709677419354</c:v>
                </c:pt>
                <c:pt idx="224">
                  <c:v>211.70967741935485</c:v>
                </c:pt>
                <c:pt idx="225">
                  <c:v>212.35483870967741</c:v>
                </c:pt>
                <c:pt idx="226">
                  <c:v>214.16129032258064</c:v>
                </c:pt>
                <c:pt idx="227">
                  <c:v>215.2258064516129</c:v>
                </c:pt>
                <c:pt idx="228">
                  <c:v>216.93548387096774</c:v>
                </c:pt>
                <c:pt idx="229">
                  <c:v>217.41935483870967</c:v>
                </c:pt>
                <c:pt idx="230">
                  <c:v>219.19354838709677</c:v>
                </c:pt>
                <c:pt idx="231">
                  <c:v>220.2258064516129</c:v>
                </c:pt>
                <c:pt idx="232">
                  <c:v>220.61290322580646</c:v>
                </c:pt>
                <c:pt idx="233">
                  <c:v>220.64516129032259</c:v>
                </c:pt>
                <c:pt idx="234">
                  <c:v>221.90322580645162</c:v>
                </c:pt>
                <c:pt idx="235">
                  <c:v>223.03225806451613</c:v>
                </c:pt>
                <c:pt idx="236">
                  <c:v>223.74193548387098</c:v>
                </c:pt>
                <c:pt idx="237">
                  <c:v>224.38709677419354</c:v>
                </c:pt>
                <c:pt idx="238">
                  <c:v>225.58064516129033</c:v>
                </c:pt>
                <c:pt idx="239">
                  <c:v>226.67741935483872</c:v>
                </c:pt>
                <c:pt idx="240">
                  <c:v>227.29032258064515</c:v>
                </c:pt>
                <c:pt idx="241">
                  <c:v>229.09677419354838</c:v>
                </c:pt>
                <c:pt idx="242">
                  <c:v>230.41935483870967</c:v>
                </c:pt>
                <c:pt idx="243">
                  <c:v>230.74193548387098</c:v>
                </c:pt>
                <c:pt idx="244">
                  <c:v>230.80645161290323</c:v>
                </c:pt>
                <c:pt idx="245">
                  <c:v>230.45161290322579</c:v>
                </c:pt>
                <c:pt idx="246">
                  <c:v>230.45161290322579</c:v>
                </c:pt>
                <c:pt idx="247">
                  <c:v>230.29032258064515</c:v>
                </c:pt>
                <c:pt idx="248">
                  <c:v>230.29032258064515</c:v>
                </c:pt>
                <c:pt idx="249">
                  <c:v>229.96774193548387</c:v>
                </c:pt>
                <c:pt idx="250">
                  <c:v>229.41935483870967</c:v>
                </c:pt>
                <c:pt idx="251">
                  <c:v>229.06451612903226</c:v>
                </c:pt>
                <c:pt idx="252">
                  <c:v>228.70967741935485</c:v>
                </c:pt>
                <c:pt idx="253">
                  <c:v>228.90322580645162</c:v>
                </c:pt>
                <c:pt idx="254">
                  <c:v>228.38709677419354</c:v>
                </c:pt>
                <c:pt idx="255">
                  <c:v>228.80645161290323</c:v>
                </c:pt>
                <c:pt idx="256">
                  <c:v>228.80645161290323</c:v>
                </c:pt>
                <c:pt idx="257">
                  <c:v>227.61290322580646</c:v>
                </c:pt>
                <c:pt idx="258">
                  <c:v>226.83870967741936</c:v>
                </c:pt>
                <c:pt idx="259">
                  <c:v>226</c:v>
                </c:pt>
                <c:pt idx="260">
                  <c:v>225.7741935483871</c:v>
                </c:pt>
                <c:pt idx="261">
                  <c:v>224.32258064516128</c:v>
                </c:pt>
                <c:pt idx="262">
                  <c:v>222.74193548387098</c:v>
                </c:pt>
                <c:pt idx="263">
                  <c:v>222.45161290322579</c:v>
                </c:pt>
                <c:pt idx="264">
                  <c:v>221.80645161290323</c:v>
                </c:pt>
                <c:pt idx="265">
                  <c:v>221.06451612903226</c:v>
                </c:pt>
                <c:pt idx="266">
                  <c:v>221.03225806451613</c:v>
                </c:pt>
                <c:pt idx="267">
                  <c:v>220.70967741935485</c:v>
                </c:pt>
                <c:pt idx="268">
                  <c:v>219.58064516129033</c:v>
                </c:pt>
                <c:pt idx="269">
                  <c:v>218.70967741935485</c:v>
                </c:pt>
                <c:pt idx="270">
                  <c:v>217.83870967741936</c:v>
                </c:pt>
                <c:pt idx="271">
                  <c:v>217.48387096774192</c:v>
                </c:pt>
                <c:pt idx="272">
                  <c:v>215.58064516129033</c:v>
                </c:pt>
                <c:pt idx="273">
                  <c:v>215</c:v>
                </c:pt>
                <c:pt idx="274">
                  <c:v>214.38709677419354</c:v>
                </c:pt>
                <c:pt idx="275">
                  <c:v>213.67741935483872</c:v>
                </c:pt>
                <c:pt idx="276">
                  <c:v>213.35483870967741</c:v>
                </c:pt>
                <c:pt idx="277">
                  <c:v>213.19354838709677</c:v>
                </c:pt>
                <c:pt idx="278">
                  <c:v>211.61290322580646</c:v>
                </c:pt>
                <c:pt idx="279">
                  <c:v>210.51612903225808</c:v>
                </c:pt>
                <c:pt idx="280">
                  <c:v>210.12903225806451</c:v>
                </c:pt>
                <c:pt idx="281">
                  <c:v>208.74193548387098</c:v>
                </c:pt>
                <c:pt idx="282">
                  <c:v>207.48387096774192</c:v>
                </c:pt>
                <c:pt idx="283">
                  <c:v>207.2258064516129</c:v>
                </c:pt>
                <c:pt idx="284">
                  <c:v>206.58064516129033</c:v>
                </c:pt>
                <c:pt idx="285">
                  <c:v>206.38709677419354</c:v>
                </c:pt>
                <c:pt idx="286">
                  <c:v>205</c:v>
                </c:pt>
                <c:pt idx="287">
                  <c:v>204.48387096774192</c:v>
                </c:pt>
                <c:pt idx="288">
                  <c:v>204.25806451612902</c:v>
                </c:pt>
                <c:pt idx="289">
                  <c:v>204.90322580645162</c:v>
                </c:pt>
                <c:pt idx="290">
                  <c:v>205</c:v>
                </c:pt>
                <c:pt idx="291">
                  <c:v>203.93548387096774</c:v>
                </c:pt>
                <c:pt idx="292">
                  <c:v>204</c:v>
                </c:pt>
                <c:pt idx="293">
                  <c:v>204.38709677419354</c:v>
                </c:pt>
                <c:pt idx="294">
                  <c:v>204.29032258064515</c:v>
                </c:pt>
                <c:pt idx="295">
                  <c:v>203.70967741935485</c:v>
                </c:pt>
                <c:pt idx="296">
                  <c:v>202.87096774193549</c:v>
                </c:pt>
                <c:pt idx="297">
                  <c:v>201.90322580645162</c:v>
                </c:pt>
                <c:pt idx="298">
                  <c:v>201.32258064516128</c:v>
                </c:pt>
                <c:pt idx="299">
                  <c:v>201.51612903225808</c:v>
                </c:pt>
                <c:pt idx="300">
                  <c:v>201.7741935483871</c:v>
                </c:pt>
                <c:pt idx="301">
                  <c:v>201.19354838709677</c:v>
                </c:pt>
                <c:pt idx="302">
                  <c:v>200.74193548387098</c:v>
                </c:pt>
                <c:pt idx="303">
                  <c:v>200.83870967741936</c:v>
                </c:pt>
                <c:pt idx="304">
                  <c:v>199.7741935483871</c:v>
                </c:pt>
                <c:pt idx="305">
                  <c:v>198.7741935483871</c:v>
                </c:pt>
                <c:pt idx="306">
                  <c:v>198.32258064516128</c:v>
                </c:pt>
                <c:pt idx="307">
                  <c:v>197.48387096774192</c:v>
                </c:pt>
                <c:pt idx="308">
                  <c:v>197.12903225806451</c:v>
                </c:pt>
                <c:pt idx="309">
                  <c:v>197.16129032258064</c:v>
                </c:pt>
                <c:pt idx="310">
                  <c:v>196.7741935483871</c:v>
                </c:pt>
                <c:pt idx="311">
                  <c:v>195.58064516129033</c:v>
                </c:pt>
                <c:pt idx="312">
                  <c:v>195.96774193548387</c:v>
                </c:pt>
                <c:pt idx="313">
                  <c:v>196.06451612903226</c:v>
                </c:pt>
                <c:pt idx="314">
                  <c:v>195.06451612903226</c:v>
                </c:pt>
                <c:pt idx="315">
                  <c:v>195.2258064516129</c:v>
                </c:pt>
                <c:pt idx="316">
                  <c:v>194.35483870967741</c:v>
                </c:pt>
                <c:pt idx="317">
                  <c:v>194.64516129032259</c:v>
                </c:pt>
                <c:pt idx="318">
                  <c:v>193.64516129032259</c:v>
                </c:pt>
                <c:pt idx="319">
                  <c:v>194.51612903225808</c:v>
                </c:pt>
                <c:pt idx="320">
                  <c:v>193.83870967741936</c:v>
                </c:pt>
                <c:pt idx="321">
                  <c:v>193.19354838709677</c:v>
                </c:pt>
                <c:pt idx="322">
                  <c:v>194.03225806451613</c:v>
                </c:pt>
                <c:pt idx="323">
                  <c:v>194.45161290322579</c:v>
                </c:pt>
                <c:pt idx="324">
                  <c:v>195.09677419354838</c:v>
                </c:pt>
                <c:pt idx="325">
                  <c:v>194.48387096774192</c:v>
                </c:pt>
                <c:pt idx="326">
                  <c:v>195.67741935483872</c:v>
                </c:pt>
                <c:pt idx="327">
                  <c:v>196.67741935483872</c:v>
                </c:pt>
                <c:pt idx="328">
                  <c:v>197.58064516129033</c:v>
                </c:pt>
                <c:pt idx="329">
                  <c:v>198.16129032258064</c:v>
                </c:pt>
                <c:pt idx="330">
                  <c:v>197.70967741935485</c:v>
                </c:pt>
                <c:pt idx="331">
                  <c:v>197.51612903225808</c:v>
                </c:pt>
                <c:pt idx="332">
                  <c:v>197.93548387096774</c:v>
                </c:pt>
                <c:pt idx="333">
                  <c:v>197.80645161290323</c:v>
                </c:pt>
                <c:pt idx="334">
                  <c:v>197.96774193548387</c:v>
                </c:pt>
                <c:pt idx="335">
                  <c:v>197.90322580645162</c:v>
                </c:pt>
                <c:pt idx="336">
                  <c:v>198.90322580645162</c:v>
                </c:pt>
                <c:pt idx="337">
                  <c:v>198.74193548387098</c:v>
                </c:pt>
                <c:pt idx="338">
                  <c:v>199.29032258064515</c:v>
                </c:pt>
                <c:pt idx="339">
                  <c:v>199.35483870967741</c:v>
                </c:pt>
                <c:pt idx="340">
                  <c:v>200.16129032258064</c:v>
                </c:pt>
                <c:pt idx="341">
                  <c:v>200.32258064516128</c:v>
                </c:pt>
                <c:pt idx="342">
                  <c:v>201.48387096774192</c:v>
                </c:pt>
                <c:pt idx="343">
                  <c:v>201.19354838709677</c:v>
                </c:pt>
                <c:pt idx="344">
                  <c:v>201.70967741935485</c:v>
                </c:pt>
                <c:pt idx="345">
                  <c:v>201.70967741935485</c:v>
                </c:pt>
                <c:pt idx="346">
                  <c:v>201.29032258064515</c:v>
                </c:pt>
                <c:pt idx="347">
                  <c:v>201</c:v>
                </c:pt>
                <c:pt idx="348">
                  <c:v>200.32258064516128</c:v>
                </c:pt>
                <c:pt idx="349">
                  <c:v>200.41935483870967</c:v>
                </c:pt>
                <c:pt idx="350">
                  <c:v>200.25806451612902</c:v>
                </c:pt>
                <c:pt idx="351">
                  <c:v>200.38709677419354</c:v>
                </c:pt>
                <c:pt idx="352">
                  <c:v>200.19354838709677</c:v>
                </c:pt>
                <c:pt idx="353">
                  <c:v>199.74193548387098</c:v>
                </c:pt>
                <c:pt idx="354">
                  <c:v>199.06451612903226</c:v>
                </c:pt>
                <c:pt idx="355">
                  <c:v>198.93548387096774</c:v>
                </c:pt>
                <c:pt idx="356">
                  <c:v>199.70967741935485</c:v>
                </c:pt>
                <c:pt idx="357">
                  <c:v>198.83870967741936</c:v>
                </c:pt>
                <c:pt idx="358">
                  <c:v>197.90322580645162</c:v>
                </c:pt>
                <c:pt idx="359">
                  <c:v>197.90322580645162</c:v>
                </c:pt>
                <c:pt idx="360">
                  <c:v>197.38709677419354</c:v>
                </c:pt>
                <c:pt idx="361">
                  <c:v>198.12903225806451</c:v>
                </c:pt>
                <c:pt idx="362">
                  <c:v>197.45161290322579</c:v>
                </c:pt>
                <c:pt idx="363">
                  <c:v>197.70967741935485</c:v>
                </c:pt>
                <c:pt idx="364">
                  <c:v>197.41935483870967</c:v>
                </c:pt>
                <c:pt idx="365">
                  <c:v>197.70967741935485</c:v>
                </c:pt>
                <c:pt idx="366">
                  <c:v>197.61290322580646</c:v>
                </c:pt>
                <c:pt idx="367">
                  <c:v>197.74193548387098</c:v>
                </c:pt>
                <c:pt idx="368">
                  <c:v>198.48387096774192</c:v>
                </c:pt>
                <c:pt idx="369">
                  <c:v>199.06451612903226</c:v>
                </c:pt>
                <c:pt idx="370">
                  <c:v>198.7741935483871</c:v>
                </c:pt>
                <c:pt idx="371">
                  <c:v>198.35483870967741</c:v>
                </c:pt>
                <c:pt idx="372">
                  <c:v>199.03225806451613</c:v>
                </c:pt>
                <c:pt idx="373">
                  <c:v>197.83870967741936</c:v>
                </c:pt>
                <c:pt idx="374">
                  <c:v>198.96774193548387</c:v>
                </c:pt>
                <c:pt idx="375">
                  <c:v>199.38709677419354</c:v>
                </c:pt>
                <c:pt idx="376">
                  <c:v>199.80645161290323</c:v>
                </c:pt>
                <c:pt idx="377">
                  <c:v>200.06451612903226</c:v>
                </c:pt>
                <c:pt idx="378">
                  <c:v>200.61290322580646</c:v>
                </c:pt>
                <c:pt idx="379">
                  <c:v>201.03225806451613</c:v>
                </c:pt>
                <c:pt idx="380">
                  <c:v>201.67741935483872</c:v>
                </c:pt>
                <c:pt idx="381">
                  <c:v>201.29032258064515</c:v>
                </c:pt>
                <c:pt idx="382">
                  <c:v>201.87096774193549</c:v>
                </c:pt>
                <c:pt idx="383">
                  <c:v>202</c:v>
                </c:pt>
                <c:pt idx="384">
                  <c:v>202.67741935483872</c:v>
                </c:pt>
                <c:pt idx="385">
                  <c:v>203.70967741935485</c:v>
                </c:pt>
                <c:pt idx="386">
                  <c:v>203.67741935483872</c:v>
                </c:pt>
                <c:pt idx="387">
                  <c:v>203.41935483870967</c:v>
                </c:pt>
                <c:pt idx="388">
                  <c:v>204.03225806451613</c:v>
                </c:pt>
                <c:pt idx="389">
                  <c:v>204.48387096774192</c:v>
                </c:pt>
                <c:pt idx="390">
                  <c:v>203.67741935483872</c:v>
                </c:pt>
                <c:pt idx="391">
                  <c:v>204.38709677419354</c:v>
                </c:pt>
                <c:pt idx="392">
                  <c:v>203.38709677419354</c:v>
                </c:pt>
                <c:pt idx="393">
                  <c:v>203.45161290322579</c:v>
                </c:pt>
                <c:pt idx="394">
                  <c:v>203.2258064516129</c:v>
                </c:pt>
                <c:pt idx="395">
                  <c:v>203.7741935483871</c:v>
                </c:pt>
                <c:pt idx="396">
                  <c:v>204.38709677419354</c:v>
                </c:pt>
                <c:pt idx="397">
                  <c:v>205.48387096774192</c:v>
                </c:pt>
                <c:pt idx="398">
                  <c:v>205.12903225806451</c:v>
                </c:pt>
                <c:pt idx="399">
                  <c:v>204.29032258064515</c:v>
                </c:pt>
                <c:pt idx="400">
                  <c:v>203.74193548387098</c:v>
                </c:pt>
                <c:pt idx="401">
                  <c:v>203.51612903225808</c:v>
                </c:pt>
                <c:pt idx="402">
                  <c:v>203.70967741935485</c:v>
                </c:pt>
                <c:pt idx="403">
                  <c:v>202.70967741935485</c:v>
                </c:pt>
                <c:pt idx="404">
                  <c:v>203.32258064516128</c:v>
                </c:pt>
                <c:pt idx="405">
                  <c:v>203.38709677419354</c:v>
                </c:pt>
                <c:pt idx="406">
                  <c:v>203.29032258064515</c:v>
                </c:pt>
                <c:pt idx="407">
                  <c:v>203.35483870967741</c:v>
                </c:pt>
                <c:pt idx="408">
                  <c:v>203.41935483870967</c:v>
                </c:pt>
                <c:pt idx="409">
                  <c:v>203.51612903225808</c:v>
                </c:pt>
                <c:pt idx="410">
                  <c:v>203.61290322580646</c:v>
                </c:pt>
                <c:pt idx="411">
                  <c:v>203.48387096774192</c:v>
                </c:pt>
                <c:pt idx="412">
                  <c:v>203.96774193548387</c:v>
                </c:pt>
                <c:pt idx="413">
                  <c:v>202.96774193548387</c:v>
                </c:pt>
                <c:pt idx="414">
                  <c:v>204</c:v>
                </c:pt>
                <c:pt idx="415">
                  <c:v>203.38709677419354</c:v>
                </c:pt>
                <c:pt idx="416">
                  <c:v>202.74193548387098</c:v>
                </c:pt>
                <c:pt idx="417">
                  <c:v>201.74193548387098</c:v>
                </c:pt>
                <c:pt idx="418">
                  <c:v>201.51612903225808</c:v>
                </c:pt>
                <c:pt idx="419">
                  <c:v>201.58064516129033</c:v>
                </c:pt>
                <c:pt idx="420">
                  <c:v>201.41935483870967</c:v>
                </c:pt>
                <c:pt idx="421">
                  <c:v>202.06451612903226</c:v>
                </c:pt>
                <c:pt idx="422">
                  <c:v>201.09677419354838</c:v>
                </c:pt>
                <c:pt idx="423">
                  <c:v>201</c:v>
                </c:pt>
                <c:pt idx="424">
                  <c:v>201.06451612903226</c:v>
                </c:pt>
                <c:pt idx="425">
                  <c:v>200.93548387096774</c:v>
                </c:pt>
                <c:pt idx="426">
                  <c:v>201.03225806451613</c:v>
                </c:pt>
                <c:pt idx="427">
                  <c:v>200.58064516129033</c:v>
                </c:pt>
                <c:pt idx="428">
                  <c:v>199.90322580645162</c:v>
                </c:pt>
                <c:pt idx="429">
                  <c:v>199.74193548387098</c:v>
                </c:pt>
                <c:pt idx="430">
                  <c:v>200.80645161290323</c:v>
                </c:pt>
                <c:pt idx="431">
                  <c:v>200.16129032258064</c:v>
                </c:pt>
                <c:pt idx="432">
                  <c:v>200.87096774193549</c:v>
                </c:pt>
                <c:pt idx="433">
                  <c:v>200.93548387096774</c:v>
                </c:pt>
                <c:pt idx="434">
                  <c:v>201.58064516129033</c:v>
                </c:pt>
                <c:pt idx="435">
                  <c:v>201.41935483870967</c:v>
                </c:pt>
                <c:pt idx="436">
                  <c:v>200.16129032258064</c:v>
                </c:pt>
                <c:pt idx="437">
                  <c:v>200.06451612903226</c:v>
                </c:pt>
                <c:pt idx="438">
                  <c:v>199.61290322580646</c:v>
                </c:pt>
                <c:pt idx="439">
                  <c:v>199.61290322580646</c:v>
                </c:pt>
                <c:pt idx="440">
                  <c:v>199.83870967741936</c:v>
                </c:pt>
                <c:pt idx="441">
                  <c:v>199.83870967741936</c:v>
                </c:pt>
                <c:pt idx="442">
                  <c:v>199.32258064516128</c:v>
                </c:pt>
                <c:pt idx="443">
                  <c:v>198.54838709677421</c:v>
                </c:pt>
                <c:pt idx="444">
                  <c:v>198.87096774193549</c:v>
                </c:pt>
                <c:pt idx="445">
                  <c:v>197.90322580645162</c:v>
                </c:pt>
                <c:pt idx="446">
                  <c:v>198.41935483870967</c:v>
                </c:pt>
                <c:pt idx="447">
                  <c:v>198.90322580645162</c:v>
                </c:pt>
                <c:pt idx="448">
                  <c:v>199.90322580645162</c:v>
                </c:pt>
                <c:pt idx="449">
                  <c:v>200</c:v>
                </c:pt>
                <c:pt idx="450">
                  <c:v>200.12903225806451</c:v>
                </c:pt>
                <c:pt idx="451">
                  <c:v>200.54838709677421</c:v>
                </c:pt>
                <c:pt idx="452">
                  <c:v>200.35483870967741</c:v>
                </c:pt>
                <c:pt idx="453">
                  <c:v>200.2258064516129</c:v>
                </c:pt>
                <c:pt idx="454">
                  <c:v>201.38709677419354</c:v>
                </c:pt>
                <c:pt idx="455">
                  <c:v>201.2258064516129</c:v>
                </c:pt>
                <c:pt idx="456">
                  <c:v>202.09677419354838</c:v>
                </c:pt>
                <c:pt idx="457">
                  <c:v>201.90322580645162</c:v>
                </c:pt>
                <c:pt idx="458">
                  <c:v>201.25806451612902</c:v>
                </c:pt>
                <c:pt idx="459">
                  <c:v>201.41935483870967</c:v>
                </c:pt>
                <c:pt idx="460">
                  <c:v>202.03225806451613</c:v>
                </c:pt>
                <c:pt idx="461">
                  <c:v>201.54838709677421</c:v>
                </c:pt>
                <c:pt idx="462">
                  <c:v>201.51612903225808</c:v>
                </c:pt>
                <c:pt idx="463">
                  <c:v>201.58064516129033</c:v>
                </c:pt>
                <c:pt idx="464">
                  <c:v>201.61290322580646</c:v>
                </c:pt>
                <c:pt idx="465">
                  <c:v>201.16129032258064</c:v>
                </c:pt>
                <c:pt idx="466">
                  <c:v>201.16129032258064</c:v>
                </c:pt>
                <c:pt idx="467">
                  <c:v>201.58064516129033</c:v>
                </c:pt>
                <c:pt idx="468">
                  <c:v>200.87096774193549</c:v>
                </c:pt>
                <c:pt idx="469">
                  <c:v>200.80645161290323</c:v>
                </c:pt>
                <c:pt idx="470">
                  <c:v>200.74193548387098</c:v>
                </c:pt>
                <c:pt idx="471">
                  <c:v>200.32258064516128</c:v>
                </c:pt>
                <c:pt idx="472">
                  <c:v>201.09677419354838</c:v>
                </c:pt>
                <c:pt idx="473">
                  <c:v>201.90322580645162</c:v>
                </c:pt>
                <c:pt idx="474">
                  <c:v>201.93548387096774</c:v>
                </c:pt>
                <c:pt idx="475">
                  <c:v>201.54838709677421</c:v>
                </c:pt>
                <c:pt idx="476">
                  <c:v>201.32258064516128</c:v>
                </c:pt>
                <c:pt idx="477">
                  <c:v>200.74193548387098</c:v>
                </c:pt>
                <c:pt idx="478">
                  <c:v>200.41935483870967</c:v>
                </c:pt>
                <c:pt idx="479">
                  <c:v>200.51612903225808</c:v>
                </c:pt>
                <c:pt idx="480">
                  <c:v>200.03225806451613</c:v>
                </c:pt>
                <c:pt idx="481">
                  <c:v>199.48387096774192</c:v>
                </c:pt>
                <c:pt idx="482">
                  <c:v>199.80645161290323</c:v>
                </c:pt>
                <c:pt idx="483">
                  <c:v>199.45161290322579</c:v>
                </c:pt>
                <c:pt idx="484">
                  <c:v>199.35483870967741</c:v>
                </c:pt>
                <c:pt idx="485">
                  <c:v>199.06451612903226</c:v>
                </c:pt>
                <c:pt idx="486">
                  <c:v>200.03225806451613</c:v>
                </c:pt>
                <c:pt idx="487">
                  <c:v>198.90322580645162</c:v>
                </c:pt>
                <c:pt idx="488">
                  <c:v>199.48387096774192</c:v>
                </c:pt>
                <c:pt idx="489">
                  <c:v>200.54838709677421</c:v>
                </c:pt>
                <c:pt idx="490">
                  <c:v>200.51612903225808</c:v>
                </c:pt>
                <c:pt idx="491">
                  <c:v>199.70967741935485</c:v>
                </c:pt>
                <c:pt idx="492">
                  <c:v>200.32258064516128</c:v>
                </c:pt>
                <c:pt idx="493">
                  <c:v>200.93548387096774</c:v>
                </c:pt>
                <c:pt idx="494">
                  <c:v>201.03225806451613</c:v>
                </c:pt>
                <c:pt idx="495">
                  <c:v>200.45161290322579</c:v>
                </c:pt>
                <c:pt idx="496">
                  <c:v>200.90322580645162</c:v>
                </c:pt>
                <c:pt idx="497">
                  <c:v>201.19354838709677</c:v>
                </c:pt>
                <c:pt idx="498">
                  <c:v>201.58064516129033</c:v>
                </c:pt>
                <c:pt idx="499">
                  <c:v>201.7741935483871</c:v>
                </c:pt>
                <c:pt idx="500">
                  <c:v>202.06451612903226</c:v>
                </c:pt>
                <c:pt idx="501">
                  <c:v>202.29032258064515</c:v>
                </c:pt>
                <c:pt idx="502">
                  <c:v>202.09677419354838</c:v>
                </c:pt>
                <c:pt idx="503">
                  <c:v>201.16129032258064</c:v>
                </c:pt>
                <c:pt idx="504">
                  <c:v>201.03225806451613</c:v>
                </c:pt>
                <c:pt idx="505">
                  <c:v>201.12903225806451</c:v>
                </c:pt>
                <c:pt idx="506">
                  <c:v>201.38709677419354</c:v>
                </c:pt>
                <c:pt idx="507">
                  <c:v>201.90322580645162</c:v>
                </c:pt>
                <c:pt idx="508">
                  <c:v>201.54838709677421</c:v>
                </c:pt>
                <c:pt idx="509">
                  <c:v>202.12903225806451</c:v>
                </c:pt>
                <c:pt idx="510">
                  <c:v>202.2258064516129</c:v>
                </c:pt>
                <c:pt idx="511">
                  <c:v>202.64516129032259</c:v>
                </c:pt>
                <c:pt idx="512">
                  <c:v>202.51612903225808</c:v>
                </c:pt>
                <c:pt idx="513">
                  <c:v>202.35483870967741</c:v>
                </c:pt>
                <c:pt idx="514">
                  <c:v>202.87096774193549</c:v>
                </c:pt>
                <c:pt idx="515">
                  <c:v>203.70967741935485</c:v>
                </c:pt>
                <c:pt idx="516">
                  <c:v>202.74193548387098</c:v>
                </c:pt>
                <c:pt idx="517">
                  <c:v>201.74193548387098</c:v>
                </c:pt>
                <c:pt idx="518">
                  <c:v>202.19354838709677</c:v>
                </c:pt>
                <c:pt idx="519">
                  <c:v>201.25806451612902</c:v>
                </c:pt>
                <c:pt idx="520">
                  <c:v>200.41935483870967</c:v>
                </c:pt>
                <c:pt idx="521">
                  <c:v>199.93548387096774</c:v>
                </c:pt>
                <c:pt idx="522">
                  <c:v>200.25806451612902</c:v>
                </c:pt>
                <c:pt idx="523">
                  <c:v>200.2258064516129</c:v>
                </c:pt>
                <c:pt idx="524">
                  <c:v>200.61290322580646</c:v>
                </c:pt>
                <c:pt idx="525">
                  <c:v>200.41935483870967</c:v>
                </c:pt>
                <c:pt idx="526">
                  <c:v>200.83870967741936</c:v>
                </c:pt>
                <c:pt idx="527">
                  <c:v>200.38709677419354</c:v>
                </c:pt>
                <c:pt idx="528">
                  <c:v>200.45161290322579</c:v>
                </c:pt>
                <c:pt idx="529">
                  <c:v>199.90322580645162</c:v>
                </c:pt>
                <c:pt idx="530">
                  <c:v>200.29032258064515</c:v>
                </c:pt>
                <c:pt idx="531">
                  <c:v>201.16129032258064</c:v>
                </c:pt>
                <c:pt idx="532">
                  <c:v>200.48387096774192</c:v>
                </c:pt>
                <c:pt idx="533">
                  <c:v>200.35483870967741</c:v>
                </c:pt>
                <c:pt idx="534">
                  <c:v>200.93548387096774</c:v>
                </c:pt>
                <c:pt idx="535">
                  <c:v>200.74193548387098</c:v>
                </c:pt>
                <c:pt idx="536">
                  <c:v>200.96774193548387</c:v>
                </c:pt>
                <c:pt idx="537">
                  <c:v>201.06451612903226</c:v>
                </c:pt>
                <c:pt idx="538">
                  <c:v>201.35483870967741</c:v>
                </c:pt>
                <c:pt idx="539">
                  <c:v>201.35483870967741</c:v>
                </c:pt>
                <c:pt idx="540">
                  <c:v>200.41935483870967</c:v>
                </c:pt>
                <c:pt idx="541">
                  <c:v>199.93548387096774</c:v>
                </c:pt>
                <c:pt idx="542">
                  <c:v>200.38709677419354</c:v>
                </c:pt>
                <c:pt idx="543">
                  <c:v>200.74193548387098</c:v>
                </c:pt>
                <c:pt idx="544">
                  <c:v>199.64516129032259</c:v>
                </c:pt>
                <c:pt idx="545">
                  <c:v>199.32258064516128</c:v>
                </c:pt>
                <c:pt idx="546">
                  <c:v>199.09677419354838</c:v>
                </c:pt>
                <c:pt idx="547">
                  <c:v>199.29032258064515</c:v>
                </c:pt>
                <c:pt idx="548">
                  <c:v>200.06451612903226</c:v>
                </c:pt>
                <c:pt idx="549">
                  <c:v>200.58064516129033</c:v>
                </c:pt>
                <c:pt idx="550">
                  <c:v>201.06451612903226</c:v>
                </c:pt>
                <c:pt idx="551">
                  <c:v>201.64516129032259</c:v>
                </c:pt>
                <c:pt idx="552">
                  <c:v>202.45161290322579</c:v>
                </c:pt>
                <c:pt idx="553">
                  <c:v>202.35483870967741</c:v>
                </c:pt>
                <c:pt idx="554">
                  <c:v>202.06451612903226</c:v>
                </c:pt>
                <c:pt idx="555">
                  <c:v>201.61290322580646</c:v>
                </c:pt>
                <c:pt idx="556">
                  <c:v>200.83870967741936</c:v>
                </c:pt>
                <c:pt idx="557">
                  <c:v>200.38709677419354</c:v>
                </c:pt>
                <c:pt idx="558">
                  <c:v>200.06451612903226</c:v>
                </c:pt>
                <c:pt idx="559">
                  <c:v>199.7741935483871</c:v>
                </c:pt>
                <c:pt idx="560">
                  <c:v>200.58064516129033</c:v>
                </c:pt>
                <c:pt idx="561">
                  <c:v>200.45161290322579</c:v>
                </c:pt>
                <c:pt idx="562">
                  <c:v>199.38709677419354</c:v>
                </c:pt>
                <c:pt idx="563">
                  <c:v>199</c:v>
                </c:pt>
                <c:pt idx="564">
                  <c:v>199.35483870967741</c:v>
                </c:pt>
                <c:pt idx="565">
                  <c:v>199.03225806451613</c:v>
                </c:pt>
                <c:pt idx="566">
                  <c:v>198.67741935483872</c:v>
                </c:pt>
                <c:pt idx="567">
                  <c:v>198.25806451612902</c:v>
                </c:pt>
                <c:pt idx="568">
                  <c:v>197.83870967741936</c:v>
                </c:pt>
                <c:pt idx="569">
                  <c:v>197.25806451612902</c:v>
                </c:pt>
                <c:pt idx="570">
                  <c:v>197.74193548387098</c:v>
                </c:pt>
                <c:pt idx="571">
                  <c:v>197.90322580645162</c:v>
                </c:pt>
                <c:pt idx="572">
                  <c:v>197.93548387096774</c:v>
                </c:pt>
                <c:pt idx="573">
                  <c:v>197.12903225806451</c:v>
                </c:pt>
                <c:pt idx="574">
                  <c:v>197.41935483870967</c:v>
                </c:pt>
                <c:pt idx="575">
                  <c:v>197.38709677419354</c:v>
                </c:pt>
                <c:pt idx="576">
                  <c:v>197.51612903225808</c:v>
                </c:pt>
                <c:pt idx="577">
                  <c:v>197.25806451612902</c:v>
                </c:pt>
                <c:pt idx="578">
                  <c:v>198.2258064516129</c:v>
                </c:pt>
                <c:pt idx="579">
                  <c:v>198.29032258064515</c:v>
                </c:pt>
                <c:pt idx="580">
                  <c:v>198.38709677419354</c:v>
                </c:pt>
                <c:pt idx="581">
                  <c:v>197.96774193548387</c:v>
                </c:pt>
                <c:pt idx="582">
                  <c:v>197.19354838709677</c:v>
                </c:pt>
                <c:pt idx="583">
                  <c:v>196.54838709677421</c:v>
                </c:pt>
                <c:pt idx="584">
                  <c:v>196.83870967741936</c:v>
                </c:pt>
                <c:pt idx="585">
                  <c:v>196.58064516129033</c:v>
                </c:pt>
                <c:pt idx="586">
                  <c:v>195.96774193548387</c:v>
                </c:pt>
                <c:pt idx="587">
                  <c:v>196.87096774193549</c:v>
                </c:pt>
                <c:pt idx="588">
                  <c:v>197.32258064516128</c:v>
                </c:pt>
                <c:pt idx="589">
                  <c:v>198.12903225806451</c:v>
                </c:pt>
                <c:pt idx="590">
                  <c:v>198.90322580645162</c:v>
                </c:pt>
                <c:pt idx="591">
                  <c:v>197.80645161290323</c:v>
                </c:pt>
                <c:pt idx="592">
                  <c:v>197.90322580645162</c:v>
                </c:pt>
                <c:pt idx="593">
                  <c:v>198.7741935483871</c:v>
                </c:pt>
                <c:pt idx="594">
                  <c:v>198.7741935483871</c:v>
                </c:pt>
                <c:pt idx="595">
                  <c:v>199.2258064516129</c:v>
                </c:pt>
                <c:pt idx="596">
                  <c:v>199.54838709677421</c:v>
                </c:pt>
                <c:pt idx="597">
                  <c:v>199.74193548387098</c:v>
                </c:pt>
                <c:pt idx="598">
                  <c:v>199.38709677419354</c:v>
                </c:pt>
                <c:pt idx="599">
                  <c:v>200.51612903225808</c:v>
                </c:pt>
                <c:pt idx="600">
                  <c:v>200.38709677419354</c:v>
                </c:pt>
                <c:pt idx="601">
                  <c:v>200.83870967741936</c:v>
                </c:pt>
                <c:pt idx="602">
                  <c:v>202.03225806451613</c:v>
                </c:pt>
                <c:pt idx="603">
                  <c:v>202.64516129032259</c:v>
                </c:pt>
                <c:pt idx="604">
                  <c:v>203.87096774193549</c:v>
                </c:pt>
                <c:pt idx="605">
                  <c:v>204.09677419354838</c:v>
                </c:pt>
                <c:pt idx="606">
                  <c:v>205.90322580645162</c:v>
                </c:pt>
                <c:pt idx="607">
                  <c:v>206.35483870967741</c:v>
                </c:pt>
                <c:pt idx="608">
                  <c:v>207.80645161290323</c:v>
                </c:pt>
                <c:pt idx="609">
                  <c:v>208.35483870967741</c:v>
                </c:pt>
                <c:pt idx="610">
                  <c:v>208.90322580645162</c:v>
                </c:pt>
                <c:pt idx="611">
                  <c:v>209.45161290322579</c:v>
                </c:pt>
                <c:pt idx="612">
                  <c:v>210.96774193548387</c:v>
                </c:pt>
                <c:pt idx="613">
                  <c:v>212.54838709677421</c:v>
                </c:pt>
                <c:pt idx="614">
                  <c:v>213.90322580645162</c:v>
                </c:pt>
                <c:pt idx="615">
                  <c:v>214.41935483870967</c:v>
                </c:pt>
                <c:pt idx="616">
                  <c:v>215.38709677419354</c:v>
                </c:pt>
                <c:pt idx="617">
                  <c:v>216.83870967741936</c:v>
                </c:pt>
                <c:pt idx="618">
                  <c:v>217.35483870967741</c:v>
                </c:pt>
                <c:pt idx="619">
                  <c:v>218.64516129032259</c:v>
                </c:pt>
                <c:pt idx="620">
                  <c:v>219.06451612903226</c:v>
                </c:pt>
                <c:pt idx="621">
                  <c:v>219.38709677419354</c:v>
                </c:pt>
                <c:pt idx="622">
                  <c:v>220.93548387096774</c:v>
                </c:pt>
                <c:pt idx="623">
                  <c:v>221.83870967741936</c:v>
                </c:pt>
                <c:pt idx="624">
                  <c:v>222.54838709677421</c:v>
                </c:pt>
                <c:pt idx="625">
                  <c:v>224.12903225806451</c:v>
                </c:pt>
                <c:pt idx="626">
                  <c:v>224.80645161290323</c:v>
                </c:pt>
                <c:pt idx="627">
                  <c:v>225.74193548387098</c:v>
                </c:pt>
                <c:pt idx="628">
                  <c:v>226.45161290322579</c:v>
                </c:pt>
                <c:pt idx="629">
                  <c:v>228.16129032258064</c:v>
                </c:pt>
                <c:pt idx="630">
                  <c:v>228.61290322580646</c:v>
                </c:pt>
                <c:pt idx="631">
                  <c:v>230</c:v>
                </c:pt>
                <c:pt idx="632">
                  <c:v>230.25806451612902</c:v>
                </c:pt>
                <c:pt idx="633">
                  <c:v>230.19354838709677</c:v>
                </c:pt>
                <c:pt idx="634">
                  <c:v>230.48387096774192</c:v>
                </c:pt>
                <c:pt idx="635">
                  <c:v>230.19354838709677</c:v>
                </c:pt>
                <c:pt idx="636">
                  <c:v>230.35483870967741</c:v>
                </c:pt>
                <c:pt idx="637">
                  <c:v>229.87096774193549</c:v>
                </c:pt>
                <c:pt idx="638">
                  <c:v>229.87096774193549</c:v>
                </c:pt>
                <c:pt idx="639">
                  <c:v>229.35483870967741</c:v>
                </c:pt>
                <c:pt idx="640">
                  <c:v>229.03225806451613</c:v>
                </c:pt>
                <c:pt idx="641">
                  <c:v>229.32258064516128</c:v>
                </c:pt>
                <c:pt idx="642">
                  <c:v>229.51612903225808</c:v>
                </c:pt>
                <c:pt idx="643">
                  <c:v>229.32258064516128</c:v>
                </c:pt>
                <c:pt idx="644">
                  <c:v>229.16129032258064</c:v>
                </c:pt>
                <c:pt idx="645">
                  <c:v>228.87096774193549</c:v>
                </c:pt>
                <c:pt idx="646">
                  <c:v>228.16129032258064</c:v>
                </c:pt>
                <c:pt idx="647">
                  <c:v>226.93548387096774</c:v>
                </c:pt>
                <c:pt idx="648">
                  <c:v>226.03225806451613</c:v>
                </c:pt>
                <c:pt idx="649">
                  <c:v>224.70967741935485</c:v>
                </c:pt>
                <c:pt idx="650">
                  <c:v>223.06451612903226</c:v>
                </c:pt>
                <c:pt idx="651">
                  <c:v>221.83870967741936</c:v>
                </c:pt>
                <c:pt idx="652">
                  <c:v>220.90322580645162</c:v>
                </c:pt>
                <c:pt idx="653">
                  <c:v>219.35483870967741</c:v>
                </c:pt>
                <c:pt idx="654">
                  <c:v>218.03225806451613</c:v>
                </c:pt>
                <c:pt idx="655">
                  <c:v>217.38709677419354</c:v>
                </c:pt>
                <c:pt idx="656">
                  <c:v>215.90322580645162</c:v>
                </c:pt>
                <c:pt idx="657">
                  <c:v>214.38709677419354</c:v>
                </c:pt>
                <c:pt idx="658">
                  <c:v>213.48387096774192</c:v>
                </c:pt>
                <c:pt idx="659">
                  <c:v>212.7741935483871</c:v>
                </c:pt>
                <c:pt idx="660">
                  <c:v>212.29032258064515</c:v>
                </c:pt>
                <c:pt idx="661">
                  <c:v>211.54838709677421</c:v>
                </c:pt>
                <c:pt idx="662">
                  <c:v>210.58064516129033</c:v>
                </c:pt>
                <c:pt idx="663">
                  <c:v>209.61290322580646</c:v>
                </c:pt>
                <c:pt idx="664">
                  <c:v>208.67741935483872</c:v>
                </c:pt>
                <c:pt idx="665">
                  <c:v>207.93548387096774</c:v>
                </c:pt>
                <c:pt idx="666">
                  <c:v>207.48387096774192</c:v>
                </c:pt>
                <c:pt idx="667">
                  <c:v>207.12903225806451</c:v>
                </c:pt>
                <c:pt idx="668">
                  <c:v>206.09677419354838</c:v>
                </c:pt>
                <c:pt idx="669">
                  <c:v>205.51612903225808</c:v>
                </c:pt>
                <c:pt idx="670">
                  <c:v>205</c:v>
                </c:pt>
                <c:pt idx="671">
                  <c:v>204.35483870967741</c:v>
                </c:pt>
                <c:pt idx="672">
                  <c:v>202.90322580645162</c:v>
                </c:pt>
                <c:pt idx="673">
                  <c:v>202.09677419354838</c:v>
                </c:pt>
                <c:pt idx="674">
                  <c:v>200.80645161290323</c:v>
                </c:pt>
                <c:pt idx="675">
                  <c:v>200.16129032258064</c:v>
                </c:pt>
                <c:pt idx="676">
                  <c:v>199.70967741935485</c:v>
                </c:pt>
                <c:pt idx="677">
                  <c:v>199.7741935483871</c:v>
                </c:pt>
                <c:pt idx="678">
                  <c:v>200.19354838709677</c:v>
                </c:pt>
                <c:pt idx="679">
                  <c:v>200.06451612903226</c:v>
                </c:pt>
                <c:pt idx="680">
                  <c:v>200.74193548387098</c:v>
                </c:pt>
                <c:pt idx="681">
                  <c:v>201.45161290322579</c:v>
                </c:pt>
                <c:pt idx="682">
                  <c:v>201.58064516129033</c:v>
                </c:pt>
                <c:pt idx="683">
                  <c:v>202.03225806451613</c:v>
                </c:pt>
                <c:pt idx="684">
                  <c:v>202.48387096774192</c:v>
                </c:pt>
                <c:pt idx="685">
                  <c:v>202.25806451612902</c:v>
                </c:pt>
                <c:pt idx="686">
                  <c:v>201.80645161290323</c:v>
                </c:pt>
                <c:pt idx="687">
                  <c:v>202.25806451612902</c:v>
                </c:pt>
                <c:pt idx="688">
                  <c:v>202.80645161290323</c:v>
                </c:pt>
                <c:pt idx="689">
                  <c:v>202.54838709677421</c:v>
                </c:pt>
                <c:pt idx="690">
                  <c:v>202.12903225806451</c:v>
                </c:pt>
                <c:pt idx="691">
                  <c:v>201.96774193548387</c:v>
                </c:pt>
                <c:pt idx="692">
                  <c:v>201.83870967741936</c:v>
                </c:pt>
                <c:pt idx="693">
                  <c:v>201.2258064516129</c:v>
                </c:pt>
                <c:pt idx="694">
                  <c:v>201.51612903225808</c:v>
                </c:pt>
                <c:pt idx="695">
                  <c:v>201.29032258064515</c:v>
                </c:pt>
                <c:pt idx="696">
                  <c:v>201.19354838709677</c:v>
                </c:pt>
                <c:pt idx="697">
                  <c:v>200.61290322580646</c:v>
                </c:pt>
                <c:pt idx="698">
                  <c:v>200.16129032258064</c:v>
                </c:pt>
                <c:pt idx="699">
                  <c:v>200.96774193548387</c:v>
                </c:pt>
                <c:pt idx="700">
                  <c:v>200.32258064516128</c:v>
                </c:pt>
                <c:pt idx="701">
                  <c:v>199.74193548387098</c:v>
                </c:pt>
                <c:pt idx="702">
                  <c:v>199.93548387096774</c:v>
                </c:pt>
                <c:pt idx="703">
                  <c:v>200.41935483870967</c:v>
                </c:pt>
                <c:pt idx="704">
                  <c:v>199.64516129032259</c:v>
                </c:pt>
                <c:pt idx="705">
                  <c:v>200.03225806451613</c:v>
                </c:pt>
                <c:pt idx="706">
                  <c:v>200.19354838709677</c:v>
                </c:pt>
                <c:pt idx="707">
                  <c:v>199.51612903225808</c:v>
                </c:pt>
                <c:pt idx="708">
                  <c:v>199.90322580645162</c:v>
                </c:pt>
                <c:pt idx="709">
                  <c:v>199.64516129032259</c:v>
                </c:pt>
                <c:pt idx="710">
                  <c:v>199.96774193548387</c:v>
                </c:pt>
                <c:pt idx="711">
                  <c:v>199.64516129032259</c:v>
                </c:pt>
                <c:pt idx="712">
                  <c:v>199.19354838709677</c:v>
                </c:pt>
                <c:pt idx="713">
                  <c:v>199.70967741935485</c:v>
                </c:pt>
                <c:pt idx="714">
                  <c:v>199.87096774193549</c:v>
                </c:pt>
                <c:pt idx="715">
                  <c:v>199.67741935483872</c:v>
                </c:pt>
                <c:pt idx="716">
                  <c:v>200</c:v>
                </c:pt>
                <c:pt idx="717">
                  <c:v>199.90322580645162</c:v>
                </c:pt>
                <c:pt idx="718">
                  <c:v>199.2258064516129</c:v>
                </c:pt>
                <c:pt idx="719">
                  <c:v>198.83870967741936</c:v>
                </c:pt>
                <c:pt idx="720">
                  <c:v>198.16129032258064</c:v>
                </c:pt>
                <c:pt idx="721">
                  <c:v>198.61290322580646</c:v>
                </c:pt>
                <c:pt idx="722">
                  <c:v>198.38709677419354</c:v>
                </c:pt>
                <c:pt idx="723">
                  <c:v>198.29032258064515</c:v>
                </c:pt>
                <c:pt idx="724">
                  <c:v>199.51612903225808</c:v>
                </c:pt>
                <c:pt idx="725">
                  <c:v>198.90322580645162</c:v>
                </c:pt>
                <c:pt idx="726">
                  <c:v>198.48387096774192</c:v>
                </c:pt>
                <c:pt idx="727">
                  <c:v>197.70967741935485</c:v>
                </c:pt>
                <c:pt idx="728">
                  <c:v>198.61290322580646</c:v>
                </c:pt>
                <c:pt idx="729">
                  <c:v>198.16129032258064</c:v>
                </c:pt>
                <c:pt idx="730">
                  <c:v>198.19354838709677</c:v>
                </c:pt>
                <c:pt idx="731">
                  <c:v>199.32258064516128</c:v>
                </c:pt>
                <c:pt idx="732">
                  <c:v>200</c:v>
                </c:pt>
                <c:pt idx="733">
                  <c:v>199.93548387096774</c:v>
                </c:pt>
                <c:pt idx="734">
                  <c:v>200.16129032258064</c:v>
                </c:pt>
                <c:pt idx="735">
                  <c:v>200.45161290322579</c:v>
                </c:pt>
                <c:pt idx="736">
                  <c:v>200.61290322580646</c:v>
                </c:pt>
                <c:pt idx="737">
                  <c:v>199.64516129032259</c:v>
                </c:pt>
                <c:pt idx="738">
                  <c:v>200.54838709677421</c:v>
                </c:pt>
                <c:pt idx="739">
                  <c:v>199.93548387096774</c:v>
                </c:pt>
                <c:pt idx="740">
                  <c:v>199.70967741935485</c:v>
                </c:pt>
                <c:pt idx="741">
                  <c:v>199.2258064516129</c:v>
                </c:pt>
                <c:pt idx="742">
                  <c:v>198.74193548387098</c:v>
                </c:pt>
                <c:pt idx="743">
                  <c:v>198.38709677419354</c:v>
                </c:pt>
                <c:pt idx="744">
                  <c:v>197.74193548387098</c:v>
                </c:pt>
                <c:pt idx="745">
                  <c:v>197.09677419354838</c:v>
                </c:pt>
                <c:pt idx="746">
                  <c:v>197.87096774193549</c:v>
                </c:pt>
                <c:pt idx="747">
                  <c:v>198.38709677419354</c:v>
                </c:pt>
                <c:pt idx="748">
                  <c:v>198.19354838709677</c:v>
                </c:pt>
                <c:pt idx="749">
                  <c:v>198.70967741935485</c:v>
                </c:pt>
                <c:pt idx="750">
                  <c:v>199.51612903225808</c:v>
                </c:pt>
                <c:pt idx="751">
                  <c:v>200.35483870967741</c:v>
                </c:pt>
                <c:pt idx="752">
                  <c:v>200.90322580645162</c:v>
                </c:pt>
                <c:pt idx="753">
                  <c:v>201.29032258064515</c:v>
                </c:pt>
                <c:pt idx="754">
                  <c:v>201.32258064516128</c:v>
                </c:pt>
                <c:pt idx="755">
                  <c:v>200.67741935483872</c:v>
                </c:pt>
                <c:pt idx="756">
                  <c:v>201.41935483870967</c:v>
                </c:pt>
                <c:pt idx="757">
                  <c:v>202</c:v>
                </c:pt>
                <c:pt idx="758">
                  <c:v>203.09677419354838</c:v>
                </c:pt>
                <c:pt idx="759">
                  <c:v>202.93548387096774</c:v>
                </c:pt>
                <c:pt idx="760">
                  <c:v>203.74193548387098</c:v>
                </c:pt>
                <c:pt idx="761">
                  <c:v>203.70967741935485</c:v>
                </c:pt>
                <c:pt idx="762">
                  <c:v>203.80645161290323</c:v>
                </c:pt>
                <c:pt idx="763">
                  <c:v>203.03225806451613</c:v>
                </c:pt>
                <c:pt idx="764">
                  <c:v>202.64516129032259</c:v>
                </c:pt>
                <c:pt idx="765">
                  <c:v>202.38709677419354</c:v>
                </c:pt>
                <c:pt idx="766">
                  <c:v>201.74193548387098</c:v>
                </c:pt>
                <c:pt idx="767">
                  <c:v>201.87096774193549</c:v>
                </c:pt>
                <c:pt idx="768">
                  <c:v>202.06451612903226</c:v>
                </c:pt>
                <c:pt idx="769">
                  <c:v>201.67741935483872</c:v>
                </c:pt>
                <c:pt idx="770">
                  <c:v>201.58064516129033</c:v>
                </c:pt>
                <c:pt idx="771">
                  <c:v>201.61290322580646</c:v>
                </c:pt>
                <c:pt idx="772">
                  <c:v>202.48387096774192</c:v>
                </c:pt>
                <c:pt idx="773">
                  <c:v>202.61290322580646</c:v>
                </c:pt>
                <c:pt idx="774">
                  <c:v>203.29032258064515</c:v>
                </c:pt>
                <c:pt idx="775">
                  <c:v>203.35483870967741</c:v>
                </c:pt>
                <c:pt idx="776">
                  <c:v>202.87096774193549</c:v>
                </c:pt>
                <c:pt idx="777">
                  <c:v>203.12903225806451</c:v>
                </c:pt>
                <c:pt idx="778">
                  <c:v>202.93548387096774</c:v>
                </c:pt>
                <c:pt idx="779">
                  <c:v>203.7741935483871</c:v>
                </c:pt>
                <c:pt idx="780">
                  <c:v>203.83870967741936</c:v>
                </c:pt>
                <c:pt idx="781">
                  <c:v>204</c:v>
                </c:pt>
                <c:pt idx="782">
                  <c:v>203.2258064516129</c:v>
                </c:pt>
                <c:pt idx="783">
                  <c:v>202.74193548387098</c:v>
                </c:pt>
                <c:pt idx="784">
                  <c:v>202.74193548387098</c:v>
                </c:pt>
                <c:pt idx="785">
                  <c:v>203.03225806451613</c:v>
                </c:pt>
                <c:pt idx="786">
                  <c:v>203.12903225806451</c:v>
                </c:pt>
                <c:pt idx="787">
                  <c:v>203.41935483870967</c:v>
                </c:pt>
                <c:pt idx="788">
                  <c:v>203.09677419354838</c:v>
                </c:pt>
                <c:pt idx="789">
                  <c:v>203.12903225806451</c:v>
                </c:pt>
                <c:pt idx="790">
                  <c:v>202.7741935483871</c:v>
                </c:pt>
                <c:pt idx="791">
                  <c:v>202.48387096774192</c:v>
                </c:pt>
                <c:pt idx="792">
                  <c:v>202.2258064516129</c:v>
                </c:pt>
                <c:pt idx="793">
                  <c:v>201.35483870967741</c:v>
                </c:pt>
                <c:pt idx="794">
                  <c:v>201.87096774193549</c:v>
                </c:pt>
                <c:pt idx="795">
                  <c:v>202.2258064516129</c:v>
                </c:pt>
                <c:pt idx="796">
                  <c:v>202.06451612903226</c:v>
                </c:pt>
                <c:pt idx="797">
                  <c:v>202.48387096774192</c:v>
                </c:pt>
                <c:pt idx="798">
                  <c:v>202.38709677419354</c:v>
                </c:pt>
                <c:pt idx="799">
                  <c:v>202.64516129032259</c:v>
                </c:pt>
                <c:pt idx="800">
                  <c:v>202.74193548387098</c:v>
                </c:pt>
                <c:pt idx="801">
                  <c:v>202.93548387096774</c:v>
                </c:pt>
                <c:pt idx="802">
                  <c:v>203.54838709677421</c:v>
                </c:pt>
                <c:pt idx="803">
                  <c:v>203.19354838709677</c:v>
                </c:pt>
                <c:pt idx="804">
                  <c:v>202.80645161290323</c:v>
                </c:pt>
                <c:pt idx="805">
                  <c:v>202.80645161290323</c:v>
                </c:pt>
                <c:pt idx="806">
                  <c:v>203.09677419354838</c:v>
                </c:pt>
                <c:pt idx="807">
                  <c:v>204.2258064516129</c:v>
                </c:pt>
                <c:pt idx="808">
                  <c:v>204.19354838709677</c:v>
                </c:pt>
                <c:pt idx="809">
                  <c:v>204.29032258064515</c:v>
                </c:pt>
                <c:pt idx="810">
                  <c:v>203.93548387096774</c:v>
                </c:pt>
                <c:pt idx="811">
                  <c:v>204.35483870967741</c:v>
                </c:pt>
                <c:pt idx="812">
                  <c:v>203.58064516129033</c:v>
                </c:pt>
                <c:pt idx="813">
                  <c:v>204.67741935483872</c:v>
                </c:pt>
                <c:pt idx="814">
                  <c:v>204.09677419354838</c:v>
                </c:pt>
                <c:pt idx="815">
                  <c:v>203.29032258064515</c:v>
                </c:pt>
                <c:pt idx="816">
                  <c:v>202.83870967741936</c:v>
                </c:pt>
                <c:pt idx="817">
                  <c:v>203.09677419354838</c:v>
                </c:pt>
                <c:pt idx="818">
                  <c:v>203</c:v>
                </c:pt>
                <c:pt idx="819">
                  <c:v>203.51612903225808</c:v>
                </c:pt>
                <c:pt idx="820">
                  <c:v>202.38709677419354</c:v>
                </c:pt>
                <c:pt idx="821">
                  <c:v>203</c:v>
                </c:pt>
                <c:pt idx="822">
                  <c:v>202.29032258064515</c:v>
                </c:pt>
                <c:pt idx="823">
                  <c:v>202.67741935483872</c:v>
                </c:pt>
                <c:pt idx="824">
                  <c:v>203.03225806451613</c:v>
                </c:pt>
                <c:pt idx="825">
                  <c:v>202.51612903225808</c:v>
                </c:pt>
                <c:pt idx="826">
                  <c:v>202.38709677419354</c:v>
                </c:pt>
                <c:pt idx="827">
                  <c:v>202.93548387096774</c:v>
                </c:pt>
                <c:pt idx="828">
                  <c:v>203.03225806451613</c:v>
                </c:pt>
                <c:pt idx="829">
                  <c:v>203.25806451612902</c:v>
                </c:pt>
                <c:pt idx="830">
                  <c:v>203.90322580645162</c:v>
                </c:pt>
                <c:pt idx="831">
                  <c:v>203.58064516129033</c:v>
                </c:pt>
                <c:pt idx="832">
                  <c:v>203.06451612903226</c:v>
                </c:pt>
                <c:pt idx="833">
                  <c:v>203.2258064516129</c:v>
                </c:pt>
                <c:pt idx="834">
                  <c:v>203.48387096774192</c:v>
                </c:pt>
                <c:pt idx="835">
                  <c:v>203.64516129032259</c:v>
                </c:pt>
                <c:pt idx="836">
                  <c:v>203.38709677419354</c:v>
                </c:pt>
                <c:pt idx="837">
                  <c:v>203.58064516129033</c:v>
                </c:pt>
                <c:pt idx="838">
                  <c:v>203.12903225806451</c:v>
                </c:pt>
                <c:pt idx="839">
                  <c:v>202.32258064516128</c:v>
                </c:pt>
                <c:pt idx="840">
                  <c:v>202.35483870967741</c:v>
                </c:pt>
                <c:pt idx="841">
                  <c:v>202.64516129032259</c:v>
                </c:pt>
                <c:pt idx="842">
                  <c:v>201.7741935483871</c:v>
                </c:pt>
                <c:pt idx="843">
                  <c:v>201.54838709677421</c:v>
                </c:pt>
                <c:pt idx="844">
                  <c:v>201.19354838709677</c:v>
                </c:pt>
                <c:pt idx="845">
                  <c:v>202.12903225806451</c:v>
                </c:pt>
                <c:pt idx="846">
                  <c:v>203</c:v>
                </c:pt>
                <c:pt idx="847">
                  <c:v>203.48387096774192</c:v>
                </c:pt>
                <c:pt idx="848">
                  <c:v>203.48387096774192</c:v>
                </c:pt>
                <c:pt idx="849">
                  <c:v>202.51612903225808</c:v>
                </c:pt>
                <c:pt idx="850">
                  <c:v>202.64516129032259</c:v>
                </c:pt>
                <c:pt idx="851">
                  <c:v>202.90322580645162</c:v>
                </c:pt>
                <c:pt idx="852">
                  <c:v>202.12903225806451</c:v>
                </c:pt>
                <c:pt idx="853">
                  <c:v>203.2258064516129</c:v>
                </c:pt>
                <c:pt idx="854">
                  <c:v>202.83870967741936</c:v>
                </c:pt>
                <c:pt idx="855">
                  <c:v>202.09677419354838</c:v>
                </c:pt>
                <c:pt idx="856">
                  <c:v>202.41935483870967</c:v>
                </c:pt>
                <c:pt idx="857">
                  <c:v>201.83870967741936</c:v>
                </c:pt>
                <c:pt idx="858">
                  <c:v>200.90322580645162</c:v>
                </c:pt>
                <c:pt idx="859">
                  <c:v>200.90322580645162</c:v>
                </c:pt>
                <c:pt idx="860">
                  <c:v>200</c:v>
                </c:pt>
                <c:pt idx="861">
                  <c:v>199.29032258064515</c:v>
                </c:pt>
                <c:pt idx="862">
                  <c:v>199</c:v>
                </c:pt>
                <c:pt idx="863">
                  <c:v>200.12903225806451</c:v>
                </c:pt>
                <c:pt idx="864">
                  <c:v>200.12903225806451</c:v>
                </c:pt>
                <c:pt idx="865">
                  <c:v>199.7741935483871</c:v>
                </c:pt>
                <c:pt idx="866">
                  <c:v>200.87096774193549</c:v>
                </c:pt>
                <c:pt idx="867">
                  <c:v>200.61290322580646</c:v>
                </c:pt>
                <c:pt idx="868">
                  <c:v>200.74193548387098</c:v>
                </c:pt>
                <c:pt idx="869">
                  <c:v>200.48387096774192</c:v>
                </c:pt>
                <c:pt idx="870">
                  <c:v>201.2258064516129</c:v>
                </c:pt>
                <c:pt idx="871">
                  <c:v>200.38709677419354</c:v>
                </c:pt>
                <c:pt idx="872">
                  <c:v>200.48387096774192</c:v>
                </c:pt>
                <c:pt idx="873">
                  <c:v>201.29032258064515</c:v>
                </c:pt>
                <c:pt idx="874">
                  <c:v>201.58064516129033</c:v>
                </c:pt>
                <c:pt idx="875">
                  <c:v>201.25806451612902</c:v>
                </c:pt>
                <c:pt idx="876">
                  <c:v>201.12903225806451</c:v>
                </c:pt>
                <c:pt idx="877">
                  <c:v>200.64516129032259</c:v>
                </c:pt>
                <c:pt idx="878">
                  <c:v>200.06451612903226</c:v>
                </c:pt>
                <c:pt idx="879">
                  <c:v>200.38709677419354</c:v>
                </c:pt>
                <c:pt idx="880">
                  <c:v>200.7741935483871</c:v>
                </c:pt>
                <c:pt idx="881">
                  <c:v>200.32258064516128</c:v>
                </c:pt>
                <c:pt idx="882">
                  <c:v>201.03225806451613</c:v>
                </c:pt>
                <c:pt idx="883">
                  <c:v>201.32258064516128</c:v>
                </c:pt>
                <c:pt idx="884">
                  <c:v>200.7741935483871</c:v>
                </c:pt>
                <c:pt idx="885">
                  <c:v>200.12903225806451</c:v>
                </c:pt>
                <c:pt idx="886">
                  <c:v>200.70967741935485</c:v>
                </c:pt>
                <c:pt idx="887">
                  <c:v>200.93548387096774</c:v>
                </c:pt>
                <c:pt idx="888">
                  <c:v>200.96774193548387</c:v>
                </c:pt>
                <c:pt idx="889">
                  <c:v>201.64516129032259</c:v>
                </c:pt>
                <c:pt idx="890">
                  <c:v>202.38709677419354</c:v>
                </c:pt>
                <c:pt idx="891">
                  <c:v>203.06451612903226</c:v>
                </c:pt>
                <c:pt idx="892">
                  <c:v>203.67741935483872</c:v>
                </c:pt>
                <c:pt idx="893">
                  <c:v>204.58064516129033</c:v>
                </c:pt>
                <c:pt idx="894">
                  <c:v>204.29032258064515</c:v>
                </c:pt>
                <c:pt idx="895">
                  <c:v>204.25806451612902</c:v>
                </c:pt>
                <c:pt idx="896">
                  <c:v>204.51612903225808</c:v>
                </c:pt>
                <c:pt idx="897">
                  <c:v>204.35483870967741</c:v>
                </c:pt>
                <c:pt idx="898">
                  <c:v>204.74193548387098</c:v>
                </c:pt>
                <c:pt idx="899">
                  <c:v>204.51612903225808</c:v>
                </c:pt>
                <c:pt idx="900">
                  <c:v>204.29032258064515</c:v>
                </c:pt>
                <c:pt idx="901">
                  <c:v>204.32258064516128</c:v>
                </c:pt>
                <c:pt idx="902">
                  <c:v>204.51612903225808</c:v>
                </c:pt>
                <c:pt idx="903">
                  <c:v>203.48387096774192</c:v>
                </c:pt>
                <c:pt idx="904">
                  <c:v>203.70967741935485</c:v>
                </c:pt>
                <c:pt idx="905">
                  <c:v>204.45161290322579</c:v>
                </c:pt>
                <c:pt idx="906">
                  <c:v>204.96774193548387</c:v>
                </c:pt>
                <c:pt idx="907">
                  <c:v>204.29032258064515</c:v>
                </c:pt>
                <c:pt idx="908">
                  <c:v>204.35483870967741</c:v>
                </c:pt>
                <c:pt idx="909">
                  <c:v>204</c:v>
                </c:pt>
                <c:pt idx="910">
                  <c:v>203.51612903225808</c:v>
                </c:pt>
                <c:pt idx="911">
                  <c:v>203.35483870967741</c:v>
                </c:pt>
                <c:pt idx="912">
                  <c:v>203.7741935483871</c:v>
                </c:pt>
                <c:pt idx="913">
                  <c:v>203.64516129032259</c:v>
                </c:pt>
                <c:pt idx="914">
                  <c:v>203.58064516129033</c:v>
                </c:pt>
                <c:pt idx="915">
                  <c:v>203.54838709677421</c:v>
                </c:pt>
                <c:pt idx="916">
                  <c:v>203.83870967741936</c:v>
                </c:pt>
                <c:pt idx="917">
                  <c:v>203.2258064516129</c:v>
                </c:pt>
                <c:pt idx="918">
                  <c:v>203.29032258064515</c:v>
                </c:pt>
                <c:pt idx="919">
                  <c:v>203.41935483870967</c:v>
                </c:pt>
                <c:pt idx="920">
                  <c:v>203.54838709677421</c:v>
                </c:pt>
                <c:pt idx="921">
                  <c:v>202.7741935483871</c:v>
                </c:pt>
                <c:pt idx="922">
                  <c:v>202.64516129032259</c:v>
                </c:pt>
                <c:pt idx="923">
                  <c:v>202.35483870967741</c:v>
                </c:pt>
                <c:pt idx="924">
                  <c:v>201.35483870967741</c:v>
                </c:pt>
                <c:pt idx="925">
                  <c:v>201.38709677419354</c:v>
                </c:pt>
                <c:pt idx="926">
                  <c:v>200.87096774193549</c:v>
                </c:pt>
                <c:pt idx="927">
                  <c:v>200.48387096774192</c:v>
                </c:pt>
                <c:pt idx="928">
                  <c:v>200.45161290322579</c:v>
                </c:pt>
                <c:pt idx="929">
                  <c:v>200.87096774193549</c:v>
                </c:pt>
                <c:pt idx="930">
                  <c:v>201.12903225806451</c:v>
                </c:pt>
                <c:pt idx="931">
                  <c:v>202</c:v>
                </c:pt>
                <c:pt idx="932">
                  <c:v>201.83870967741936</c:v>
                </c:pt>
                <c:pt idx="933">
                  <c:v>202.67741935483872</c:v>
                </c:pt>
                <c:pt idx="934">
                  <c:v>203.67741935483872</c:v>
                </c:pt>
                <c:pt idx="935">
                  <c:v>203.29032258064515</c:v>
                </c:pt>
                <c:pt idx="936">
                  <c:v>203.12903225806451</c:v>
                </c:pt>
                <c:pt idx="937">
                  <c:v>203</c:v>
                </c:pt>
                <c:pt idx="938">
                  <c:v>203.45161290322579</c:v>
                </c:pt>
                <c:pt idx="939">
                  <c:v>203.35483870967741</c:v>
                </c:pt>
                <c:pt idx="940">
                  <c:v>203.70967741935485</c:v>
                </c:pt>
                <c:pt idx="941">
                  <c:v>203.41935483870967</c:v>
                </c:pt>
                <c:pt idx="942">
                  <c:v>203.19354838709677</c:v>
                </c:pt>
                <c:pt idx="943">
                  <c:v>202.38709677419354</c:v>
                </c:pt>
                <c:pt idx="944">
                  <c:v>202.58064516129033</c:v>
                </c:pt>
                <c:pt idx="945">
                  <c:v>202.38709677419354</c:v>
                </c:pt>
                <c:pt idx="946">
                  <c:v>202.83870967741936</c:v>
                </c:pt>
                <c:pt idx="947">
                  <c:v>202.35483870967741</c:v>
                </c:pt>
                <c:pt idx="948">
                  <c:v>203.2258064516129</c:v>
                </c:pt>
                <c:pt idx="949">
                  <c:v>203.51612903225808</c:v>
                </c:pt>
                <c:pt idx="950">
                  <c:v>204.32258064516128</c:v>
                </c:pt>
                <c:pt idx="951">
                  <c:v>203.80645161290323</c:v>
                </c:pt>
                <c:pt idx="952">
                  <c:v>203.7741935483871</c:v>
                </c:pt>
                <c:pt idx="953">
                  <c:v>204.29032258064515</c:v>
                </c:pt>
                <c:pt idx="954">
                  <c:v>203.54838709677421</c:v>
                </c:pt>
                <c:pt idx="955">
                  <c:v>204.2258064516129</c:v>
                </c:pt>
                <c:pt idx="956">
                  <c:v>203.29032258064515</c:v>
                </c:pt>
                <c:pt idx="957">
                  <c:v>203.12903225806451</c:v>
                </c:pt>
                <c:pt idx="958">
                  <c:v>203.2258064516129</c:v>
                </c:pt>
                <c:pt idx="959">
                  <c:v>202.48387096774192</c:v>
                </c:pt>
                <c:pt idx="960">
                  <c:v>201.64516129032259</c:v>
                </c:pt>
                <c:pt idx="961">
                  <c:v>201.03225806451613</c:v>
                </c:pt>
                <c:pt idx="962">
                  <c:v>200.61290322580646</c:v>
                </c:pt>
                <c:pt idx="963">
                  <c:v>199.90322580645162</c:v>
                </c:pt>
                <c:pt idx="964">
                  <c:v>198.90322580645162</c:v>
                </c:pt>
                <c:pt idx="965">
                  <c:v>198.19354838709677</c:v>
                </c:pt>
                <c:pt idx="966">
                  <c:v>198.2258064516129</c:v>
                </c:pt>
                <c:pt idx="967">
                  <c:v>198.38709677419354</c:v>
                </c:pt>
                <c:pt idx="968">
                  <c:v>198.16129032258064</c:v>
                </c:pt>
                <c:pt idx="969">
                  <c:v>197.48387096774192</c:v>
                </c:pt>
                <c:pt idx="970">
                  <c:v>197.90322580645162</c:v>
                </c:pt>
                <c:pt idx="971">
                  <c:v>197.61290322580646</c:v>
                </c:pt>
                <c:pt idx="972">
                  <c:v>197.83870967741936</c:v>
                </c:pt>
                <c:pt idx="973">
                  <c:v>198.54838709677421</c:v>
                </c:pt>
                <c:pt idx="974">
                  <c:v>198.67741935483872</c:v>
                </c:pt>
                <c:pt idx="975">
                  <c:v>197.61290322580646</c:v>
                </c:pt>
                <c:pt idx="976">
                  <c:v>197.87096774193549</c:v>
                </c:pt>
                <c:pt idx="977">
                  <c:v>197.41935483870967</c:v>
                </c:pt>
                <c:pt idx="978">
                  <c:v>197.58064516129033</c:v>
                </c:pt>
                <c:pt idx="979">
                  <c:v>196.90322580645162</c:v>
                </c:pt>
                <c:pt idx="980">
                  <c:v>196.64516129032259</c:v>
                </c:pt>
                <c:pt idx="981">
                  <c:v>196.09677419354838</c:v>
                </c:pt>
                <c:pt idx="982">
                  <c:v>196.32258064516128</c:v>
                </c:pt>
                <c:pt idx="983">
                  <c:v>196.61290322580646</c:v>
                </c:pt>
                <c:pt idx="984">
                  <c:v>195.58064516129033</c:v>
                </c:pt>
                <c:pt idx="985">
                  <c:v>195.61290322580646</c:v>
                </c:pt>
                <c:pt idx="986">
                  <c:v>194.87096774193549</c:v>
                </c:pt>
                <c:pt idx="987">
                  <c:v>196</c:v>
                </c:pt>
                <c:pt idx="988">
                  <c:v>196.19354838709677</c:v>
                </c:pt>
                <c:pt idx="989">
                  <c:v>196.2258064516129</c:v>
                </c:pt>
                <c:pt idx="990">
                  <c:v>196.70967741935485</c:v>
                </c:pt>
                <c:pt idx="991">
                  <c:v>196.90322580645162</c:v>
                </c:pt>
                <c:pt idx="992">
                  <c:v>196.83870967741936</c:v>
                </c:pt>
                <c:pt idx="993">
                  <c:v>196.90322580645162</c:v>
                </c:pt>
                <c:pt idx="994">
                  <c:v>197.67741935483872</c:v>
                </c:pt>
                <c:pt idx="995">
                  <c:v>198.29032258064515</c:v>
                </c:pt>
                <c:pt idx="996">
                  <c:v>198.25806451612902</c:v>
                </c:pt>
                <c:pt idx="997">
                  <c:v>198.03225806451613</c:v>
                </c:pt>
                <c:pt idx="998">
                  <c:v>197.41935483870967</c:v>
                </c:pt>
                <c:pt idx="999">
                  <c:v>196.96774193548387</c:v>
                </c:pt>
                <c:pt idx="1000">
                  <c:v>197.67741935483872</c:v>
                </c:pt>
                <c:pt idx="1001">
                  <c:v>197.61290322580646</c:v>
                </c:pt>
                <c:pt idx="1002">
                  <c:v>197.58064516129033</c:v>
                </c:pt>
                <c:pt idx="1003">
                  <c:v>196.93548387096774</c:v>
                </c:pt>
                <c:pt idx="1004">
                  <c:v>197.25806451612902</c:v>
                </c:pt>
                <c:pt idx="1005">
                  <c:v>197.83870967741936</c:v>
                </c:pt>
                <c:pt idx="1006">
                  <c:v>198.45161290322579</c:v>
                </c:pt>
                <c:pt idx="1007">
                  <c:v>197.96774193548387</c:v>
                </c:pt>
                <c:pt idx="1008">
                  <c:v>198.09677419354838</c:v>
                </c:pt>
                <c:pt idx="1009">
                  <c:v>198.32258064516128</c:v>
                </c:pt>
                <c:pt idx="1010">
                  <c:v>198.74193548387098</c:v>
                </c:pt>
                <c:pt idx="1011">
                  <c:v>198.09677419354838</c:v>
                </c:pt>
                <c:pt idx="1012">
                  <c:v>197.80645161290323</c:v>
                </c:pt>
                <c:pt idx="1013">
                  <c:v>197.58064516129033</c:v>
                </c:pt>
                <c:pt idx="1014">
                  <c:v>197.7741935483871</c:v>
                </c:pt>
                <c:pt idx="1015">
                  <c:v>198.16129032258064</c:v>
                </c:pt>
                <c:pt idx="1016">
                  <c:v>198.19354838709677</c:v>
                </c:pt>
                <c:pt idx="1017">
                  <c:v>199.38709677419354</c:v>
                </c:pt>
                <c:pt idx="1018">
                  <c:v>198.90322580645162</c:v>
                </c:pt>
                <c:pt idx="1019">
                  <c:v>199.32258064516128</c:v>
                </c:pt>
                <c:pt idx="1020">
                  <c:v>199.80645161290323</c:v>
                </c:pt>
                <c:pt idx="1021">
                  <c:v>200.19354838709677</c:v>
                </c:pt>
                <c:pt idx="1022">
                  <c:v>199.87096774193549</c:v>
                </c:pt>
                <c:pt idx="1023">
                  <c:v>200.35483870967741</c:v>
                </c:pt>
                <c:pt idx="1024">
                  <c:v>199.93548387096774</c:v>
                </c:pt>
                <c:pt idx="1025">
                  <c:v>199</c:v>
                </c:pt>
                <c:pt idx="1026">
                  <c:v>199.48387096774192</c:v>
                </c:pt>
                <c:pt idx="1027">
                  <c:v>199.41935483870967</c:v>
                </c:pt>
                <c:pt idx="1028">
                  <c:v>199.67741935483872</c:v>
                </c:pt>
                <c:pt idx="1029">
                  <c:v>200.03225806451613</c:v>
                </c:pt>
                <c:pt idx="1030">
                  <c:v>200</c:v>
                </c:pt>
                <c:pt idx="1031">
                  <c:v>199.45161290322579</c:v>
                </c:pt>
                <c:pt idx="1032">
                  <c:v>198.45161290322579</c:v>
                </c:pt>
                <c:pt idx="1033">
                  <c:v>198.83870967741936</c:v>
                </c:pt>
                <c:pt idx="1034">
                  <c:v>199.32258064516128</c:v>
                </c:pt>
                <c:pt idx="1035">
                  <c:v>198.2258064516129</c:v>
                </c:pt>
                <c:pt idx="1036">
                  <c:v>198.35483870967741</c:v>
                </c:pt>
                <c:pt idx="1037">
                  <c:v>198.16129032258064</c:v>
                </c:pt>
                <c:pt idx="1038">
                  <c:v>198.09677419354838</c:v>
                </c:pt>
                <c:pt idx="1039">
                  <c:v>198.64516129032259</c:v>
                </c:pt>
                <c:pt idx="1040">
                  <c:v>199.61290322580646</c:v>
                </c:pt>
                <c:pt idx="1041">
                  <c:v>200.83870967741936</c:v>
                </c:pt>
                <c:pt idx="1042">
                  <c:v>202.38709677419354</c:v>
                </c:pt>
                <c:pt idx="1043">
                  <c:v>204</c:v>
                </c:pt>
                <c:pt idx="1044">
                  <c:v>205.03225806451613</c:v>
                </c:pt>
                <c:pt idx="1045">
                  <c:v>205.93548387096774</c:v>
                </c:pt>
                <c:pt idx="1046">
                  <c:v>207.09677419354838</c:v>
                </c:pt>
                <c:pt idx="1047">
                  <c:v>208.90322580645162</c:v>
                </c:pt>
                <c:pt idx="1048">
                  <c:v>209.29032258064515</c:v>
                </c:pt>
                <c:pt idx="1049">
                  <c:v>209.96774193548387</c:v>
                </c:pt>
                <c:pt idx="1050">
                  <c:v>210.41935483870967</c:v>
                </c:pt>
                <c:pt idx="1051">
                  <c:v>211.06451612903226</c:v>
                </c:pt>
                <c:pt idx="1052">
                  <c:v>211.32258064516128</c:v>
                </c:pt>
                <c:pt idx="1053">
                  <c:v>212.58064516129033</c:v>
                </c:pt>
                <c:pt idx="1054">
                  <c:v>213.58064516129033</c:v>
                </c:pt>
                <c:pt idx="1055">
                  <c:v>214.7741935483871</c:v>
                </c:pt>
                <c:pt idx="1056">
                  <c:v>216.12903225806451</c:v>
                </c:pt>
                <c:pt idx="1057">
                  <c:v>216.48387096774192</c:v>
                </c:pt>
                <c:pt idx="1058">
                  <c:v>217.96774193548387</c:v>
                </c:pt>
                <c:pt idx="1059">
                  <c:v>218.58064516129033</c:v>
                </c:pt>
                <c:pt idx="1060">
                  <c:v>219.2258064516129</c:v>
                </c:pt>
                <c:pt idx="1061">
                  <c:v>220.7741935483871</c:v>
                </c:pt>
                <c:pt idx="1062">
                  <c:v>222.06451612903226</c:v>
                </c:pt>
                <c:pt idx="1063">
                  <c:v>223.51612903225808</c:v>
                </c:pt>
                <c:pt idx="1064">
                  <c:v>224.51612903225808</c:v>
                </c:pt>
                <c:pt idx="1065">
                  <c:v>225.48387096774192</c:v>
                </c:pt>
                <c:pt idx="1066">
                  <c:v>227.25806451612902</c:v>
                </c:pt>
                <c:pt idx="1067">
                  <c:v>228.19354838709677</c:v>
                </c:pt>
                <c:pt idx="1068">
                  <c:v>229.32258064516128</c:v>
                </c:pt>
                <c:pt idx="1069">
                  <c:v>230.54838709677421</c:v>
                </c:pt>
                <c:pt idx="1070">
                  <c:v>231.16129032258064</c:v>
                </c:pt>
                <c:pt idx="1071">
                  <c:v>231.29032258064515</c:v>
                </c:pt>
                <c:pt idx="1072">
                  <c:v>230.74193548387098</c:v>
                </c:pt>
                <c:pt idx="1073">
                  <c:v>230.67741935483872</c:v>
                </c:pt>
                <c:pt idx="1074">
                  <c:v>230.67741935483872</c:v>
                </c:pt>
                <c:pt idx="1075">
                  <c:v>230.70967741935485</c:v>
                </c:pt>
                <c:pt idx="1076">
                  <c:v>230.67741935483872</c:v>
                </c:pt>
                <c:pt idx="1077">
                  <c:v>230.74193548387098</c:v>
                </c:pt>
                <c:pt idx="1078">
                  <c:v>230.51612903225808</c:v>
                </c:pt>
                <c:pt idx="1079">
                  <c:v>230.58064516129033</c:v>
                </c:pt>
                <c:pt idx="1080">
                  <c:v>230.96774193548387</c:v>
                </c:pt>
                <c:pt idx="1081">
                  <c:v>231.2258064516129</c:v>
                </c:pt>
                <c:pt idx="1082">
                  <c:v>231.35483870967741</c:v>
                </c:pt>
                <c:pt idx="1083">
                  <c:v>231.67741935483872</c:v>
                </c:pt>
                <c:pt idx="1084">
                  <c:v>230.41935483870967</c:v>
                </c:pt>
                <c:pt idx="1085">
                  <c:v>228.93548387096774</c:v>
                </c:pt>
                <c:pt idx="1086">
                  <c:v>227.29032258064515</c:v>
                </c:pt>
                <c:pt idx="1087">
                  <c:v>225.74193548387098</c:v>
                </c:pt>
                <c:pt idx="1088">
                  <c:v>224.67741935483872</c:v>
                </c:pt>
                <c:pt idx="1089">
                  <c:v>223.67741935483872</c:v>
                </c:pt>
                <c:pt idx="1090">
                  <c:v>222.12903225806451</c:v>
                </c:pt>
                <c:pt idx="1091">
                  <c:v>220.64516129032259</c:v>
                </c:pt>
                <c:pt idx="1092">
                  <c:v>219.87096774193549</c:v>
                </c:pt>
                <c:pt idx="1093">
                  <c:v>218.64516129032259</c:v>
                </c:pt>
                <c:pt idx="1094">
                  <c:v>217.06451612903226</c:v>
                </c:pt>
                <c:pt idx="1095">
                  <c:v>215.48387096774192</c:v>
                </c:pt>
                <c:pt idx="1096">
                  <c:v>214.2258064516129</c:v>
                </c:pt>
                <c:pt idx="1097">
                  <c:v>212.7741935483871</c:v>
                </c:pt>
                <c:pt idx="1098">
                  <c:v>211.2258064516129</c:v>
                </c:pt>
                <c:pt idx="1099">
                  <c:v>209.80645161290323</c:v>
                </c:pt>
                <c:pt idx="1100">
                  <c:v>208.90322580645162</c:v>
                </c:pt>
                <c:pt idx="1101">
                  <c:v>207.03225806451613</c:v>
                </c:pt>
                <c:pt idx="1102">
                  <c:v>206.74193548387098</c:v>
                </c:pt>
                <c:pt idx="1103">
                  <c:v>206.16129032258064</c:v>
                </c:pt>
                <c:pt idx="1104">
                  <c:v>204.93548387096774</c:v>
                </c:pt>
                <c:pt idx="1105">
                  <c:v>203.90322580645162</c:v>
                </c:pt>
                <c:pt idx="1106">
                  <c:v>202.93548387096774</c:v>
                </c:pt>
                <c:pt idx="1107">
                  <c:v>201.48387096774192</c:v>
                </c:pt>
                <c:pt idx="1108">
                  <c:v>200.09677419354838</c:v>
                </c:pt>
                <c:pt idx="1109">
                  <c:v>199.41935483870967</c:v>
                </c:pt>
                <c:pt idx="1110">
                  <c:v>198.2258064516129</c:v>
                </c:pt>
                <c:pt idx="1111">
                  <c:v>197.19354838709677</c:v>
                </c:pt>
                <c:pt idx="1112">
                  <c:v>196.19354838709677</c:v>
                </c:pt>
                <c:pt idx="1113">
                  <c:v>195.48387096774192</c:v>
                </c:pt>
                <c:pt idx="1114">
                  <c:v>194.41935483870967</c:v>
                </c:pt>
                <c:pt idx="1115">
                  <c:v>194.64516129032259</c:v>
                </c:pt>
                <c:pt idx="1116">
                  <c:v>194.80645161290323</c:v>
                </c:pt>
                <c:pt idx="1117">
                  <c:v>195.87096774193549</c:v>
                </c:pt>
                <c:pt idx="1118">
                  <c:v>195.93548387096774</c:v>
                </c:pt>
                <c:pt idx="1119">
                  <c:v>196.32258064516128</c:v>
                </c:pt>
                <c:pt idx="1120">
                  <c:v>196.54838709677421</c:v>
                </c:pt>
                <c:pt idx="1121">
                  <c:v>196.70967741935485</c:v>
                </c:pt>
                <c:pt idx="1122">
                  <c:v>197.83870967741936</c:v>
                </c:pt>
                <c:pt idx="1123">
                  <c:v>197.2258064516129</c:v>
                </c:pt>
                <c:pt idx="1124">
                  <c:v>197.41935483870967</c:v>
                </c:pt>
                <c:pt idx="1125">
                  <c:v>198.19354838709677</c:v>
                </c:pt>
                <c:pt idx="1126">
                  <c:v>198.29032258064515</c:v>
                </c:pt>
                <c:pt idx="1127">
                  <c:v>198.93548387096774</c:v>
                </c:pt>
                <c:pt idx="1128">
                  <c:v>199.7741935483871</c:v>
                </c:pt>
                <c:pt idx="1129">
                  <c:v>199.7741935483871</c:v>
                </c:pt>
                <c:pt idx="1130">
                  <c:v>200.16129032258064</c:v>
                </c:pt>
                <c:pt idx="1131">
                  <c:v>199.74193548387098</c:v>
                </c:pt>
                <c:pt idx="1132">
                  <c:v>199.80645161290323</c:v>
                </c:pt>
                <c:pt idx="1133">
                  <c:v>199.2258064516129</c:v>
                </c:pt>
                <c:pt idx="1134">
                  <c:v>199</c:v>
                </c:pt>
                <c:pt idx="1135">
                  <c:v>198.74193548387098</c:v>
                </c:pt>
                <c:pt idx="1136">
                  <c:v>198.35483870967741</c:v>
                </c:pt>
                <c:pt idx="1137">
                  <c:v>197.96774193548387</c:v>
                </c:pt>
                <c:pt idx="1138">
                  <c:v>198.12903225806451</c:v>
                </c:pt>
                <c:pt idx="1139">
                  <c:v>197.70967741935485</c:v>
                </c:pt>
                <c:pt idx="1140">
                  <c:v>197.74193548387098</c:v>
                </c:pt>
                <c:pt idx="1141">
                  <c:v>197.58064516129033</c:v>
                </c:pt>
                <c:pt idx="1142">
                  <c:v>197.09677419354838</c:v>
                </c:pt>
                <c:pt idx="1143">
                  <c:v>196.96774193548387</c:v>
                </c:pt>
                <c:pt idx="1144">
                  <c:v>195.83870967741936</c:v>
                </c:pt>
                <c:pt idx="1145">
                  <c:v>196.29032258064515</c:v>
                </c:pt>
                <c:pt idx="1146">
                  <c:v>196.61290322580646</c:v>
                </c:pt>
                <c:pt idx="1147">
                  <c:v>196.87096774193549</c:v>
                </c:pt>
                <c:pt idx="1148">
                  <c:v>196.32258064516128</c:v>
                </c:pt>
                <c:pt idx="1149">
                  <c:v>196.29032258064515</c:v>
                </c:pt>
                <c:pt idx="1150">
                  <c:v>196.70967741935485</c:v>
                </c:pt>
                <c:pt idx="1151">
                  <c:v>195.7741935483871</c:v>
                </c:pt>
                <c:pt idx="1152">
                  <c:v>195.93548387096774</c:v>
                </c:pt>
                <c:pt idx="1153">
                  <c:v>194.93548387096774</c:v>
                </c:pt>
                <c:pt idx="1154">
                  <c:v>195.25806451612902</c:v>
                </c:pt>
                <c:pt idx="1155">
                  <c:v>195.16129032258064</c:v>
                </c:pt>
                <c:pt idx="1156">
                  <c:v>195.32258064516128</c:v>
                </c:pt>
                <c:pt idx="1157">
                  <c:v>196.35483870967741</c:v>
                </c:pt>
                <c:pt idx="1158">
                  <c:v>196</c:v>
                </c:pt>
                <c:pt idx="1159">
                  <c:v>194.83870967741936</c:v>
                </c:pt>
                <c:pt idx="1160">
                  <c:v>194.58064516129033</c:v>
                </c:pt>
                <c:pt idx="1161">
                  <c:v>194.70967741935485</c:v>
                </c:pt>
                <c:pt idx="1162">
                  <c:v>195.58064516129033</c:v>
                </c:pt>
                <c:pt idx="1163">
                  <c:v>196.74193548387098</c:v>
                </c:pt>
                <c:pt idx="1164">
                  <c:v>196.38709677419354</c:v>
                </c:pt>
                <c:pt idx="1165">
                  <c:v>195.93548387096774</c:v>
                </c:pt>
                <c:pt idx="1166">
                  <c:v>196.70967741935485</c:v>
                </c:pt>
                <c:pt idx="1167">
                  <c:v>196.54838709677421</c:v>
                </c:pt>
                <c:pt idx="1168">
                  <c:v>197.19354838709677</c:v>
                </c:pt>
                <c:pt idx="1169">
                  <c:v>197.80645161290323</c:v>
                </c:pt>
                <c:pt idx="1170">
                  <c:v>198.96774193548387</c:v>
                </c:pt>
                <c:pt idx="1171">
                  <c:v>198.29032258064515</c:v>
                </c:pt>
                <c:pt idx="1172">
                  <c:v>198.25806451612902</c:v>
                </c:pt>
                <c:pt idx="1173">
                  <c:v>198.2258064516129</c:v>
                </c:pt>
                <c:pt idx="1174">
                  <c:v>198.45161290322579</c:v>
                </c:pt>
                <c:pt idx="1175">
                  <c:v>198.45161290322579</c:v>
                </c:pt>
                <c:pt idx="1176">
                  <c:v>197.93548387096774</c:v>
                </c:pt>
                <c:pt idx="1177">
                  <c:v>197.90322580645162</c:v>
                </c:pt>
                <c:pt idx="1178">
                  <c:v>198.38709677419354</c:v>
                </c:pt>
                <c:pt idx="1179">
                  <c:v>197.96774193548387</c:v>
                </c:pt>
                <c:pt idx="1180">
                  <c:v>198.06451612903226</c:v>
                </c:pt>
                <c:pt idx="1181">
                  <c:v>196.80645161290323</c:v>
                </c:pt>
                <c:pt idx="1182">
                  <c:v>197.48387096774192</c:v>
                </c:pt>
                <c:pt idx="1183">
                  <c:v>197.74193548387098</c:v>
                </c:pt>
                <c:pt idx="1184">
                  <c:v>198.29032258064515</c:v>
                </c:pt>
                <c:pt idx="1185">
                  <c:v>197.87096774193549</c:v>
                </c:pt>
                <c:pt idx="1186">
                  <c:v>197.80645161290323</c:v>
                </c:pt>
                <c:pt idx="1187">
                  <c:v>197.29032258064515</c:v>
                </c:pt>
                <c:pt idx="1188">
                  <c:v>197.03225806451613</c:v>
                </c:pt>
                <c:pt idx="1189">
                  <c:v>197.12903225806451</c:v>
                </c:pt>
                <c:pt idx="1190">
                  <c:v>198.25806451612902</c:v>
                </c:pt>
                <c:pt idx="1191">
                  <c:v>198.74193548387098</c:v>
                </c:pt>
                <c:pt idx="1192">
                  <c:v>199.25806451612902</c:v>
                </c:pt>
                <c:pt idx="1193">
                  <c:v>199.51612903225808</c:v>
                </c:pt>
                <c:pt idx="1194">
                  <c:v>199.29032258064515</c:v>
                </c:pt>
                <c:pt idx="1195">
                  <c:v>200.32258064516128</c:v>
                </c:pt>
                <c:pt idx="1196">
                  <c:v>201.29032258064515</c:v>
                </c:pt>
                <c:pt idx="1197">
                  <c:v>201.12903225806451</c:v>
                </c:pt>
                <c:pt idx="1198">
                  <c:v>201.35483870967741</c:v>
                </c:pt>
                <c:pt idx="1199">
                  <c:v>200.51612903225808</c:v>
                </c:pt>
                <c:pt idx="1200">
                  <c:v>199.87096774193549</c:v>
                </c:pt>
                <c:pt idx="1201">
                  <c:v>199.25806451612902</c:v>
                </c:pt>
                <c:pt idx="1202">
                  <c:v>199.32258064516128</c:v>
                </c:pt>
                <c:pt idx="1203">
                  <c:v>199.2258064516129</c:v>
                </c:pt>
                <c:pt idx="1204">
                  <c:v>199.74193548387098</c:v>
                </c:pt>
                <c:pt idx="1205">
                  <c:v>199.41935483870967</c:v>
                </c:pt>
                <c:pt idx="1206">
                  <c:v>199.32258064516128</c:v>
                </c:pt>
                <c:pt idx="1207">
                  <c:v>199.83870967741936</c:v>
                </c:pt>
                <c:pt idx="1208">
                  <c:v>200.38709677419354</c:v>
                </c:pt>
                <c:pt idx="1209">
                  <c:v>200</c:v>
                </c:pt>
                <c:pt idx="1210">
                  <c:v>201.16129032258064</c:v>
                </c:pt>
                <c:pt idx="1211">
                  <c:v>201.03225806451613</c:v>
                </c:pt>
                <c:pt idx="1212">
                  <c:v>201.03225806451613</c:v>
                </c:pt>
                <c:pt idx="1213">
                  <c:v>201.06451612903226</c:v>
                </c:pt>
                <c:pt idx="1214">
                  <c:v>200.61290322580646</c:v>
                </c:pt>
                <c:pt idx="1215">
                  <c:v>201.06451612903226</c:v>
                </c:pt>
                <c:pt idx="1216">
                  <c:v>201.87096774193549</c:v>
                </c:pt>
                <c:pt idx="1217">
                  <c:v>202.80645161290323</c:v>
                </c:pt>
                <c:pt idx="1218">
                  <c:v>202.61290322580646</c:v>
                </c:pt>
                <c:pt idx="1219">
                  <c:v>202.45161290322579</c:v>
                </c:pt>
                <c:pt idx="1220">
                  <c:v>202.70967741935485</c:v>
                </c:pt>
                <c:pt idx="1221">
                  <c:v>202.58064516129033</c:v>
                </c:pt>
                <c:pt idx="1222">
                  <c:v>202.7741935483871</c:v>
                </c:pt>
                <c:pt idx="1223">
                  <c:v>201.87096774193549</c:v>
                </c:pt>
                <c:pt idx="1224">
                  <c:v>201.2258064516129</c:v>
                </c:pt>
                <c:pt idx="1225">
                  <c:v>201.35483870967741</c:v>
                </c:pt>
                <c:pt idx="1226">
                  <c:v>201.19354838709677</c:v>
                </c:pt>
                <c:pt idx="1227">
                  <c:v>200.2258064516129</c:v>
                </c:pt>
                <c:pt idx="1228">
                  <c:v>200.09677419354838</c:v>
                </c:pt>
                <c:pt idx="1229">
                  <c:v>200.67741935483872</c:v>
                </c:pt>
                <c:pt idx="1230">
                  <c:v>200.70967741935485</c:v>
                </c:pt>
                <c:pt idx="1231">
                  <c:v>200.54838709677421</c:v>
                </c:pt>
                <c:pt idx="1232">
                  <c:v>201.38709677419354</c:v>
                </c:pt>
                <c:pt idx="1233">
                  <c:v>202.29032258064515</c:v>
                </c:pt>
                <c:pt idx="1234">
                  <c:v>203.58064516129033</c:v>
                </c:pt>
                <c:pt idx="1235">
                  <c:v>204.64516129032259</c:v>
                </c:pt>
                <c:pt idx="1236">
                  <c:v>206</c:v>
                </c:pt>
                <c:pt idx="1237">
                  <c:v>207.7741935483871</c:v>
                </c:pt>
                <c:pt idx="1238">
                  <c:v>208.12903225806451</c:v>
                </c:pt>
                <c:pt idx="1239">
                  <c:v>208.19354838709677</c:v>
                </c:pt>
                <c:pt idx="1240">
                  <c:v>209.06451612903226</c:v>
                </c:pt>
                <c:pt idx="1241">
                  <c:v>209.48387096774192</c:v>
                </c:pt>
                <c:pt idx="1242">
                  <c:v>210.96774193548387</c:v>
                </c:pt>
                <c:pt idx="1243">
                  <c:v>212.41935483870967</c:v>
                </c:pt>
                <c:pt idx="1244">
                  <c:v>213.41935483870967</c:v>
                </c:pt>
                <c:pt idx="1245">
                  <c:v>214.93548387096774</c:v>
                </c:pt>
                <c:pt idx="1246">
                  <c:v>215.29032258064515</c:v>
                </c:pt>
                <c:pt idx="1247">
                  <c:v>215.96774193548387</c:v>
                </c:pt>
                <c:pt idx="1248">
                  <c:v>216.19354838709677</c:v>
                </c:pt>
                <c:pt idx="1249">
                  <c:v>217.74193548387098</c:v>
                </c:pt>
                <c:pt idx="1250">
                  <c:v>218.74193548387098</c:v>
                </c:pt>
                <c:pt idx="1251">
                  <c:v>219.12903225806451</c:v>
                </c:pt>
                <c:pt idx="1252">
                  <c:v>219.48387096774192</c:v>
                </c:pt>
                <c:pt idx="1253">
                  <c:v>220.54838709677421</c:v>
                </c:pt>
                <c:pt idx="1254">
                  <c:v>221.51612903225808</c:v>
                </c:pt>
                <c:pt idx="1255">
                  <c:v>222.58064516129033</c:v>
                </c:pt>
                <c:pt idx="1256">
                  <c:v>222.70967741935485</c:v>
                </c:pt>
                <c:pt idx="1257">
                  <c:v>223.32258064516128</c:v>
                </c:pt>
                <c:pt idx="1258">
                  <c:v>225.09677419354838</c:v>
                </c:pt>
                <c:pt idx="1259">
                  <c:v>226.35483870967741</c:v>
                </c:pt>
                <c:pt idx="1260">
                  <c:v>227</c:v>
                </c:pt>
                <c:pt idx="1261">
                  <c:v>228.54838709677421</c:v>
                </c:pt>
                <c:pt idx="1262">
                  <c:v>229.51612903225808</c:v>
                </c:pt>
                <c:pt idx="1263">
                  <c:v>229.61290322580646</c:v>
                </c:pt>
                <c:pt idx="1264">
                  <c:v>230.16129032258064</c:v>
                </c:pt>
                <c:pt idx="1265">
                  <c:v>230.41935483870967</c:v>
                </c:pt>
                <c:pt idx="1266">
                  <c:v>230.19354838709677</c:v>
                </c:pt>
                <c:pt idx="1267">
                  <c:v>229.90322580645162</c:v>
                </c:pt>
                <c:pt idx="1268">
                  <c:v>229.87096774193549</c:v>
                </c:pt>
                <c:pt idx="1269">
                  <c:v>230.09677419354838</c:v>
                </c:pt>
                <c:pt idx="1270">
                  <c:v>230.12903225806451</c:v>
                </c:pt>
                <c:pt idx="1271">
                  <c:v>230.41935483870967</c:v>
                </c:pt>
                <c:pt idx="1272">
                  <c:v>230.67741935483872</c:v>
                </c:pt>
                <c:pt idx="1273">
                  <c:v>230.83870967741936</c:v>
                </c:pt>
                <c:pt idx="1274">
                  <c:v>231.12903225806451</c:v>
                </c:pt>
                <c:pt idx="1275">
                  <c:v>230.61290322580646</c:v>
                </c:pt>
                <c:pt idx="1276">
                  <c:v>230.2258064516129</c:v>
                </c:pt>
                <c:pt idx="1277">
                  <c:v>228.93548387096774</c:v>
                </c:pt>
                <c:pt idx="1278">
                  <c:v>228.25806451612902</c:v>
                </c:pt>
                <c:pt idx="1279">
                  <c:v>227.90322580645162</c:v>
                </c:pt>
                <c:pt idx="1280">
                  <c:v>227.35483870967741</c:v>
                </c:pt>
                <c:pt idx="1281">
                  <c:v>225.70967741935485</c:v>
                </c:pt>
                <c:pt idx="1282">
                  <c:v>224.67741935483872</c:v>
                </c:pt>
                <c:pt idx="1283">
                  <c:v>224.38709677419354</c:v>
                </c:pt>
                <c:pt idx="1284">
                  <c:v>223.74193548387098</c:v>
                </c:pt>
                <c:pt idx="1285">
                  <c:v>222.70967741935485</c:v>
                </c:pt>
                <c:pt idx="1286">
                  <c:v>221.74193548387098</c:v>
                </c:pt>
                <c:pt idx="1287">
                  <c:v>220.64516129032259</c:v>
                </c:pt>
                <c:pt idx="1288">
                  <c:v>219.80645161290323</c:v>
                </c:pt>
                <c:pt idx="1289">
                  <c:v>218.80645161290323</c:v>
                </c:pt>
                <c:pt idx="1290">
                  <c:v>218.06451612903226</c:v>
                </c:pt>
                <c:pt idx="1291">
                  <c:v>217</c:v>
                </c:pt>
                <c:pt idx="1292">
                  <c:v>216.48387096774192</c:v>
                </c:pt>
                <c:pt idx="1293">
                  <c:v>215.80645161290323</c:v>
                </c:pt>
                <c:pt idx="1294">
                  <c:v>215.54838709677421</c:v>
                </c:pt>
                <c:pt idx="1295">
                  <c:v>214.64516129032259</c:v>
                </c:pt>
                <c:pt idx="1296">
                  <c:v>213.54838709677421</c:v>
                </c:pt>
                <c:pt idx="1297">
                  <c:v>213.16129032258064</c:v>
                </c:pt>
                <c:pt idx="1298">
                  <c:v>212.12903225806451</c:v>
                </c:pt>
                <c:pt idx="1299">
                  <c:v>211.19354838709677</c:v>
                </c:pt>
                <c:pt idx="1300">
                  <c:v>210.09677419354838</c:v>
                </c:pt>
                <c:pt idx="1301">
                  <c:v>209.51612903225808</c:v>
                </c:pt>
                <c:pt idx="1302">
                  <c:v>208.2258064516129</c:v>
                </c:pt>
                <c:pt idx="1303">
                  <c:v>206.48387096774192</c:v>
                </c:pt>
                <c:pt idx="1304">
                  <c:v>205.25806451612902</c:v>
                </c:pt>
                <c:pt idx="1305">
                  <c:v>204.32258064516128</c:v>
                </c:pt>
                <c:pt idx="1306">
                  <c:v>203.70967741935485</c:v>
                </c:pt>
                <c:pt idx="1307">
                  <c:v>202.48387096774192</c:v>
                </c:pt>
                <c:pt idx="1308">
                  <c:v>202.29032258064515</c:v>
                </c:pt>
                <c:pt idx="1309">
                  <c:v>201.87096774193549</c:v>
                </c:pt>
                <c:pt idx="1310">
                  <c:v>200.87096774193549</c:v>
                </c:pt>
                <c:pt idx="1311">
                  <c:v>200.83870967741936</c:v>
                </c:pt>
                <c:pt idx="1312">
                  <c:v>200.96774193548387</c:v>
                </c:pt>
                <c:pt idx="1313">
                  <c:v>201.96774193548387</c:v>
                </c:pt>
                <c:pt idx="1314">
                  <c:v>201.74193548387098</c:v>
                </c:pt>
                <c:pt idx="1315">
                  <c:v>201.41935483870967</c:v>
                </c:pt>
                <c:pt idx="1316">
                  <c:v>201.54838709677421</c:v>
                </c:pt>
                <c:pt idx="1317">
                  <c:v>201.06451612903226</c:v>
                </c:pt>
                <c:pt idx="1318">
                  <c:v>200.87096774193549</c:v>
                </c:pt>
                <c:pt idx="1319">
                  <c:v>200.93548387096774</c:v>
                </c:pt>
                <c:pt idx="1320">
                  <c:v>200.90322580645162</c:v>
                </c:pt>
                <c:pt idx="1321">
                  <c:v>200.2258064516129</c:v>
                </c:pt>
                <c:pt idx="1322">
                  <c:v>199.93548387096774</c:v>
                </c:pt>
                <c:pt idx="1323">
                  <c:v>200</c:v>
                </c:pt>
                <c:pt idx="1324">
                  <c:v>200.35483870967741</c:v>
                </c:pt>
                <c:pt idx="1325">
                  <c:v>199.67741935483872</c:v>
                </c:pt>
                <c:pt idx="1326">
                  <c:v>199.61290322580646</c:v>
                </c:pt>
                <c:pt idx="1327">
                  <c:v>198.93548387096774</c:v>
                </c:pt>
                <c:pt idx="1328">
                  <c:v>198.90322580645162</c:v>
                </c:pt>
                <c:pt idx="1329">
                  <c:v>198.87096774193549</c:v>
                </c:pt>
                <c:pt idx="1330">
                  <c:v>198.35483870967741</c:v>
                </c:pt>
                <c:pt idx="1331">
                  <c:v>197.80645161290323</c:v>
                </c:pt>
                <c:pt idx="1332">
                  <c:v>197.29032258064515</c:v>
                </c:pt>
                <c:pt idx="1333">
                  <c:v>197.90322580645162</c:v>
                </c:pt>
                <c:pt idx="1334">
                  <c:v>198.67741935483872</c:v>
                </c:pt>
                <c:pt idx="1335">
                  <c:v>198.45161290322579</c:v>
                </c:pt>
                <c:pt idx="1336">
                  <c:v>198.06451612903226</c:v>
                </c:pt>
                <c:pt idx="1337">
                  <c:v>198.38709677419354</c:v>
                </c:pt>
                <c:pt idx="1338">
                  <c:v>198.45161290322579</c:v>
                </c:pt>
                <c:pt idx="1339">
                  <c:v>199.32258064516128</c:v>
                </c:pt>
                <c:pt idx="1340">
                  <c:v>198.96774193548387</c:v>
                </c:pt>
                <c:pt idx="1341">
                  <c:v>199.32258064516128</c:v>
                </c:pt>
                <c:pt idx="1342">
                  <c:v>198.32258064516128</c:v>
                </c:pt>
                <c:pt idx="1343">
                  <c:v>198.58064516129033</c:v>
                </c:pt>
                <c:pt idx="1344">
                  <c:v>198.51612903225808</c:v>
                </c:pt>
                <c:pt idx="1345">
                  <c:v>198.06451612903226</c:v>
                </c:pt>
                <c:pt idx="1346">
                  <c:v>198.03225806451613</c:v>
                </c:pt>
                <c:pt idx="1347">
                  <c:v>197.67741935483872</c:v>
                </c:pt>
                <c:pt idx="1348">
                  <c:v>197.96774193548387</c:v>
                </c:pt>
                <c:pt idx="1349">
                  <c:v>198.25806451612902</c:v>
                </c:pt>
                <c:pt idx="1350">
                  <c:v>198</c:v>
                </c:pt>
                <c:pt idx="1351">
                  <c:v>198.38709677419354</c:v>
                </c:pt>
                <c:pt idx="1352">
                  <c:v>199.19354838709677</c:v>
                </c:pt>
                <c:pt idx="1353">
                  <c:v>199.80645161290323</c:v>
                </c:pt>
                <c:pt idx="1354">
                  <c:v>198.96774193548387</c:v>
                </c:pt>
                <c:pt idx="1355">
                  <c:v>198</c:v>
                </c:pt>
                <c:pt idx="1356">
                  <c:v>198.51612903225808</c:v>
                </c:pt>
                <c:pt idx="1357">
                  <c:v>198</c:v>
                </c:pt>
                <c:pt idx="1358">
                  <c:v>198.29032258064515</c:v>
                </c:pt>
                <c:pt idx="1359">
                  <c:v>198.25806451612902</c:v>
                </c:pt>
                <c:pt idx="1360">
                  <c:v>198.16129032258064</c:v>
                </c:pt>
                <c:pt idx="1361">
                  <c:v>198.48387096774192</c:v>
                </c:pt>
                <c:pt idx="1362">
                  <c:v>198.45161290322579</c:v>
                </c:pt>
                <c:pt idx="1363">
                  <c:v>198.51612903225808</c:v>
                </c:pt>
                <c:pt idx="1364">
                  <c:v>198.06451612903226</c:v>
                </c:pt>
                <c:pt idx="1365">
                  <c:v>197.54838709677421</c:v>
                </c:pt>
                <c:pt idx="1366">
                  <c:v>198.61290322580646</c:v>
                </c:pt>
                <c:pt idx="1367">
                  <c:v>199.16129032258064</c:v>
                </c:pt>
                <c:pt idx="1368">
                  <c:v>199.29032258064515</c:v>
                </c:pt>
                <c:pt idx="1369">
                  <c:v>199.32258064516128</c:v>
                </c:pt>
                <c:pt idx="1370">
                  <c:v>198.41935483870967</c:v>
                </c:pt>
                <c:pt idx="1371">
                  <c:v>199.32258064516128</c:v>
                </c:pt>
                <c:pt idx="1372">
                  <c:v>199.35483870967741</c:v>
                </c:pt>
                <c:pt idx="1373">
                  <c:v>199.38709677419354</c:v>
                </c:pt>
                <c:pt idx="1374">
                  <c:v>199.83870967741936</c:v>
                </c:pt>
                <c:pt idx="1375">
                  <c:v>199.90322580645162</c:v>
                </c:pt>
                <c:pt idx="1376">
                  <c:v>200.25806451612902</c:v>
                </c:pt>
                <c:pt idx="1377">
                  <c:v>199.48387096774192</c:v>
                </c:pt>
                <c:pt idx="1378">
                  <c:v>199.7741935483871</c:v>
                </c:pt>
                <c:pt idx="1379">
                  <c:v>199.38709677419354</c:v>
                </c:pt>
                <c:pt idx="1380">
                  <c:v>199.83870967741936</c:v>
                </c:pt>
                <c:pt idx="1381">
                  <c:v>199.25806451612902</c:v>
                </c:pt>
                <c:pt idx="1382">
                  <c:v>198.2258064516129</c:v>
                </c:pt>
                <c:pt idx="1383">
                  <c:v>197.2258064516129</c:v>
                </c:pt>
                <c:pt idx="1384">
                  <c:v>196.83870967741936</c:v>
                </c:pt>
                <c:pt idx="1385">
                  <c:v>196.80645161290323</c:v>
                </c:pt>
                <c:pt idx="1386">
                  <c:v>197.70967741935485</c:v>
                </c:pt>
                <c:pt idx="1387">
                  <c:v>196.70967741935485</c:v>
                </c:pt>
                <c:pt idx="1388">
                  <c:v>196.83870967741936</c:v>
                </c:pt>
                <c:pt idx="1389">
                  <c:v>197.51612903225808</c:v>
                </c:pt>
                <c:pt idx="1390">
                  <c:v>197.32258064516128</c:v>
                </c:pt>
                <c:pt idx="1391">
                  <c:v>198</c:v>
                </c:pt>
                <c:pt idx="1392">
                  <c:v>197.93548387096774</c:v>
                </c:pt>
                <c:pt idx="1393">
                  <c:v>198.64516129032259</c:v>
                </c:pt>
                <c:pt idx="1394">
                  <c:v>198.58064516129033</c:v>
                </c:pt>
                <c:pt idx="1395">
                  <c:v>198.09677419354838</c:v>
                </c:pt>
                <c:pt idx="1396">
                  <c:v>198.67741935483872</c:v>
                </c:pt>
                <c:pt idx="1397">
                  <c:v>198.54838709677421</c:v>
                </c:pt>
                <c:pt idx="1398">
                  <c:v>197.96774193548387</c:v>
                </c:pt>
                <c:pt idx="1399">
                  <c:v>197.83870967741936</c:v>
                </c:pt>
                <c:pt idx="1400">
                  <c:v>198.06451612903226</c:v>
                </c:pt>
                <c:pt idx="1401">
                  <c:v>198.80645161290323</c:v>
                </c:pt>
                <c:pt idx="1402">
                  <c:v>198.16129032258064</c:v>
                </c:pt>
                <c:pt idx="1403">
                  <c:v>197.80645161290323</c:v>
                </c:pt>
                <c:pt idx="1404">
                  <c:v>197.80645161290323</c:v>
                </c:pt>
                <c:pt idx="1405">
                  <c:v>197.64516129032259</c:v>
                </c:pt>
                <c:pt idx="1406">
                  <c:v>196.67741935483872</c:v>
                </c:pt>
                <c:pt idx="1407">
                  <c:v>196.48387096774192</c:v>
                </c:pt>
                <c:pt idx="1408">
                  <c:v>196.48387096774192</c:v>
                </c:pt>
                <c:pt idx="1409">
                  <c:v>196.32258064516128</c:v>
                </c:pt>
                <c:pt idx="1410">
                  <c:v>197.38709677419354</c:v>
                </c:pt>
                <c:pt idx="1411">
                  <c:v>197.38709677419354</c:v>
                </c:pt>
                <c:pt idx="1412">
                  <c:v>198.29032258064515</c:v>
                </c:pt>
                <c:pt idx="1413">
                  <c:v>198.90322580645162</c:v>
                </c:pt>
                <c:pt idx="1414">
                  <c:v>198.93548387096774</c:v>
                </c:pt>
                <c:pt idx="1415">
                  <c:v>199.45161290322579</c:v>
                </c:pt>
                <c:pt idx="1416">
                  <c:v>200.2258064516129</c:v>
                </c:pt>
                <c:pt idx="1417">
                  <c:v>200.35483870967741</c:v>
                </c:pt>
                <c:pt idx="1418">
                  <c:v>201.29032258064515</c:v>
                </c:pt>
                <c:pt idx="1419">
                  <c:v>201.38709677419354</c:v>
                </c:pt>
                <c:pt idx="1420">
                  <c:v>201.35483870967741</c:v>
                </c:pt>
                <c:pt idx="1421">
                  <c:v>200.64516129032259</c:v>
                </c:pt>
                <c:pt idx="1422">
                  <c:v>200.25806451612902</c:v>
                </c:pt>
                <c:pt idx="1423">
                  <c:v>199.83870967741936</c:v>
                </c:pt>
                <c:pt idx="1424">
                  <c:v>200.12903225806451</c:v>
                </c:pt>
                <c:pt idx="1425">
                  <c:v>199.93548387096774</c:v>
                </c:pt>
                <c:pt idx="1426">
                  <c:v>200.58064516129033</c:v>
                </c:pt>
                <c:pt idx="1427">
                  <c:v>199.93548387096774</c:v>
                </c:pt>
                <c:pt idx="1428">
                  <c:v>199.19354838709677</c:v>
                </c:pt>
                <c:pt idx="1429">
                  <c:v>200</c:v>
                </c:pt>
                <c:pt idx="1430">
                  <c:v>199.41935483870967</c:v>
                </c:pt>
                <c:pt idx="1431">
                  <c:v>199.83870967741936</c:v>
                </c:pt>
                <c:pt idx="1432">
                  <c:v>199.09677419354838</c:v>
                </c:pt>
                <c:pt idx="1433">
                  <c:v>198.7741935483871</c:v>
                </c:pt>
                <c:pt idx="1434">
                  <c:v>199.70967741935485</c:v>
                </c:pt>
                <c:pt idx="1435">
                  <c:v>199.54838709677421</c:v>
                </c:pt>
                <c:pt idx="1436">
                  <c:v>198.87096774193549</c:v>
                </c:pt>
                <c:pt idx="1437">
                  <c:v>198.90322580645162</c:v>
                </c:pt>
                <c:pt idx="1438">
                  <c:v>199.12903225806451</c:v>
                </c:pt>
                <c:pt idx="1439">
                  <c:v>200.09677419354838</c:v>
                </c:pt>
                <c:pt idx="1440">
                  <c:v>200</c:v>
                </c:pt>
                <c:pt idx="1441">
                  <c:v>199.93548387096774</c:v>
                </c:pt>
                <c:pt idx="1442">
                  <c:v>200.06451612903226</c:v>
                </c:pt>
                <c:pt idx="1443">
                  <c:v>199.74193548387098</c:v>
                </c:pt>
                <c:pt idx="1444">
                  <c:v>199</c:v>
                </c:pt>
                <c:pt idx="1445">
                  <c:v>199.32258064516128</c:v>
                </c:pt>
                <c:pt idx="1446">
                  <c:v>198.54838709677421</c:v>
                </c:pt>
                <c:pt idx="1447">
                  <c:v>197.96774193548387</c:v>
                </c:pt>
                <c:pt idx="1448">
                  <c:v>198.19354838709677</c:v>
                </c:pt>
                <c:pt idx="1449">
                  <c:v>197.70967741935485</c:v>
                </c:pt>
                <c:pt idx="1450">
                  <c:v>197.35483870967741</c:v>
                </c:pt>
                <c:pt idx="1451">
                  <c:v>196.96774193548387</c:v>
                </c:pt>
                <c:pt idx="1452">
                  <c:v>197.87096774193549</c:v>
                </c:pt>
                <c:pt idx="1453">
                  <c:v>198.41935483870967</c:v>
                </c:pt>
                <c:pt idx="1454">
                  <c:v>199.19354838709677</c:v>
                </c:pt>
                <c:pt idx="1455">
                  <c:v>198.64516129032259</c:v>
                </c:pt>
                <c:pt idx="1456">
                  <c:v>199.03225806451613</c:v>
                </c:pt>
                <c:pt idx="1457">
                  <c:v>199</c:v>
                </c:pt>
                <c:pt idx="1458">
                  <c:v>199.58064516129033</c:v>
                </c:pt>
                <c:pt idx="1459">
                  <c:v>199.74193548387098</c:v>
                </c:pt>
                <c:pt idx="1460">
                  <c:v>199.03225806451613</c:v>
                </c:pt>
                <c:pt idx="1461">
                  <c:v>199.09677419354838</c:v>
                </c:pt>
                <c:pt idx="1462">
                  <c:v>199.32258064516128</c:v>
                </c:pt>
                <c:pt idx="1463">
                  <c:v>200.25806451612902</c:v>
                </c:pt>
                <c:pt idx="1464">
                  <c:v>200.67741935483872</c:v>
                </c:pt>
                <c:pt idx="1465">
                  <c:v>199.90322580645162</c:v>
                </c:pt>
                <c:pt idx="1466">
                  <c:v>200.7741935483871</c:v>
                </c:pt>
                <c:pt idx="1467">
                  <c:v>201.41935483870967</c:v>
                </c:pt>
                <c:pt idx="1468">
                  <c:v>201.96774193548387</c:v>
                </c:pt>
                <c:pt idx="1469">
                  <c:v>201.93548387096774</c:v>
                </c:pt>
                <c:pt idx="1470">
                  <c:v>202.12903225806451</c:v>
                </c:pt>
                <c:pt idx="1471">
                  <c:v>202.12903225806451</c:v>
                </c:pt>
                <c:pt idx="1472">
                  <c:v>201.74193548387098</c:v>
                </c:pt>
                <c:pt idx="1473">
                  <c:v>201.2258064516129</c:v>
                </c:pt>
                <c:pt idx="1474">
                  <c:v>201.09677419354838</c:v>
                </c:pt>
                <c:pt idx="1475">
                  <c:v>202.25806451612902</c:v>
                </c:pt>
                <c:pt idx="1476">
                  <c:v>202.93548387096774</c:v>
                </c:pt>
                <c:pt idx="1477">
                  <c:v>203.38709677419354</c:v>
                </c:pt>
                <c:pt idx="1478">
                  <c:v>203.48387096774192</c:v>
                </c:pt>
                <c:pt idx="1479">
                  <c:v>202.41935483870967</c:v>
                </c:pt>
                <c:pt idx="1480">
                  <c:v>202.90322580645162</c:v>
                </c:pt>
                <c:pt idx="1481">
                  <c:v>202.83870967741936</c:v>
                </c:pt>
                <c:pt idx="1482">
                  <c:v>203</c:v>
                </c:pt>
                <c:pt idx="1483">
                  <c:v>202.2258064516129</c:v>
                </c:pt>
                <c:pt idx="1484">
                  <c:v>201.70967741935485</c:v>
                </c:pt>
                <c:pt idx="1485">
                  <c:v>201.96774193548387</c:v>
                </c:pt>
                <c:pt idx="1486">
                  <c:v>202.45161290322579</c:v>
                </c:pt>
                <c:pt idx="1487">
                  <c:v>202.96774193548387</c:v>
                </c:pt>
                <c:pt idx="1488">
                  <c:v>202.16129032258064</c:v>
                </c:pt>
                <c:pt idx="1489">
                  <c:v>201.70967741935485</c:v>
                </c:pt>
                <c:pt idx="1490">
                  <c:v>201.90322580645162</c:v>
                </c:pt>
                <c:pt idx="1491">
                  <c:v>201.54838709677421</c:v>
                </c:pt>
                <c:pt idx="1492">
                  <c:v>201.09677419354838</c:v>
                </c:pt>
                <c:pt idx="1493">
                  <c:v>201.2258064516129</c:v>
                </c:pt>
                <c:pt idx="1494">
                  <c:v>200.93548387096774</c:v>
                </c:pt>
                <c:pt idx="1495">
                  <c:v>200.93548387096774</c:v>
                </c:pt>
                <c:pt idx="1496">
                  <c:v>201.48387096774192</c:v>
                </c:pt>
                <c:pt idx="1497">
                  <c:v>201.58064516129033</c:v>
                </c:pt>
                <c:pt idx="1498">
                  <c:v>201.25806451612902</c:v>
                </c:pt>
                <c:pt idx="1499">
                  <c:v>200.54838709677421</c:v>
                </c:pt>
                <c:pt idx="1500">
                  <c:v>200.12903225806451</c:v>
                </c:pt>
                <c:pt idx="1501">
                  <c:v>199.64516129032259</c:v>
                </c:pt>
                <c:pt idx="1502">
                  <c:v>199.74193548387098</c:v>
                </c:pt>
                <c:pt idx="1503">
                  <c:v>199.58064516129033</c:v>
                </c:pt>
                <c:pt idx="1504">
                  <c:v>199.35483870967741</c:v>
                </c:pt>
                <c:pt idx="1505">
                  <c:v>199.09677419354838</c:v>
                </c:pt>
                <c:pt idx="1506">
                  <c:v>198.38709677419354</c:v>
                </c:pt>
                <c:pt idx="1507">
                  <c:v>197.7741935483871</c:v>
                </c:pt>
                <c:pt idx="1508">
                  <c:v>197.19354838709677</c:v>
                </c:pt>
                <c:pt idx="1509">
                  <c:v>197</c:v>
                </c:pt>
                <c:pt idx="1510">
                  <c:v>196.83870967741936</c:v>
                </c:pt>
                <c:pt idx="1511">
                  <c:v>196.64516129032259</c:v>
                </c:pt>
                <c:pt idx="1512">
                  <c:v>197.38709677419354</c:v>
                </c:pt>
                <c:pt idx="1513">
                  <c:v>197.96774193548387</c:v>
                </c:pt>
                <c:pt idx="1514">
                  <c:v>198.2258064516129</c:v>
                </c:pt>
                <c:pt idx="1515">
                  <c:v>198.38709677419354</c:v>
                </c:pt>
                <c:pt idx="1516">
                  <c:v>197.93548387096774</c:v>
                </c:pt>
                <c:pt idx="1517">
                  <c:v>197.41935483870967</c:v>
                </c:pt>
                <c:pt idx="1518">
                  <c:v>197.32258064516128</c:v>
                </c:pt>
                <c:pt idx="1519">
                  <c:v>198.25806451612902</c:v>
                </c:pt>
                <c:pt idx="1520">
                  <c:v>198.12903225806451</c:v>
                </c:pt>
                <c:pt idx="1521">
                  <c:v>197.64516129032259</c:v>
                </c:pt>
                <c:pt idx="1522">
                  <c:v>198.29032258064515</c:v>
                </c:pt>
                <c:pt idx="1523">
                  <c:v>198.7741935483871</c:v>
                </c:pt>
                <c:pt idx="1524">
                  <c:v>198.38709677419354</c:v>
                </c:pt>
                <c:pt idx="1525">
                  <c:v>198.70967741935485</c:v>
                </c:pt>
                <c:pt idx="1526">
                  <c:v>198.41935483870967</c:v>
                </c:pt>
                <c:pt idx="1527">
                  <c:v>198.45161290322579</c:v>
                </c:pt>
                <c:pt idx="1528">
                  <c:v>197.51612903225808</c:v>
                </c:pt>
                <c:pt idx="1529">
                  <c:v>197.90322580645162</c:v>
                </c:pt>
                <c:pt idx="1530">
                  <c:v>197.93548387096774</c:v>
                </c:pt>
                <c:pt idx="1531">
                  <c:v>197.83870967741936</c:v>
                </c:pt>
                <c:pt idx="1532">
                  <c:v>197.19354838709677</c:v>
                </c:pt>
                <c:pt idx="1533">
                  <c:v>197.67741935483872</c:v>
                </c:pt>
                <c:pt idx="1534">
                  <c:v>197.96774193548387</c:v>
                </c:pt>
                <c:pt idx="1535">
                  <c:v>197.96774193548387</c:v>
                </c:pt>
                <c:pt idx="1536">
                  <c:v>198.03225806451613</c:v>
                </c:pt>
                <c:pt idx="1537">
                  <c:v>198.12903225806451</c:v>
                </c:pt>
                <c:pt idx="1538">
                  <c:v>198.38709677419354</c:v>
                </c:pt>
                <c:pt idx="1539">
                  <c:v>198.96774193548387</c:v>
                </c:pt>
                <c:pt idx="1540">
                  <c:v>199.67741935483872</c:v>
                </c:pt>
                <c:pt idx="1541">
                  <c:v>200.7741935483871</c:v>
                </c:pt>
                <c:pt idx="1542">
                  <c:v>200.74193548387098</c:v>
                </c:pt>
                <c:pt idx="1543">
                  <c:v>200.74193548387098</c:v>
                </c:pt>
                <c:pt idx="1544">
                  <c:v>200.12903225806451</c:v>
                </c:pt>
                <c:pt idx="1545">
                  <c:v>200.7741935483871</c:v>
                </c:pt>
                <c:pt idx="1546">
                  <c:v>200.80645161290323</c:v>
                </c:pt>
                <c:pt idx="1547">
                  <c:v>200.70967741935485</c:v>
                </c:pt>
                <c:pt idx="1548">
                  <c:v>200.58064516129033</c:v>
                </c:pt>
                <c:pt idx="1549">
                  <c:v>200.74193548387098</c:v>
                </c:pt>
                <c:pt idx="1550">
                  <c:v>200.80645161290323</c:v>
                </c:pt>
                <c:pt idx="1551">
                  <c:v>201.25806451612902</c:v>
                </c:pt>
                <c:pt idx="1552">
                  <c:v>201.19354838709677</c:v>
                </c:pt>
                <c:pt idx="1553">
                  <c:v>201.25806451612902</c:v>
                </c:pt>
                <c:pt idx="1554">
                  <c:v>201.54838709677421</c:v>
                </c:pt>
                <c:pt idx="1555">
                  <c:v>201.54838709677421</c:v>
                </c:pt>
                <c:pt idx="1556">
                  <c:v>200.80645161290323</c:v>
                </c:pt>
                <c:pt idx="1557">
                  <c:v>201.19354838709677</c:v>
                </c:pt>
                <c:pt idx="1558">
                  <c:v>201.51612903225808</c:v>
                </c:pt>
                <c:pt idx="1559">
                  <c:v>202.54838709677421</c:v>
                </c:pt>
                <c:pt idx="1560">
                  <c:v>202.70967741935485</c:v>
                </c:pt>
                <c:pt idx="1561">
                  <c:v>203.35483870967741</c:v>
                </c:pt>
                <c:pt idx="1562">
                  <c:v>203.61290322580646</c:v>
                </c:pt>
                <c:pt idx="1563">
                  <c:v>204.41935483870967</c:v>
                </c:pt>
                <c:pt idx="1564">
                  <c:v>204.7741935483871</c:v>
                </c:pt>
                <c:pt idx="1565">
                  <c:v>203.93548387096774</c:v>
                </c:pt>
                <c:pt idx="1566">
                  <c:v>204.41935483870967</c:v>
                </c:pt>
                <c:pt idx="1567">
                  <c:v>204.64516129032259</c:v>
                </c:pt>
                <c:pt idx="1568">
                  <c:v>205.19354838709677</c:v>
                </c:pt>
                <c:pt idx="1569">
                  <c:v>205.45161290322579</c:v>
                </c:pt>
                <c:pt idx="1570">
                  <c:v>205.67741935483872</c:v>
                </c:pt>
                <c:pt idx="1571">
                  <c:v>205.74193548387098</c:v>
                </c:pt>
                <c:pt idx="1572">
                  <c:v>205.58064516129033</c:v>
                </c:pt>
                <c:pt idx="1573">
                  <c:v>204.83870967741936</c:v>
                </c:pt>
                <c:pt idx="1574">
                  <c:v>204.93548387096774</c:v>
                </c:pt>
                <c:pt idx="1575">
                  <c:v>204.51612903225808</c:v>
                </c:pt>
                <c:pt idx="1576">
                  <c:v>204.32258064516128</c:v>
                </c:pt>
                <c:pt idx="1577">
                  <c:v>203.83870967741936</c:v>
                </c:pt>
                <c:pt idx="1578">
                  <c:v>203.38709677419354</c:v>
                </c:pt>
                <c:pt idx="1579">
                  <c:v>203.45161290322579</c:v>
                </c:pt>
                <c:pt idx="1580">
                  <c:v>203.61290322580646</c:v>
                </c:pt>
                <c:pt idx="1581">
                  <c:v>203.45161290322579</c:v>
                </c:pt>
                <c:pt idx="1582">
                  <c:v>203.90322580645162</c:v>
                </c:pt>
                <c:pt idx="1583">
                  <c:v>204.19354838709677</c:v>
                </c:pt>
                <c:pt idx="1584">
                  <c:v>204.48387096774192</c:v>
                </c:pt>
                <c:pt idx="1585">
                  <c:v>204.38709677419354</c:v>
                </c:pt>
                <c:pt idx="1586">
                  <c:v>204.06451612903226</c:v>
                </c:pt>
                <c:pt idx="1587">
                  <c:v>204</c:v>
                </c:pt>
                <c:pt idx="1588">
                  <c:v>203.67741935483872</c:v>
                </c:pt>
                <c:pt idx="1589">
                  <c:v>202.54838709677421</c:v>
                </c:pt>
                <c:pt idx="1590">
                  <c:v>202.25806451612902</c:v>
                </c:pt>
                <c:pt idx="1591">
                  <c:v>201.64516129032259</c:v>
                </c:pt>
                <c:pt idx="1592">
                  <c:v>201.93548387096774</c:v>
                </c:pt>
                <c:pt idx="1593">
                  <c:v>201.61290322580646</c:v>
                </c:pt>
                <c:pt idx="1594">
                  <c:v>201.19354838709677</c:v>
                </c:pt>
                <c:pt idx="1595">
                  <c:v>201.25806451612902</c:v>
                </c:pt>
                <c:pt idx="1596">
                  <c:v>202.19354838709677</c:v>
                </c:pt>
                <c:pt idx="1597">
                  <c:v>201.7741935483871</c:v>
                </c:pt>
                <c:pt idx="1598">
                  <c:v>201.25806451612902</c:v>
                </c:pt>
                <c:pt idx="1599">
                  <c:v>201.03225806451613</c:v>
                </c:pt>
                <c:pt idx="1600">
                  <c:v>200.67741935483872</c:v>
                </c:pt>
                <c:pt idx="1601">
                  <c:v>200.32258064516128</c:v>
                </c:pt>
                <c:pt idx="1602">
                  <c:v>199.38709677419354</c:v>
                </c:pt>
                <c:pt idx="1603">
                  <c:v>198.45161290322579</c:v>
                </c:pt>
                <c:pt idx="1604">
                  <c:v>199.67741935483872</c:v>
                </c:pt>
                <c:pt idx="1605">
                  <c:v>198.83870967741936</c:v>
                </c:pt>
                <c:pt idx="1606">
                  <c:v>198.96774193548387</c:v>
                </c:pt>
                <c:pt idx="1607">
                  <c:v>198</c:v>
                </c:pt>
                <c:pt idx="1608">
                  <c:v>198.45161290322579</c:v>
                </c:pt>
                <c:pt idx="1609">
                  <c:v>199.12903225806451</c:v>
                </c:pt>
                <c:pt idx="1610">
                  <c:v>198.87096774193549</c:v>
                </c:pt>
                <c:pt idx="1611">
                  <c:v>198.48387096774192</c:v>
                </c:pt>
                <c:pt idx="1612">
                  <c:v>198.51612903225808</c:v>
                </c:pt>
                <c:pt idx="1613">
                  <c:v>197.29032258064515</c:v>
                </c:pt>
                <c:pt idx="1614">
                  <c:v>197.74193548387098</c:v>
                </c:pt>
                <c:pt idx="1615">
                  <c:v>196.64516129032259</c:v>
                </c:pt>
                <c:pt idx="1616">
                  <c:v>196.48387096774192</c:v>
                </c:pt>
                <c:pt idx="1617">
                  <c:v>196.32258064516128</c:v>
                </c:pt>
                <c:pt idx="1618">
                  <c:v>196.70967741935485</c:v>
                </c:pt>
                <c:pt idx="1619">
                  <c:v>196.54838709677421</c:v>
                </c:pt>
                <c:pt idx="1620">
                  <c:v>197.29032258064515</c:v>
                </c:pt>
                <c:pt idx="1621">
                  <c:v>197</c:v>
                </c:pt>
                <c:pt idx="1622">
                  <c:v>197.90322580645162</c:v>
                </c:pt>
                <c:pt idx="1623">
                  <c:v>197.87096774193549</c:v>
                </c:pt>
                <c:pt idx="1624">
                  <c:v>198.2258064516129</c:v>
                </c:pt>
                <c:pt idx="1625">
                  <c:v>197.74193548387098</c:v>
                </c:pt>
                <c:pt idx="1626">
                  <c:v>196.96774193548387</c:v>
                </c:pt>
                <c:pt idx="1627">
                  <c:v>196.83870967741936</c:v>
                </c:pt>
                <c:pt idx="1628">
                  <c:v>196.7741935483871</c:v>
                </c:pt>
                <c:pt idx="1629">
                  <c:v>197.38709677419354</c:v>
                </c:pt>
                <c:pt idx="1630">
                  <c:v>197.03225806451613</c:v>
                </c:pt>
                <c:pt idx="1631">
                  <c:v>197.48387096774192</c:v>
                </c:pt>
                <c:pt idx="1632">
                  <c:v>197.19354838709677</c:v>
                </c:pt>
                <c:pt idx="1633">
                  <c:v>197.06451612903226</c:v>
                </c:pt>
                <c:pt idx="1634">
                  <c:v>197.67741935483872</c:v>
                </c:pt>
                <c:pt idx="1635">
                  <c:v>197.64516129032259</c:v>
                </c:pt>
                <c:pt idx="1636">
                  <c:v>198.19354838709677</c:v>
                </c:pt>
                <c:pt idx="1637">
                  <c:v>199.06451612903226</c:v>
                </c:pt>
                <c:pt idx="1638">
                  <c:v>199.25806451612902</c:v>
                </c:pt>
                <c:pt idx="1639">
                  <c:v>199.48387096774192</c:v>
                </c:pt>
                <c:pt idx="1640">
                  <c:v>198.90322580645162</c:v>
                </c:pt>
                <c:pt idx="1641">
                  <c:v>199.12903225806451</c:v>
                </c:pt>
                <c:pt idx="1642">
                  <c:v>198.35483870967741</c:v>
                </c:pt>
                <c:pt idx="1643">
                  <c:v>197.67741935483872</c:v>
                </c:pt>
                <c:pt idx="1644">
                  <c:v>198.87096774193549</c:v>
                </c:pt>
                <c:pt idx="1645">
                  <c:v>199.19354838709677</c:v>
                </c:pt>
                <c:pt idx="1646">
                  <c:v>199.25806451612902</c:v>
                </c:pt>
                <c:pt idx="1647">
                  <c:v>199.67741935483872</c:v>
                </c:pt>
                <c:pt idx="1648">
                  <c:v>199.93548387096774</c:v>
                </c:pt>
                <c:pt idx="1649">
                  <c:v>199.7741935483871</c:v>
                </c:pt>
                <c:pt idx="1650">
                  <c:v>199.58064516129033</c:v>
                </c:pt>
                <c:pt idx="1651">
                  <c:v>199.03225806451613</c:v>
                </c:pt>
                <c:pt idx="1652">
                  <c:v>199.74193548387098</c:v>
                </c:pt>
                <c:pt idx="1653">
                  <c:v>199.12903225806451</c:v>
                </c:pt>
                <c:pt idx="1654">
                  <c:v>199.29032258064515</c:v>
                </c:pt>
                <c:pt idx="1655">
                  <c:v>198.87096774193549</c:v>
                </c:pt>
                <c:pt idx="1656">
                  <c:v>199.16129032258064</c:v>
                </c:pt>
                <c:pt idx="1657">
                  <c:v>199.16129032258064</c:v>
                </c:pt>
                <c:pt idx="1658">
                  <c:v>199.25806451612902</c:v>
                </c:pt>
                <c:pt idx="1659">
                  <c:v>199.7741935483871</c:v>
                </c:pt>
                <c:pt idx="1660">
                  <c:v>199.12903225806451</c:v>
                </c:pt>
                <c:pt idx="1661">
                  <c:v>199.7741935483871</c:v>
                </c:pt>
                <c:pt idx="1662">
                  <c:v>198.70967741935485</c:v>
                </c:pt>
                <c:pt idx="1663">
                  <c:v>198.83870967741936</c:v>
                </c:pt>
                <c:pt idx="1664">
                  <c:v>200</c:v>
                </c:pt>
                <c:pt idx="1665">
                  <c:v>199.96774193548387</c:v>
                </c:pt>
                <c:pt idx="1666">
                  <c:v>199.35483870967741</c:v>
                </c:pt>
                <c:pt idx="1667">
                  <c:v>199.90322580645162</c:v>
                </c:pt>
                <c:pt idx="1668">
                  <c:v>198.67741935483872</c:v>
                </c:pt>
                <c:pt idx="1669">
                  <c:v>199.2258064516129</c:v>
                </c:pt>
                <c:pt idx="1670">
                  <c:v>198.16129032258064</c:v>
                </c:pt>
                <c:pt idx="1671">
                  <c:v>198.7741935483871</c:v>
                </c:pt>
                <c:pt idx="1672">
                  <c:v>198.70967741935485</c:v>
                </c:pt>
                <c:pt idx="1673">
                  <c:v>199.25806451612902</c:v>
                </c:pt>
                <c:pt idx="1674">
                  <c:v>199</c:v>
                </c:pt>
                <c:pt idx="1675">
                  <c:v>198.35483870967741</c:v>
                </c:pt>
                <c:pt idx="1676">
                  <c:v>198.09677419354838</c:v>
                </c:pt>
                <c:pt idx="1677">
                  <c:v>198.48387096774192</c:v>
                </c:pt>
                <c:pt idx="1678">
                  <c:v>197.83870967741936</c:v>
                </c:pt>
                <c:pt idx="1679">
                  <c:v>197.87096774193549</c:v>
                </c:pt>
                <c:pt idx="1680">
                  <c:v>197.54838709677421</c:v>
                </c:pt>
                <c:pt idx="1681">
                  <c:v>198.54838709677421</c:v>
                </c:pt>
                <c:pt idx="1682">
                  <c:v>199.09677419354838</c:v>
                </c:pt>
                <c:pt idx="1683">
                  <c:v>198.38709677419354</c:v>
                </c:pt>
                <c:pt idx="1684">
                  <c:v>197.87096774193549</c:v>
                </c:pt>
                <c:pt idx="1685">
                  <c:v>197.80645161290323</c:v>
                </c:pt>
                <c:pt idx="1686">
                  <c:v>198.48387096774192</c:v>
                </c:pt>
                <c:pt idx="1687">
                  <c:v>198.90322580645162</c:v>
                </c:pt>
                <c:pt idx="1688">
                  <c:v>198.67741935483872</c:v>
                </c:pt>
                <c:pt idx="1689">
                  <c:v>197.80645161290323</c:v>
                </c:pt>
                <c:pt idx="1690">
                  <c:v>198.29032258064515</c:v>
                </c:pt>
                <c:pt idx="1691">
                  <c:v>199.32258064516128</c:v>
                </c:pt>
                <c:pt idx="1692">
                  <c:v>198.67741935483872</c:v>
                </c:pt>
                <c:pt idx="1693">
                  <c:v>199.7741935483871</c:v>
                </c:pt>
                <c:pt idx="1694">
                  <c:v>199.41935483870967</c:v>
                </c:pt>
                <c:pt idx="1695">
                  <c:v>198.83870967741936</c:v>
                </c:pt>
                <c:pt idx="1696">
                  <c:v>199.16129032258064</c:v>
                </c:pt>
                <c:pt idx="1697">
                  <c:v>198.51612903225808</c:v>
                </c:pt>
                <c:pt idx="1698">
                  <c:v>198.48387096774192</c:v>
                </c:pt>
                <c:pt idx="1699">
                  <c:v>200.03225806451613</c:v>
                </c:pt>
                <c:pt idx="1700">
                  <c:v>200.83870967741936</c:v>
                </c:pt>
                <c:pt idx="1701">
                  <c:v>202.16129032258064</c:v>
                </c:pt>
                <c:pt idx="1702">
                  <c:v>203.03225806451613</c:v>
                </c:pt>
                <c:pt idx="1703">
                  <c:v>204.03225806451613</c:v>
                </c:pt>
                <c:pt idx="1704">
                  <c:v>205.2258064516129</c:v>
                </c:pt>
                <c:pt idx="1705">
                  <c:v>207.12903225806451</c:v>
                </c:pt>
                <c:pt idx="1706">
                  <c:v>207.93548387096774</c:v>
                </c:pt>
                <c:pt idx="1707">
                  <c:v>208.7741935483871</c:v>
                </c:pt>
                <c:pt idx="1708">
                  <c:v>209.70967741935485</c:v>
                </c:pt>
                <c:pt idx="1709">
                  <c:v>211.03225806451613</c:v>
                </c:pt>
                <c:pt idx="1710">
                  <c:v>212.16129032258064</c:v>
                </c:pt>
                <c:pt idx="1711">
                  <c:v>213.64516129032259</c:v>
                </c:pt>
                <c:pt idx="1712">
                  <c:v>213.96774193548387</c:v>
                </c:pt>
                <c:pt idx="1713">
                  <c:v>214.96774193548387</c:v>
                </c:pt>
                <c:pt idx="1714">
                  <c:v>215.74193548387098</c:v>
                </c:pt>
                <c:pt idx="1715">
                  <c:v>217.45161290322579</c:v>
                </c:pt>
                <c:pt idx="1716">
                  <c:v>217.7741935483871</c:v>
                </c:pt>
                <c:pt idx="1717">
                  <c:v>218.32258064516128</c:v>
                </c:pt>
                <c:pt idx="1718">
                  <c:v>219.51612903225808</c:v>
                </c:pt>
                <c:pt idx="1719">
                  <c:v>221.16129032258064</c:v>
                </c:pt>
                <c:pt idx="1720">
                  <c:v>222.51612903225808</c:v>
                </c:pt>
                <c:pt idx="1721">
                  <c:v>222.74193548387098</c:v>
                </c:pt>
                <c:pt idx="1722">
                  <c:v>223.54838709677421</c:v>
                </c:pt>
                <c:pt idx="1723">
                  <c:v>224.51612903225808</c:v>
                </c:pt>
                <c:pt idx="1724">
                  <c:v>224.61290322580646</c:v>
                </c:pt>
                <c:pt idx="1725">
                  <c:v>225.7741935483871</c:v>
                </c:pt>
                <c:pt idx="1726">
                  <c:v>226.80645161290323</c:v>
                </c:pt>
                <c:pt idx="1727">
                  <c:v>227.16129032258064</c:v>
                </c:pt>
                <c:pt idx="1728">
                  <c:v>228.67741935483872</c:v>
                </c:pt>
                <c:pt idx="1729">
                  <c:v>228.83870967741936</c:v>
                </c:pt>
                <c:pt idx="1730">
                  <c:v>228.61290322580646</c:v>
                </c:pt>
                <c:pt idx="1731">
                  <c:v>228.54838709677421</c:v>
                </c:pt>
                <c:pt idx="1732">
                  <c:v>228.96774193548387</c:v>
                </c:pt>
                <c:pt idx="1733">
                  <c:v>228.83870967741936</c:v>
                </c:pt>
                <c:pt idx="1734">
                  <c:v>229.19354838709677</c:v>
                </c:pt>
                <c:pt idx="1735">
                  <c:v>228.93548387096774</c:v>
                </c:pt>
                <c:pt idx="1736">
                  <c:v>228.48387096774192</c:v>
                </c:pt>
                <c:pt idx="1737">
                  <c:v>228.58064516129033</c:v>
                </c:pt>
                <c:pt idx="1738">
                  <c:v>228.09677419354838</c:v>
                </c:pt>
                <c:pt idx="1739">
                  <c:v>228.2258064516129</c:v>
                </c:pt>
                <c:pt idx="1740">
                  <c:v>228.03225806451613</c:v>
                </c:pt>
                <c:pt idx="1741">
                  <c:v>227.90322580645162</c:v>
                </c:pt>
                <c:pt idx="1742">
                  <c:v>227.90322580645162</c:v>
                </c:pt>
                <c:pt idx="1743">
                  <c:v>226.58064516129033</c:v>
                </c:pt>
                <c:pt idx="1744">
                  <c:v>224.93548387096774</c:v>
                </c:pt>
                <c:pt idx="1745">
                  <c:v>224.64516129032259</c:v>
                </c:pt>
                <c:pt idx="1746">
                  <c:v>222.87096774193549</c:v>
                </c:pt>
                <c:pt idx="1747">
                  <c:v>222.32258064516128</c:v>
                </c:pt>
                <c:pt idx="1748">
                  <c:v>221</c:v>
                </c:pt>
                <c:pt idx="1749">
                  <c:v>220.35483870967741</c:v>
                </c:pt>
                <c:pt idx="1750">
                  <c:v>219.06451612903226</c:v>
                </c:pt>
                <c:pt idx="1751">
                  <c:v>218.29032258064515</c:v>
                </c:pt>
                <c:pt idx="1752">
                  <c:v>217.48387096774192</c:v>
                </c:pt>
                <c:pt idx="1753">
                  <c:v>215.67741935483872</c:v>
                </c:pt>
                <c:pt idx="1754">
                  <c:v>214.64516129032259</c:v>
                </c:pt>
                <c:pt idx="1755">
                  <c:v>213.83870967741936</c:v>
                </c:pt>
                <c:pt idx="1756">
                  <c:v>212.58064516129033</c:v>
                </c:pt>
                <c:pt idx="1757">
                  <c:v>212.03225806451613</c:v>
                </c:pt>
                <c:pt idx="1758">
                  <c:v>211.03225806451613</c:v>
                </c:pt>
                <c:pt idx="1759">
                  <c:v>210.35483870967741</c:v>
                </c:pt>
                <c:pt idx="1760">
                  <c:v>209.7741935483871</c:v>
                </c:pt>
                <c:pt idx="1761">
                  <c:v>208.54838709677421</c:v>
                </c:pt>
                <c:pt idx="1762">
                  <c:v>208</c:v>
                </c:pt>
                <c:pt idx="1763">
                  <c:v>207.16129032258064</c:v>
                </c:pt>
                <c:pt idx="1764">
                  <c:v>206.09677419354838</c:v>
                </c:pt>
                <c:pt idx="1765">
                  <c:v>205.58064516129033</c:v>
                </c:pt>
                <c:pt idx="1766">
                  <c:v>204.80645161290323</c:v>
                </c:pt>
                <c:pt idx="1767">
                  <c:v>204.38709677419354</c:v>
                </c:pt>
                <c:pt idx="1768">
                  <c:v>202.96774193548387</c:v>
                </c:pt>
                <c:pt idx="1769">
                  <c:v>202.38709677419354</c:v>
                </c:pt>
                <c:pt idx="1770">
                  <c:v>201.19354838709677</c:v>
                </c:pt>
                <c:pt idx="1771">
                  <c:v>199.7741935483871</c:v>
                </c:pt>
                <c:pt idx="1772">
                  <c:v>198.45161290322579</c:v>
                </c:pt>
                <c:pt idx="1773">
                  <c:v>197.61290322580646</c:v>
                </c:pt>
                <c:pt idx="1774">
                  <c:v>198.32258064516128</c:v>
                </c:pt>
                <c:pt idx="1775">
                  <c:v>198.61290322580646</c:v>
                </c:pt>
                <c:pt idx="1776">
                  <c:v>198.87096774193549</c:v>
                </c:pt>
                <c:pt idx="1777">
                  <c:v>199.96774193548387</c:v>
                </c:pt>
                <c:pt idx="1778">
                  <c:v>200.03225806451613</c:v>
                </c:pt>
                <c:pt idx="1779">
                  <c:v>199.96774193548387</c:v>
                </c:pt>
                <c:pt idx="1780">
                  <c:v>199.61290322580646</c:v>
                </c:pt>
                <c:pt idx="1781">
                  <c:v>199.58064516129033</c:v>
                </c:pt>
                <c:pt idx="1782">
                  <c:v>199.83870967741936</c:v>
                </c:pt>
                <c:pt idx="1783">
                  <c:v>200.32258064516128</c:v>
                </c:pt>
                <c:pt idx="1784">
                  <c:v>200.2258064516129</c:v>
                </c:pt>
                <c:pt idx="1785">
                  <c:v>200.64516129032259</c:v>
                </c:pt>
                <c:pt idx="1786">
                  <c:v>201.35483870967741</c:v>
                </c:pt>
                <c:pt idx="1787">
                  <c:v>201.80645161290323</c:v>
                </c:pt>
                <c:pt idx="1788">
                  <c:v>200.80645161290323</c:v>
                </c:pt>
                <c:pt idx="1789">
                  <c:v>201.58064516129033</c:v>
                </c:pt>
                <c:pt idx="1790">
                  <c:v>200.74193548387098</c:v>
                </c:pt>
                <c:pt idx="1791">
                  <c:v>200.03225806451613</c:v>
                </c:pt>
                <c:pt idx="1792">
                  <c:v>200.83870967741936</c:v>
                </c:pt>
                <c:pt idx="1793">
                  <c:v>200.29032258064515</c:v>
                </c:pt>
                <c:pt idx="1794">
                  <c:v>200</c:v>
                </c:pt>
                <c:pt idx="1795">
                  <c:v>199.58064516129033</c:v>
                </c:pt>
                <c:pt idx="1796">
                  <c:v>199.67741935483872</c:v>
                </c:pt>
                <c:pt idx="1797">
                  <c:v>199.74193548387098</c:v>
                </c:pt>
                <c:pt idx="1798">
                  <c:v>199.67741935483872</c:v>
                </c:pt>
                <c:pt idx="1799">
                  <c:v>199.7741935483871</c:v>
                </c:pt>
                <c:pt idx="1800">
                  <c:v>199.83870967741936</c:v>
                </c:pt>
                <c:pt idx="1801">
                  <c:v>200.32258064516128</c:v>
                </c:pt>
                <c:pt idx="1802">
                  <c:v>200.54838709677421</c:v>
                </c:pt>
                <c:pt idx="1803">
                  <c:v>200.41935483870967</c:v>
                </c:pt>
                <c:pt idx="1804">
                  <c:v>200.09677419354838</c:v>
                </c:pt>
                <c:pt idx="1805">
                  <c:v>199.93548387096774</c:v>
                </c:pt>
                <c:pt idx="1806">
                  <c:v>200.09677419354838</c:v>
                </c:pt>
                <c:pt idx="1807">
                  <c:v>199.25806451612902</c:v>
                </c:pt>
                <c:pt idx="1808">
                  <c:v>198.25806451612902</c:v>
                </c:pt>
                <c:pt idx="1809">
                  <c:v>197.80645161290323</c:v>
                </c:pt>
                <c:pt idx="1810">
                  <c:v>197.83870967741936</c:v>
                </c:pt>
                <c:pt idx="1811">
                  <c:v>196.93548387096774</c:v>
                </c:pt>
                <c:pt idx="1812">
                  <c:v>197.09677419354838</c:v>
                </c:pt>
                <c:pt idx="1813">
                  <c:v>197.2258064516129</c:v>
                </c:pt>
                <c:pt idx="1814">
                  <c:v>197.35483870967741</c:v>
                </c:pt>
                <c:pt idx="1815">
                  <c:v>198.51612903225808</c:v>
                </c:pt>
                <c:pt idx="1816">
                  <c:v>198.32258064516128</c:v>
                </c:pt>
                <c:pt idx="1817">
                  <c:v>198</c:v>
                </c:pt>
                <c:pt idx="1818">
                  <c:v>197.58064516129033</c:v>
                </c:pt>
                <c:pt idx="1819">
                  <c:v>198.32258064516128</c:v>
                </c:pt>
                <c:pt idx="1820">
                  <c:v>197.38709677419354</c:v>
                </c:pt>
                <c:pt idx="1821">
                  <c:v>198.35483870967741</c:v>
                </c:pt>
                <c:pt idx="1822">
                  <c:v>199.51612903225808</c:v>
                </c:pt>
                <c:pt idx="1823">
                  <c:v>198.87096774193549</c:v>
                </c:pt>
                <c:pt idx="1824">
                  <c:v>199.51612903225808</c:v>
                </c:pt>
                <c:pt idx="1825">
                  <c:v>199</c:v>
                </c:pt>
                <c:pt idx="1826">
                  <c:v>199.74193548387098</c:v>
                </c:pt>
                <c:pt idx="1827">
                  <c:v>199.2258064516129</c:v>
                </c:pt>
                <c:pt idx="1828">
                  <c:v>198.48387096774192</c:v>
                </c:pt>
                <c:pt idx="1829">
                  <c:v>197.74193548387098</c:v>
                </c:pt>
                <c:pt idx="1830">
                  <c:v>198.51612903225808</c:v>
                </c:pt>
                <c:pt idx="1831">
                  <c:v>198</c:v>
                </c:pt>
                <c:pt idx="1832">
                  <c:v>197.48387096774192</c:v>
                </c:pt>
                <c:pt idx="1833">
                  <c:v>197.32258064516128</c:v>
                </c:pt>
                <c:pt idx="1834">
                  <c:v>197.38709677419354</c:v>
                </c:pt>
                <c:pt idx="1835">
                  <c:v>197.80645161290323</c:v>
                </c:pt>
                <c:pt idx="1836">
                  <c:v>197.51612903225808</c:v>
                </c:pt>
                <c:pt idx="1837">
                  <c:v>197.80645161290323</c:v>
                </c:pt>
                <c:pt idx="1838">
                  <c:v>198.48387096774192</c:v>
                </c:pt>
                <c:pt idx="1839">
                  <c:v>199.38709677419354</c:v>
                </c:pt>
                <c:pt idx="1840">
                  <c:v>199</c:v>
                </c:pt>
                <c:pt idx="1841">
                  <c:v>199.80645161290323</c:v>
                </c:pt>
                <c:pt idx="1842">
                  <c:v>200.74193548387098</c:v>
                </c:pt>
                <c:pt idx="1843">
                  <c:v>200.83870967741936</c:v>
                </c:pt>
                <c:pt idx="1844">
                  <c:v>200.67741935483872</c:v>
                </c:pt>
                <c:pt idx="1845">
                  <c:v>199.51612903225808</c:v>
                </c:pt>
                <c:pt idx="1846">
                  <c:v>199.32258064516128</c:v>
                </c:pt>
                <c:pt idx="1847">
                  <c:v>199.74193548387098</c:v>
                </c:pt>
                <c:pt idx="1848">
                  <c:v>199.29032258064515</c:v>
                </c:pt>
                <c:pt idx="1849">
                  <c:v>200.38709677419354</c:v>
                </c:pt>
                <c:pt idx="1850">
                  <c:v>200.74193548387098</c:v>
                </c:pt>
                <c:pt idx="1851">
                  <c:v>201.87096774193549</c:v>
                </c:pt>
                <c:pt idx="1852">
                  <c:v>201.74193548387098</c:v>
                </c:pt>
                <c:pt idx="1853">
                  <c:v>200.87096774193549</c:v>
                </c:pt>
                <c:pt idx="1854">
                  <c:v>201.7741935483871</c:v>
                </c:pt>
                <c:pt idx="1855">
                  <c:v>201.54838709677421</c:v>
                </c:pt>
                <c:pt idx="1856">
                  <c:v>201.61290322580646</c:v>
                </c:pt>
                <c:pt idx="1857">
                  <c:v>201.90322580645162</c:v>
                </c:pt>
                <c:pt idx="1858">
                  <c:v>201.32258064516128</c:v>
                </c:pt>
                <c:pt idx="1859">
                  <c:v>202.48387096774192</c:v>
                </c:pt>
                <c:pt idx="1860">
                  <c:v>202.80645161290323</c:v>
                </c:pt>
                <c:pt idx="1861">
                  <c:v>201.83870967741936</c:v>
                </c:pt>
                <c:pt idx="1862">
                  <c:v>202.06451612903226</c:v>
                </c:pt>
                <c:pt idx="1863">
                  <c:v>202.61290322580646</c:v>
                </c:pt>
                <c:pt idx="1864">
                  <c:v>202.48387096774192</c:v>
                </c:pt>
                <c:pt idx="1865">
                  <c:v>203.19354838709677</c:v>
                </c:pt>
                <c:pt idx="1866">
                  <c:v>203.25806451612902</c:v>
                </c:pt>
                <c:pt idx="1867">
                  <c:v>203.35483870967741</c:v>
                </c:pt>
                <c:pt idx="1868">
                  <c:v>202.90322580645162</c:v>
                </c:pt>
                <c:pt idx="1869">
                  <c:v>202.87096774193549</c:v>
                </c:pt>
                <c:pt idx="1870">
                  <c:v>202.87096774193549</c:v>
                </c:pt>
                <c:pt idx="1871">
                  <c:v>203.54838709677421</c:v>
                </c:pt>
                <c:pt idx="1872">
                  <c:v>202.83870967741936</c:v>
                </c:pt>
                <c:pt idx="1873">
                  <c:v>202.35483870967741</c:v>
                </c:pt>
                <c:pt idx="1874">
                  <c:v>201.90322580645162</c:v>
                </c:pt>
                <c:pt idx="1875">
                  <c:v>201.35483870967741</c:v>
                </c:pt>
                <c:pt idx="1876">
                  <c:v>201.74193548387098</c:v>
                </c:pt>
                <c:pt idx="1877">
                  <c:v>201.29032258064515</c:v>
                </c:pt>
                <c:pt idx="1878">
                  <c:v>200.58064516129033</c:v>
                </c:pt>
                <c:pt idx="1879">
                  <c:v>200.93548387096774</c:v>
                </c:pt>
                <c:pt idx="1880">
                  <c:v>199.7741935483871</c:v>
                </c:pt>
                <c:pt idx="1881">
                  <c:v>199.48387096774192</c:v>
                </c:pt>
                <c:pt idx="1882">
                  <c:v>199.2258064516129</c:v>
                </c:pt>
                <c:pt idx="1883">
                  <c:v>199.54838709677421</c:v>
                </c:pt>
                <c:pt idx="1884">
                  <c:v>199.19354838709677</c:v>
                </c:pt>
                <c:pt idx="1885">
                  <c:v>199.2258064516129</c:v>
                </c:pt>
                <c:pt idx="1886">
                  <c:v>199.09677419354838</c:v>
                </c:pt>
                <c:pt idx="1887">
                  <c:v>200.58064516129033</c:v>
                </c:pt>
                <c:pt idx="1888">
                  <c:v>200.93548387096774</c:v>
                </c:pt>
                <c:pt idx="1889">
                  <c:v>202.29032258064515</c:v>
                </c:pt>
                <c:pt idx="1890">
                  <c:v>202.90322580645162</c:v>
                </c:pt>
                <c:pt idx="1891">
                  <c:v>203.67741935483872</c:v>
                </c:pt>
                <c:pt idx="1892">
                  <c:v>205.61290322580646</c:v>
                </c:pt>
                <c:pt idx="1893">
                  <c:v>206.58064516129033</c:v>
                </c:pt>
                <c:pt idx="1894">
                  <c:v>207.25806451612902</c:v>
                </c:pt>
                <c:pt idx="1895">
                  <c:v>208.7741935483871</c:v>
                </c:pt>
                <c:pt idx="1896">
                  <c:v>209.51612903225808</c:v>
                </c:pt>
                <c:pt idx="1897">
                  <c:v>210.19354838709677</c:v>
                </c:pt>
                <c:pt idx="1898">
                  <c:v>211.51612903225808</c:v>
                </c:pt>
                <c:pt idx="1899">
                  <c:v>212.48387096774192</c:v>
                </c:pt>
                <c:pt idx="1900">
                  <c:v>213.12903225806451</c:v>
                </c:pt>
                <c:pt idx="1901">
                  <c:v>213.7741935483871</c:v>
                </c:pt>
                <c:pt idx="1902">
                  <c:v>214.70967741935485</c:v>
                </c:pt>
                <c:pt idx="1903">
                  <c:v>216.41935483870967</c:v>
                </c:pt>
                <c:pt idx="1904">
                  <c:v>217.90322580645162</c:v>
                </c:pt>
                <c:pt idx="1905">
                  <c:v>219.29032258064515</c:v>
                </c:pt>
                <c:pt idx="1906">
                  <c:v>220.54838709677421</c:v>
                </c:pt>
                <c:pt idx="1907">
                  <c:v>221.45161290322579</c:v>
                </c:pt>
                <c:pt idx="1908">
                  <c:v>222.45161290322579</c:v>
                </c:pt>
                <c:pt idx="1909">
                  <c:v>223.41935483870967</c:v>
                </c:pt>
                <c:pt idx="1910">
                  <c:v>224.29032258064515</c:v>
                </c:pt>
                <c:pt idx="1911">
                  <c:v>225.87096774193549</c:v>
                </c:pt>
                <c:pt idx="1912">
                  <c:v>226.29032258064515</c:v>
                </c:pt>
                <c:pt idx="1913">
                  <c:v>227.03225806451613</c:v>
                </c:pt>
                <c:pt idx="1914">
                  <c:v>227.70967741935485</c:v>
                </c:pt>
                <c:pt idx="1915">
                  <c:v>229.58064516129033</c:v>
                </c:pt>
                <c:pt idx="1916">
                  <c:v>230.09677419354838</c:v>
                </c:pt>
                <c:pt idx="1917">
                  <c:v>230.67741935483872</c:v>
                </c:pt>
                <c:pt idx="1918">
                  <c:v>230.83870967741936</c:v>
                </c:pt>
                <c:pt idx="1919">
                  <c:v>231.2258064516129</c:v>
                </c:pt>
                <c:pt idx="1920">
                  <c:v>231.38709677419354</c:v>
                </c:pt>
                <c:pt idx="1921">
                  <c:v>231.03225806451613</c:v>
                </c:pt>
                <c:pt idx="1922">
                  <c:v>231.29032258064515</c:v>
                </c:pt>
                <c:pt idx="1923">
                  <c:v>231</c:v>
                </c:pt>
                <c:pt idx="1924">
                  <c:v>231.35483870967741</c:v>
                </c:pt>
                <c:pt idx="1925">
                  <c:v>231.74193548387098</c:v>
                </c:pt>
                <c:pt idx="1926">
                  <c:v>231.87096774193549</c:v>
                </c:pt>
                <c:pt idx="1927">
                  <c:v>231.83870967741936</c:v>
                </c:pt>
                <c:pt idx="1928">
                  <c:v>231.58064516129033</c:v>
                </c:pt>
                <c:pt idx="1929">
                  <c:v>231.64516129032259</c:v>
                </c:pt>
                <c:pt idx="1930">
                  <c:v>232.09677419354838</c:v>
                </c:pt>
                <c:pt idx="1931">
                  <c:v>231.64516129032259</c:v>
                </c:pt>
                <c:pt idx="1932">
                  <c:v>230.19354838709677</c:v>
                </c:pt>
                <c:pt idx="1933">
                  <c:v>229.67741935483872</c:v>
                </c:pt>
                <c:pt idx="1934">
                  <c:v>228.03225806451613</c:v>
                </c:pt>
                <c:pt idx="1935">
                  <c:v>226.32258064516128</c:v>
                </c:pt>
                <c:pt idx="1936">
                  <c:v>225.74193548387098</c:v>
                </c:pt>
                <c:pt idx="1937">
                  <c:v>224.35483870967741</c:v>
                </c:pt>
                <c:pt idx="1938">
                  <c:v>223.45161290322579</c:v>
                </c:pt>
                <c:pt idx="1939">
                  <c:v>222.29032258064515</c:v>
                </c:pt>
                <c:pt idx="1940">
                  <c:v>221.41935483870967</c:v>
                </c:pt>
                <c:pt idx="1941">
                  <c:v>219.87096774193549</c:v>
                </c:pt>
                <c:pt idx="1942">
                  <c:v>218.90322580645162</c:v>
                </c:pt>
                <c:pt idx="1943">
                  <c:v>218.12903225806451</c:v>
                </c:pt>
                <c:pt idx="1944">
                  <c:v>216.93548387096774</c:v>
                </c:pt>
                <c:pt idx="1945">
                  <c:v>215.61290322580646</c:v>
                </c:pt>
                <c:pt idx="1946">
                  <c:v>214.54838709677421</c:v>
                </c:pt>
                <c:pt idx="1947">
                  <c:v>213</c:v>
                </c:pt>
                <c:pt idx="1948">
                  <c:v>211.93548387096774</c:v>
                </c:pt>
                <c:pt idx="1949">
                  <c:v>210.93548387096774</c:v>
                </c:pt>
                <c:pt idx="1950">
                  <c:v>209.80645161290323</c:v>
                </c:pt>
                <c:pt idx="1951">
                  <c:v>208.90322580645162</c:v>
                </c:pt>
                <c:pt idx="1952">
                  <c:v>208.64516129032259</c:v>
                </c:pt>
                <c:pt idx="1953">
                  <c:v>207.16129032258064</c:v>
                </c:pt>
                <c:pt idx="1954">
                  <c:v>205.80645161290323</c:v>
                </c:pt>
                <c:pt idx="1955">
                  <c:v>205.19354838709677</c:v>
                </c:pt>
                <c:pt idx="1956">
                  <c:v>203.32258064516128</c:v>
                </c:pt>
                <c:pt idx="1957">
                  <c:v>202.03225806451613</c:v>
                </c:pt>
                <c:pt idx="1958">
                  <c:v>200.7741935483871</c:v>
                </c:pt>
                <c:pt idx="1959">
                  <c:v>199.54838709677421</c:v>
                </c:pt>
                <c:pt idx="1960">
                  <c:v>197.74193548387098</c:v>
                </c:pt>
                <c:pt idx="1961">
                  <c:v>196.29032258064515</c:v>
                </c:pt>
                <c:pt idx="1962">
                  <c:v>196.09677419354838</c:v>
                </c:pt>
                <c:pt idx="1963">
                  <c:v>196</c:v>
                </c:pt>
                <c:pt idx="1964">
                  <c:v>196</c:v>
                </c:pt>
                <c:pt idx="1965">
                  <c:v>196.96774193548387</c:v>
                </c:pt>
                <c:pt idx="1966">
                  <c:v>197.2258064516129</c:v>
                </c:pt>
                <c:pt idx="1967">
                  <c:v>197.32258064516128</c:v>
                </c:pt>
                <c:pt idx="1968">
                  <c:v>197.64516129032259</c:v>
                </c:pt>
                <c:pt idx="1969">
                  <c:v>198</c:v>
                </c:pt>
                <c:pt idx="1970">
                  <c:v>198.74193548387098</c:v>
                </c:pt>
                <c:pt idx="1971">
                  <c:v>198.90322580645162</c:v>
                </c:pt>
                <c:pt idx="1972">
                  <c:v>200</c:v>
                </c:pt>
                <c:pt idx="1973">
                  <c:v>200.41935483870967</c:v>
                </c:pt>
                <c:pt idx="1974">
                  <c:v>201.09677419354838</c:v>
                </c:pt>
                <c:pt idx="1975">
                  <c:v>201.32258064516128</c:v>
                </c:pt>
                <c:pt idx="1976">
                  <c:v>201.61290322580646</c:v>
                </c:pt>
                <c:pt idx="1977">
                  <c:v>200.83870967741936</c:v>
                </c:pt>
                <c:pt idx="1978">
                  <c:v>201.03225806451613</c:v>
                </c:pt>
                <c:pt idx="1979">
                  <c:v>201.09677419354838</c:v>
                </c:pt>
                <c:pt idx="1980">
                  <c:v>200.29032258064515</c:v>
                </c:pt>
                <c:pt idx="1981">
                  <c:v>200.38709677419354</c:v>
                </c:pt>
                <c:pt idx="1982">
                  <c:v>199.7741935483871</c:v>
                </c:pt>
                <c:pt idx="1983">
                  <c:v>199.19354838709677</c:v>
                </c:pt>
                <c:pt idx="1984">
                  <c:v>200.2258064516129</c:v>
                </c:pt>
                <c:pt idx="1985">
                  <c:v>200.06451612903226</c:v>
                </c:pt>
                <c:pt idx="1986">
                  <c:v>199.74193548387098</c:v>
                </c:pt>
                <c:pt idx="1987">
                  <c:v>200.70967741935485</c:v>
                </c:pt>
                <c:pt idx="1988">
                  <c:v>200.70967741935485</c:v>
                </c:pt>
                <c:pt idx="1989">
                  <c:v>201.29032258064515</c:v>
                </c:pt>
                <c:pt idx="1990">
                  <c:v>201.80645161290323</c:v>
                </c:pt>
                <c:pt idx="1991">
                  <c:v>202.74193548387098</c:v>
                </c:pt>
                <c:pt idx="1992">
                  <c:v>203.2258064516129</c:v>
                </c:pt>
                <c:pt idx="1993">
                  <c:v>202.2258064516129</c:v>
                </c:pt>
                <c:pt idx="1994">
                  <c:v>202.35483870967741</c:v>
                </c:pt>
                <c:pt idx="1995">
                  <c:v>201.87096774193549</c:v>
                </c:pt>
                <c:pt idx="1996">
                  <c:v>201.93548387096774</c:v>
                </c:pt>
                <c:pt idx="1997">
                  <c:v>202.58064516129033</c:v>
                </c:pt>
                <c:pt idx="1998">
                  <c:v>202.7741935483871</c:v>
                </c:pt>
                <c:pt idx="1999">
                  <c:v>202.45161290322579</c:v>
                </c:pt>
                <c:pt idx="2000">
                  <c:v>202.45161290322579</c:v>
                </c:pt>
                <c:pt idx="2001">
                  <c:v>202.19354838709677</c:v>
                </c:pt>
                <c:pt idx="2002">
                  <c:v>202.83870967741936</c:v>
                </c:pt>
                <c:pt idx="2003">
                  <c:v>202.25806451612902</c:v>
                </c:pt>
                <c:pt idx="2004">
                  <c:v>202.32258064516128</c:v>
                </c:pt>
                <c:pt idx="2005">
                  <c:v>201.90322580645162</c:v>
                </c:pt>
                <c:pt idx="2006">
                  <c:v>201.7741935483871</c:v>
                </c:pt>
                <c:pt idx="2007">
                  <c:v>201.67741935483872</c:v>
                </c:pt>
                <c:pt idx="2008">
                  <c:v>202.03225806451613</c:v>
                </c:pt>
                <c:pt idx="2009">
                  <c:v>201.93548387096774</c:v>
                </c:pt>
                <c:pt idx="2010">
                  <c:v>201.93548387096774</c:v>
                </c:pt>
                <c:pt idx="2011">
                  <c:v>202.70967741935485</c:v>
                </c:pt>
                <c:pt idx="2012">
                  <c:v>202.80645161290323</c:v>
                </c:pt>
                <c:pt idx="2013">
                  <c:v>203</c:v>
                </c:pt>
                <c:pt idx="2014">
                  <c:v>203.2258064516129</c:v>
                </c:pt>
                <c:pt idx="2015">
                  <c:v>202.32258064516128</c:v>
                </c:pt>
                <c:pt idx="2016">
                  <c:v>203.16129032258064</c:v>
                </c:pt>
                <c:pt idx="2017">
                  <c:v>202.80645161290323</c:v>
                </c:pt>
                <c:pt idx="2018">
                  <c:v>202.35483870967741</c:v>
                </c:pt>
                <c:pt idx="2019">
                  <c:v>202.06451612903226</c:v>
                </c:pt>
                <c:pt idx="2020">
                  <c:v>201.61290322580646</c:v>
                </c:pt>
                <c:pt idx="2021">
                  <c:v>201.29032258064515</c:v>
                </c:pt>
                <c:pt idx="2022">
                  <c:v>201.54838709677421</c:v>
                </c:pt>
                <c:pt idx="2023">
                  <c:v>201.83870967741936</c:v>
                </c:pt>
                <c:pt idx="2024">
                  <c:v>203.03225806451613</c:v>
                </c:pt>
                <c:pt idx="2025">
                  <c:v>204.03225806451613</c:v>
                </c:pt>
                <c:pt idx="2026">
                  <c:v>203.2258064516129</c:v>
                </c:pt>
                <c:pt idx="2027">
                  <c:v>202.7741935483871</c:v>
                </c:pt>
                <c:pt idx="2028">
                  <c:v>202.09677419354838</c:v>
                </c:pt>
                <c:pt idx="2029">
                  <c:v>201.19354838709677</c:v>
                </c:pt>
                <c:pt idx="2030">
                  <c:v>201.45161290322579</c:v>
                </c:pt>
                <c:pt idx="2031">
                  <c:v>201.61290322580646</c:v>
                </c:pt>
                <c:pt idx="2032">
                  <c:v>201.74193548387098</c:v>
                </c:pt>
                <c:pt idx="2033">
                  <c:v>201.70967741935485</c:v>
                </c:pt>
                <c:pt idx="2034">
                  <c:v>201.58064516129033</c:v>
                </c:pt>
                <c:pt idx="2035">
                  <c:v>200.93548387096774</c:v>
                </c:pt>
                <c:pt idx="2036">
                  <c:v>200.09677419354838</c:v>
                </c:pt>
                <c:pt idx="2037">
                  <c:v>200.70967741935485</c:v>
                </c:pt>
                <c:pt idx="2038">
                  <c:v>201.06451612903226</c:v>
                </c:pt>
                <c:pt idx="2039">
                  <c:v>201</c:v>
                </c:pt>
                <c:pt idx="2040">
                  <c:v>201.61290322580646</c:v>
                </c:pt>
                <c:pt idx="2041">
                  <c:v>201.67741935483872</c:v>
                </c:pt>
                <c:pt idx="2042">
                  <c:v>201.74193548387098</c:v>
                </c:pt>
                <c:pt idx="2043">
                  <c:v>201.25806451612902</c:v>
                </c:pt>
                <c:pt idx="2044">
                  <c:v>201.38709677419354</c:v>
                </c:pt>
                <c:pt idx="2045">
                  <c:v>201.83870967741936</c:v>
                </c:pt>
                <c:pt idx="2046">
                  <c:v>202.16129032258064</c:v>
                </c:pt>
                <c:pt idx="2047">
                  <c:v>201.61290322580646</c:v>
                </c:pt>
                <c:pt idx="2048">
                  <c:v>201.90322580645162</c:v>
                </c:pt>
                <c:pt idx="2049">
                  <c:v>202.35483870967741</c:v>
                </c:pt>
                <c:pt idx="2050">
                  <c:v>202.45161290322579</c:v>
                </c:pt>
                <c:pt idx="2051">
                  <c:v>202.51612903225808</c:v>
                </c:pt>
                <c:pt idx="2052">
                  <c:v>202.58064516129033</c:v>
                </c:pt>
                <c:pt idx="2053">
                  <c:v>201.51612903225808</c:v>
                </c:pt>
                <c:pt idx="2054">
                  <c:v>200.48387096774192</c:v>
                </c:pt>
                <c:pt idx="2055">
                  <c:v>200.03225806451613</c:v>
                </c:pt>
                <c:pt idx="2056">
                  <c:v>199.03225806451613</c:v>
                </c:pt>
                <c:pt idx="2057">
                  <c:v>199.09677419354838</c:v>
                </c:pt>
                <c:pt idx="2058">
                  <c:v>198.90322580645162</c:v>
                </c:pt>
                <c:pt idx="2059">
                  <c:v>199.64516129032259</c:v>
                </c:pt>
                <c:pt idx="2060">
                  <c:v>199.90322580645162</c:v>
                </c:pt>
                <c:pt idx="2061">
                  <c:v>199.7741935483871</c:v>
                </c:pt>
                <c:pt idx="2062">
                  <c:v>198.87096774193549</c:v>
                </c:pt>
                <c:pt idx="2063">
                  <c:v>198.32258064516128</c:v>
                </c:pt>
                <c:pt idx="2064">
                  <c:v>197.90322580645162</c:v>
                </c:pt>
                <c:pt idx="2065">
                  <c:v>197.64516129032259</c:v>
                </c:pt>
                <c:pt idx="2066">
                  <c:v>198</c:v>
                </c:pt>
                <c:pt idx="2067">
                  <c:v>198.32258064516128</c:v>
                </c:pt>
                <c:pt idx="2068">
                  <c:v>197.54838709677421</c:v>
                </c:pt>
                <c:pt idx="2069">
                  <c:v>197.03225806451613</c:v>
                </c:pt>
                <c:pt idx="2070">
                  <c:v>196.96774193548387</c:v>
                </c:pt>
                <c:pt idx="2071">
                  <c:v>196.12903225806451</c:v>
                </c:pt>
                <c:pt idx="2072">
                  <c:v>196.06451612903226</c:v>
                </c:pt>
                <c:pt idx="2073">
                  <c:v>195.64516129032259</c:v>
                </c:pt>
                <c:pt idx="2074">
                  <c:v>196.38709677419354</c:v>
                </c:pt>
                <c:pt idx="2075">
                  <c:v>196.70967741935485</c:v>
                </c:pt>
                <c:pt idx="2076">
                  <c:v>195.7741935483871</c:v>
                </c:pt>
                <c:pt idx="2077">
                  <c:v>195.25806451612902</c:v>
                </c:pt>
                <c:pt idx="2078">
                  <c:v>195.58064516129033</c:v>
                </c:pt>
                <c:pt idx="2079">
                  <c:v>195.90322580645162</c:v>
                </c:pt>
                <c:pt idx="2080">
                  <c:v>194.87096774193549</c:v>
                </c:pt>
                <c:pt idx="2081">
                  <c:v>195.29032258064515</c:v>
                </c:pt>
                <c:pt idx="2082">
                  <c:v>195.2258064516129</c:v>
                </c:pt>
                <c:pt idx="2083">
                  <c:v>195.70967741935485</c:v>
                </c:pt>
                <c:pt idx="2084">
                  <c:v>196.74193548387098</c:v>
                </c:pt>
                <c:pt idx="2085">
                  <c:v>196.74193548387098</c:v>
                </c:pt>
                <c:pt idx="2086">
                  <c:v>196.96774193548387</c:v>
                </c:pt>
                <c:pt idx="2087">
                  <c:v>197.80645161290323</c:v>
                </c:pt>
                <c:pt idx="2088">
                  <c:v>198.16129032258064</c:v>
                </c:pt>
                <c:pt idx="2089">
                  <c:v>198.16129032258064</c:v>
                </c:pt>
                <c:pt idx="2090">
                  <c:v>198.09677419354838</c:v>
                </c:pt>
                <c:pt idx="2091">
                  <c:v>198.48387096774192</c:v>
                </c:pt>
                <c:pt idx="2092">
                  <c:v>198.64516129032259</c:v>
                </c:pt>
                <c:pt idx="2093">
                  <c:v>199.90322580645162</c:v>
                </c:pt>
                <c:pt idx="2094">
                  <c:v>200.12903225806451</c:v>
                </c:pt>
                <c:pt idx="2095">
                  <c:v>199.48387096774192</c:v>
                </c:pt>
                <c:pt idx="2096">
                  <c:v>199.74193548387098</c:v>
                </c:pt>
                <c:pt idx="2097">
                  <c:v>198.90322580645162</c:v>
                </c:pt>
                <c:pt idx="2098">
                  <c:v>199.74193548387098</c:v>
                </c:pt>
                <c:pt idx="2099">
                  <c:v>199.64516129032259</c:v>
                </c:pt>
                <c:pt idx="2100">
                  <c:v>199.41935483870967</c:v>
                </c:pt>
                <c:pt idx="2101">
                  <c:v>199.51612903225808</c:v>
                </c:pt>
                <c:pt idx="2102">
                  <c:v>199.45161290322579</c:v>
                </c:pt>
                <c:pt idx="2103">
                  <c:v>199.64516129032259</c:v>
                </c:pt>
                <c:pt idx="2104">
                  <c:v>199.96774193548387</c:v>
                </c:pt>
                <c:pt idx="2105">
                  <c:v>199.80645161290323</c:v>
                </c:pt>
                <c:pt idx="2106">
                  <c:v>200.06451612903226</c:v>
                </c:pt>
                <c:pt idx="2107">
                  <c:v>199.96774193548387</c:v>
                </c:pt>
                <c:pt idx="2108">
                  <c:v>200.51612903225808</c:v>
                </c:pt>
                <c:pt idx="2109">
                  <c:v>200.7741935483871</c:v>
                </c:pt>
                <c:pt idx="2110">
                  <c:v>200.7741935483871</c:v>
                </c:pt>
                <c:pt idx="2111">
                  <c:v>201.51612903225808</c:v>
                </c:pt>
                <c:pt idx="2112">
                  <c:v>201.58064516129033</c:v>
                </c:pt>
                <c:pt idx="2113">
                  <c:v>201.61290322580646</c:v>
                </c:pt>
                <c:pt idx="2114">
                  <c:v>201.51612903225808</c:v>
                </c:pt>
                <c:pt idx="2115">
                  <c:v>201.41935483870967</c:v>
                </c:pt>
                <c:pt idx="2116">
                  <c:v>202.06451612903226</c:v>
                </c:pt>
                <c:pt idx="2117">
                  <c:v>201.80645161290323</c:v>
                </c:pt>
                <c:pt idx="2118">
                  <c:v>201.70967741935485</c:v>
                </c:pt>
                <c:pt idx="2119">
                  <c:v>201.93548387096774</c:v>
                </c:pt>
                <c:pt idx="2120">
                  <c:v>201.41935483870967</c:v>
                </c:pt>
                <c:pt idx="2121">
                  <c:v>200.83870967741936</c:v>
                </c:pt>
                <c:pt idx="2122">
                  <c:v>199.96774193548387</c:v>
                </c:pt>
                <c:pt idx="2123">
                  <c:v>200.64516129032259</c:v>
                </c:pt>
                <c:pt idx="2124">
                  <c:v>200.61290322580646</c:v>
                </c:pt>
                <c:pt idx="2125">
                  <c:v>200.93548387096774</c:v>
                </c:pt>
                <c:pt idx="2126">
                  <c:v>201</c:v>
                </c:pt>
                <c:pt idx="2127">
                  <c:v>201.06451612903226</c:v>
                </c:pt>
                <c:pt idx="2128">
                  <c:v>201.29032258064515</c:v>
                </c:pt>
                <c:pt idx="2129">
                  <c:v>201.38709677419354</c:v>
                </c:pt>
                <c:pt idx="2130">
                  <c:v>202.06451612903226</c:v>
                </c:pt>
                <c:pt idx="2131">
                  <c:v>202.61290322580646</c:v>
                </c:pt>
                <c:pt idx="2132">
                  <c:v>202.51612903225808</c:v>
                </c:pt>
                <c:pt idx="2133">
                  <c:v>203.70967741935485</c:v>
                </c:pt>
                <c:pt idx="2134">
                  <c:v>203.90322580645162</c:v>
                </c:pt>
                <c:pt idx="2135">
                  <c:v>203.2258064516129</c:v>
                </c:pt>
                <c:pt idx="2136">
                  <c:v>202.2258064516129</c:v>
                </c:pt>
                <c:pt idx="2137">
                  <c:v>202.25806451612902</c:v>
                </c:pt>
                <c:pt idx="2138">
                  <c:v>203.12903225806451</c:v>
                </c:pt>
                <c:pt idx="2139">
                  <c:v>202.54838709677421</c:v>
                </c:pt>
                <c:pt idx="2140">
                  <c:v>202.41935483870967</c:v>
                </c:pt>
                <c:pt idx="2141">
                  <c:v>201.38709677419354</c:v>
                </c:pt>
                <c:pt idx="2142">
                  <c:v>200.64516129032259</c:v>
                </c:pt>
                <c:pt idx="2143">
                  <c:v>201.19354838709677</c:v>
                </c:pt>
                <c:pt idx="2144">
                  <c:v>200.7741935483871</c:v>
                </c:pt>
                <c:pt idx="2145">
                  <c:v>200.12903225806451</c:v>
                </c:pt>
                <c:pt idx="2146">
                  <c:v>199.51612903225808</c:v>
                </c:pt>
                <c:pt idx="2147">
                  <c:v>199.35483870967741</c:v>
                </c:pt>
                <c:pt idx="2148">
                  <c:v>199.7741935483871</c:v>
                </c:pt>
                <c:pt idx="2149">
                  <c:v>199.54838709677421</c:v>
                </c:pt>
                <c:pt idx="2150">
                  <c:v>199.25806451612902</c:v>
                </c:pt>
                <c:pt idx="2151">
                  <c:v>199.48387096774192</c:v>
                </c:pt>
                <c:pt idx="2152">
                  <c:v>199.41935483870967</c:v>
                </c:pt>
                <c:pt idx="2153">
                  <c:v>200.41935483870967</c:v>
                </c:pt>
                <c:pt idx="2154">
                  <c:v>200.48387096774192</c:v>
                </c:pt>
                <c:pt idx="2155">
                  <c:v>200.29032258064515</c:v>
                </c:pt>
                <c:pt idx="2156">
                  <c:v>200.35483870967741</c:v>
                </c:pt>
                <c:pt idx="2157">
                  <c:v>200.32258064516128</c:v>
                </c:pt>
                <c:pt idx="2158">
                  <c:v>199.80645161290323</c:v>
                </c:pt>
                <c:pt idx="2159">
                  <c:v>200</c:v>
                </c:pt>
                <c:pt idx="2160">
                  <c:v>199.45161290322579</c:v>
                </c:pt>
                <c:pt idx="2161">
                  <c:v>199.45161290322579</c:v>
                </c:pt>
                <c:pt idx="2162">
                  <c:v>199.35483870967741</c:v>
                </c:pt>
                <c:pt idx="2163">
                  <c:v>199.67741935483872</c:v>
                </c:pt>
                <c:pt idx="2164">
                  <c:v>198.67741935483872</c:v>
                </c:pt>
                <c:pt idx="2165">
                  <c:v>199</c:v>
                </c:pt>
                <c:pt idx="2166">
                  <c:v>199.48387096774192</c:v>
                </c:pt>
                <c:pt idx="2167">
                  <c:v>199.67741935483872</c:v>
                </c:pt>
                <c:pt idx="2168">
                  <c:v>198.93548387096774</c:v>
                </c:pt>
                <c:pt idx="2169">
                  <c:v>198.16129032258064</c:v>
                </c:pt>
                <c:pt idx="2170">
                  <c:v>199</c:v>
                </c:pt>
                <c:pt idx="2171">
                  <c:v>198.93548387096774</c:v>
                </c:pt>
                <c:pt idx="2172">
                  <c:v>198.93548387096774</c:v>
                </c:pt>
                <c:pt idx="2173">
                  <c:v>199.09677419354838</c:v>
                </c:pt>
                <c:pt idx="2174">
                  <c:v>198.64516129032259</c:v>
                </c:pt>
                <c:pt idx="2175">
                  <c:v>198.93548387096774</c:v>
                </c:pt>
                <c:pt idx="2176">
                  <c:v>198.80645161290323</c:v>
                </c:pt>
                <c:pt idx="2177">
                  <c:v>199.51612903225808</c:v>
                </c:pt>
                <c:pt idx="2178">
                  <c:v>199.38709677419354</c:v>
                </c:pt>
                <c:pt idx="2179">
                  <c:v>198.45161290322579</c:v>
                </c:pt>
                <c:pt idx="2180">
                  <c:v>197.74193548387098</c:v>
                </c:pt>
                <c:pt idx="2181">
                  <c:v>197.64516129032259</c:v>
                </c:pt>
                <c:pt idx="2182">
                  <c:v>197.67741935483872</c:v>
                </c:pt>
                <c:pt idx="2183">
                  <c:v>197.48387096774192</c:v>
                </c:pt>
                <c:pt idx="2184">
                  <c:v>197.41935483870967</c:v>
                </c:pt>
                <c:pt idx="2185">
                  <c:v>197.09677419354838</c:v>
                </c:pt>
                <c:pt idx="2186">
                  <c:v>196.70967741935485</c:v>
                </c:pt>
                <c:pt idx="2187">
                  <c:v>195.93548387096774</c:v>
                </c:pt>
                <c:pt idx="2188">
                  <c:v>196</c:v>
                </c:pt>
                <c:pt idx="2189">
                  <c:v>196.80645161290323</c:v>
                </c:pt>
                <c:pt idx="2190">
                  <c:v>197.41935483870967</c:v>
                </c:pt>
                <c:pt idx="2191">
                  <c:v>197.19354838709677</c:v>
                </c:pt>
                <c:pt idx="2192">
                  <c:v>196.61290322580646</c:v>
                </c:pt>
                <c:pt idx="2193">
                  <c:v>197.12903225806451</c:v>
                </c:pt>
                <c:pt idx="2194">
                  <c:v>196.54838709677421</c:v>
                </c:pt>
                <c:pt idx="2195">
                  <c:v>196.61290322580646</c:v>
                </c:pt>
                <c:pt idx="2196">
                  <c:v>196.06451612903226</c:v>
                </c:pt>
                <c:pt idx="2197">
                  <c:v>196.41935483870967</c:v>
                </c:pt>
                <c:pt idx="2198">
                  <c:v>196.64516129032259</c:v>
                </c:pt>
                <c:pt idx="2199">
                  <c:v>196.38709677419354</c:v>
                </c:pt>
                <c:pt idx="2200">
                  <c:v>196.90322580645162</c:v>
                </c:pt>
                <c:pt idx="2201">
                  <c:v>196.64516129032259</c:v>
                </c:pt>
                <c:pt idx="2202">
                  <c:v>197</c:v>
                </c:pt>
                <c:pt idx="2203">
                  <c:v>196.93548387096774</c:v>
                </c:pt>
                <c:pt idx="2204">
                  <c:v>197.67741935483872</c:v>
                </c:pt>
                <c:pt idx="2205">
                  <c:v>197.35483870967741</c:v>
                </c:pt>
                <c:pt idx="2206">
                  <c:v>198.25806451612902</c:v>
                </c:pt>
                <c:pt idx="2207">
                  <c:v>199.45161290322579</c:v>
                </c:pt>
                <c:pt idx="2208">
                  <c:v>198.7741935483871</c:v>
                </c:pt>
                <c:pt idx="2209">
                  <c:v>198.45161290322579</c:v>
                </c:pt>
                <c:pt idx="2210">
                  <c:v>199.32258064516128</c:v>
                </c:pt>
                <c:pt idx="2211">
                  <c:v>200.25806451612902</c:v>
                </c:pt>
                <c:pt idx="2212">
                  <c:v>200.41935483870967</c:v>
                </c:pt>
                <c:pt idx="2213">
                  <c:v>200.41935483870967</c:v>
                </c:pt>
                <c:pt idx="2214">
                  <c:v>201.03225806451613</c:v>
                </c:pt>
                <c:pt idx="2215">
                  <c:v>200.87096774193549</c:v>
                </c:pt>
                <c:pt idx="2216">
                  <c:v>200.93548387096774</c:v>
                </c:pt>
                <c:pt idx="2217">
                  <c:v>201.45161290322579</c:v>
                </c:pt>
                <c:pt idx="2218">
                  <c:v>202.38709677419354</c:v>
                </c:pt>
                <c:pt idx="2219">
                  <c:v>203.32258064516128</c:v>
                </c:pt>
                <c:pt idx="2220">
                  <c:v>203.16129032258064</c:v>
                </c:pt>
                <c:pt idx="2221">
                  <c:v>203.06451612903226</c:v>
                </c:pt>
                <c:pt idx="2222">
                  <c:v>203.32258064516128</c:v>
                </c:pt>
                <c:pt idx="2223">
                  <c:v>204.58064516129033</c:v>
                </c:pt>
                <c:pt idx="2224">
                  <c:v>204.61290322580646</c:v>
                </c:pt>
                <c:pt idx="2225">
                  <c:v>206.51612903225808</c:v>
                </c:pt>
                <c:pt idx="2226">
                  <c:v>208.48387096774192</c:v>
                </c:pt>
                <c:pt idx="2227">
                  <c:v>209.74193548387098</c:v>
                </c:pt>
                <c:pt idx="2228">
                  <c:v>210.45161290322579</c:v>
                </c:pt>
                <c:pt idx="2229">
                  <c:v>212.2258064516129</c:v>
                </c:pt>
                <c:pt idx="2230">
                  <c:v>214.2258064516129</c:v>
                </c:pt>
                <c:pt idx="2231">
                  <c:v>214.70967741935485</c:v>
                </c:pt>
                <c:pt idx="2232">
                  <c:v>216.06451612903226</c:v>
                </c:pt>
                <c:pt idx="2233">
                  <c:v>216.70967741935485</c:v>
                </c:pt>
                <c:pt idx="2234">
                  <c:v>218.16129032258064</c:v>
                </c:pt>
                <c:pt idx="2235">
                  <c:v>219.32258064516128</c:v>
                </c:pt>
                <c:pt idx="2236">
                  <c:v>220.2258064516129</c:v>
                </c:pt>
                <c:pt idx="2237">
                  <c:v>221.09677419354838</c:v>
                </c:pt>
                <c:pt idx="2238">
                  <c:v>222</c:v>
                </c:pt>
                <c:pt idx="2239">
                  <c:v>223.54838709677421</c:v>
                </c:pt>
                <c:pt idx="2240">
                  <c:v>225.09677419354838</c:v>
                </c:pt>
                <c:pt idx="2241">
                  <c:v>225.48387096774192</c:v>
                </c:pt>
                <c:pt idx="2242">
                  <c:v>226.45161290322579</c:v>
                </c:pt>
                <c:pt idx="2243">
                  <c:v>227.38709677419354</c:v>
                </c:pt>
                <c:pt idx="2244">
                  <c:v>229.03225806451613</c:v>
                </c:pt>
                <c:pt idx="2245">
                  <c:v>229.70967741935485</c:v>
                </c:pt>
                <c:pt idx="2246">
                  <c:v>230.58064516129033</c:v>
                </c:pt>
                <c:pt idx="2247">
                  <c:v>231.74193548387098</c:v>
                </c:pt>
                <c:pt idx="2248">
                  <c:v>232.45161290322579</c:v>
                </c:pt>
                <c:pt idx="2249">
                  <c:v>232.87096774193549</c:v>
                </c:pt>
                <c:pt idx="2250">
                  <c:v>232.96774193548387</c:v>
                </c:pt>
                <c:pt idx="2251">
                  <c:v>233.87096774193549</c:v>
                </c:pt>
                <c:pt idx="2252">
                  <c:v>234.25806451612902</c:v>
                </c:pt>
                <c:pt idx="2253">
                  <c:v>235.19354838709677</c:v>
                </c:pt>
                <c:pt idx="2254">
                  <c:v>235.54838709677421</c:v>
                </c:pt>
                <c:pt idx="2255">
                  <c:v>235.93548387096774</c:v>
                </c:pt>
                <c:pt idx="2256">
                  <c:v>236.19354838709677</c:v>
                </c:pt>
                <c:pt idx="2257">
                  <c:v>236.19354838709677</c:v>
                </c:pt>
                <c:pt idx="2258">
                  <c:v>236.25806451612902</c:v>
                </c:pt>
                <c:pt idx="2259">
                  <c:v>236.48387096774192</c:v>
                </c:pt>
                <c:pt idx="2260">
                  <c:v>236.06451612903226</c:v>
                </c:pt>
                <c:pt idx="2261">
                  <c:v>235.67741935483872</c:v>
                </c:pt>
                <c:pt idx="2262">
                  <c:v>236.09677419354838</c:v>
                </c:pt>
                <c:pt idx="2263">
                  <c:v>236.06451612903226</c:v>
                </c:pt>
                <c:pt idx="2264">
                  <c:v>236.06451612903226</c:v>
                </c:pt>
                <c:pt idx="2265">
                  <c:v>236.29032258064515</c:v>
                </c:pt>
                <c:pt idx="2266">
                  <c:v>236.29032258064515</c:v>
                </c:pt>
                <c:pt idx="2267">
                  <c:v>236.80645161290323</c:v>
                </c:pt>
                <c:pt idx="2268">
                  <c:v>237.12903225806451</c:v>
                </c:pt>
                <c:pt idx="2269">
                  <c:v>237.41935483870967</c:v>
                </c:pt>
                <c:pt idx="2270">
                  <c:v>237.7741935483871</c:v>
                </c:pt>
                <c:pt idx="2271">
                  <c:v>238.19354838709677</c:v>
                </c:pt>
                <c:pt idx="2272">
                  <c:v>238.48387096774192</c:v>
                </c:pt>
                <c:pt idx="2273">
                  <c:v>239.09677419354838</c:v>
                </c:pt>
                <c:pt idx="2274">
                  <c:v>240.45161290322579</c:v>
                </c:pt>
                <c:pt idx="2275">
                  <c:v>232.67741935483872</c:v>
                </c:pt>
                <c:pt idx="2276">
                  <c:v>225.29032258064515</c:v>
                </c:pt>
                <c:pt idx="2277">
                  <c:v>217.67741935483872</c:v>
                </c:pt>
                <c:pt idx="2278">
                  <c:v>209.70967741935485</c:v>
                </c:pt>
                <c:pt idx="2279">
                  <c:v>202.03225806451613</c:v>
                </c:pt>
                <c:pt idx="2280">
                  <c:v>194.61290322580646</c:v>
                </c:pt>
                <c:pt idx="2281">
                  <c:v>187.48387096774192</c:v>
                </c:pt>
                <c:pt idx="2282">
                  <c:v>180</c:v>
                </c:pt>
                <c:pt idx="2283">
                  <c:v>172.83870967741936</c:v>
                </c:pt>
                <c:pt idx="2284">
                  <c:v>165.35483870967741</c:v>
                </c:pt>
                <c:pt idx="2285">
                  <c:v>157.45161290322579</c:v>
                </c:pt>
                <c:pt idx="2286">
                  <c:v>149.93548387096774</c:v>
                </c:pt>
                <c:pt idx="2287">
                  <c:v>141.90322580645162</c:v>
                </c:pt>
                <c:pt idx="2288">
                  <c:v>133.87096774193549</c:v>
                </c:pt>
                <c:pt idx="2289">
                  <c:v>126.19354838709677</c:v>
                </c:pt>
                <c:pt idx="2290">
                  <c:v>118.45161290322581</c:v>
                </c:pt>
                <c:pt idx="2291">
                  <c:v>116.83870967741936</c:v>
                </c:pt>
                <c:pt idx="2292">
                  <c:v>115.12903225806451</c:v>
                </c:pt>
                <c:pt idx="2293">
                  <c:v>114.12903225806451</c:v>
                </c:pt>
                <c:pt idx="2294">
                  <c:v>112.96774193548387</c:v>
                </c:pt>
                <c:pt idx="2295">
                  <c:v>112.45161290322581</c:v>
                </c:pt>
                <c:pt idx="2296">
                  <c:v>110.70967741935483</c:v>
                </c:pt>
                <c:pt idx="2297">
                  <c:v>109</c:v>
                </c:pt>
                <c:pt idx="2298">
                  <c:v>107.61290322580645</c:v>
                </c:pt>
                <c:pt idx="2299">
                  <c:v>105.51612903225806</c:v>
                </c:pt>
                <c:pt idx="2300">
                  <c:v>104.3225806451613</c:v>
                </c:pt>
                <c:pt idx="2301">
                  <c:v>102.96774193548387</c:v>
                </c:pt>
                <c:pt idx="2302">
                  <c:v>102.03225806451613</c:v>
                </c:pt>
                <c:pt idx="2303">
                  <c:v>100.90322580645162</c:v>
                </c:pt>
                <c:pt idx="2304">
                  <c:v>98.322580645161295</c:v>
                </c:pt>
                <c:pt idx="2305">
                  <c:v>96.451612903225808</c:v>
                </c:pt>
                <c:pt idx="2306">
                  <c:v>103.45161290322581</c:v>
                </c:pt>
                <c:pt idx="2307">
                  <c:v>109.61290322580645</c:v>
                </c:pt>
                <c:pt idx="2308">
                  <c:v>116.54838709677419</c:v>
                </c:pt>
                <c:pt idx="2309">
                  <c:v>123.41935483870968</c:v>
                </c:pt>
                <c:pt idx="2310">
                  <c:v>129.87096774193549</c:v>
                </c:pt>
                <c:pt idx="2311">
                  <c:v>136.2258064516129</c:v>
                </c:pt>
                <c:pt idx="2312">
                  <c:v>142.67741935483872</c:v>
                </c:pt>
                <c:pt idx="2313">
                  <c:v>148.61290322580646</c:v>
                </c:pt>
                <c:pt idx="2314">
                  <c:v>154.54838709677421</c:v>
                </c:pt>
                <c:pt idx="2315">
                  <c:v>160.80645161290323</c:v>
                </c:pt>
                <c:pt idx="2316">
                  <c:v>166.96774193548387</c:v>
                </c:pt>
                <c:pt idx="2317">
                  <c:v>174.06451612903226</c:v>
                </c:pt>
                <c:pt idx="2318">
                  <c:v>180.74193548387098</c:v>
                </c:pt>
                <c:pt idx="2319">
                  <c:v>187.64516129032259</c:v>
                </c:pt>
                <c:pt idx="2320">
                  <c:v>194.38709677419354</c:v>
                </c:pt>
                <c:pt idx="2321">
                  <c:v>200.48387096774192</c:v>
                </c:pt>
                <c:pt idx="2322">
                  <c:v>201.32258064516128</c:v>
                </c:pt>
                <c:pt idx="2323">
                  <c:v>202.25806451612902</c:v>
                </c:pt>
                <c:pt idx="2324">
                  <c:v>202.35483870967741</c:v>
                </c:pt>
                <c:pt idx="2325">
                  <c:v>201.7741935483871</c:v>
                </c:pt>
                <c:pt idx="2326">
                  <c:v>200.61290322580646</c:v>
                </c:pt>
                <c:pt idx="2327">
                  <c:v>200.74193548387098</c:v>
                </c:pt>
                <c:pt idx="2328">
                  <c:v>201.35483870967741</c:v>
                </c:pt>
                <c:pt idx="2329">
                  <c:v>201.32258064516128</c:v>
                </c:pt>
                <c:pt idx="2330">
                  <c:v>202</c:v>
                </c:pt>
                <c:pt idx="2331">
                  <c:v>201.12903225806451</c:v>
                </c:pt>
                <c:pt idx="2332">
                  <c:v>200.25806451612902</c:v>
                </c:pt>
                <c:pt idx="2333">
                  <c:v>199.87096774193549</c:v>
                </c:pt>
                <c:pt idx="2334">
                  <c:v>199.38709677419354</c:v>
                </c:pt>
                <c:pt idx="2335">
                  <c:v>199.54838709677421</c:v>
                </c:pt>
                <c:pt idx="2336">
                  <c:v>199.12903225806451</c:v>
                </c:pt>
                <c:pt idx="2337">
                  <c:v>198.09677419354838</c:v>
                </c:pt>
                <c:pt idx="2338">
                  <c:v>198.83870967741936</c:v>
                </c:pt>
                <c:pt idx="2339">
                  <c:v>198.87096774193549</c:v>
                </c:pt>
                <c:pt idx="2340">
                  <c:v>197.93548387096774</c:v>
                </c:pt>
                <c:pt idx="2341">
                  <c:v>197.29032258064515</c:v>
                </c:pt>
                <c:pt idx="2342">
                  <c:v>197.93548387096774</c:v>
                </c:pt>
                <c:pt idx="2343">
                  <c:v>197.64516129032259</c:v>
                </c:pt>
                <c:pt idx="2344">
                  <c:v>198.32258064516128</c:v>
                </c:pt>
                <c:pt idx="2345">
                  <c:v>199.29032258064515</c:v>
                </c:pt>
                <c:pt idx="2346">
                  <c:v>200.06451612903226</c:v>
                </c:pt>
                <c:pt idx="2347">
                  <c:v>199.90322580645162</c:v>
                </c:pt>
                <c:pt idx="2348">
                  <c:v>199.67741935483872</c:v>
                </c:pt>
                <c:pt idx="2349">
                  <c:v>199.16129032258064</c:v>
                </c:pt>
                <c:pt idx="2350">
                  <c:v>199.09677419354838</c:v>
                </c:pt>
                <c:pt idx="2351">
                  <c:v>198.87096774193549</c:v>
                </c:pt>
                <c:pt idx="2352">
                  <c:v>199.61290322580646</c:v>
                </c:pt>
                <c:pt idx="2353">
                  <c:v>198.54838709677421</c:v>
                </c:pt>
                <c:pt idx="2354">
                  <c:v>198.70967741935485</c:v>
                </c:pt>
                <c:pt idx="2355">
                  <c:v>198.06451612903226</c:v>
                </c:pt>
                <c:pt idx="2356">
                  <c:v>199.06451612903226</c:v>
                </c:pt>
                <c:pt idx="2357">
                  <c:v>200.03225806451613</c:v>
                </c:pt>
                <c:pt idx="2358">
                  <c:v>200.03225806451613</c:v>
                </c:pt>
                <c:pt idx="2359">
                  <c:v>200.03225806451613</c:v>
                </c:pt>
                <c:pt idx="2360">
                  <c:v>199.58064516129033</c:v>
                </c:pt>
                <c:pt idx="2361">
                  <c:v>199.64516129032259</c:v>
                </c:pt>
                <c:pt idx="2362">
                  <c:v>199.90322580645162</c:v>
                </c:pt>
                <c:pt idx="2363">
                  <c:v>199.83870967741936</c:v>
                </c:pt>
                <c:pt idx="2364">
                  <c:v>199.67741935483872</c:v>
                </c:pt>
                <c:pt idx="2365">
                  <c:v>200.64516129032259</c:v>
                </c:pt>
                <c:pt idx="2366">
                  <c:v>200.70967741935485</c:v>
                </c:pt>
                <c:pt idx="2367">
                  <c:v>200.70967741935485</c:v>
                </c:pt>
                <c:pt idx="2368">
                  <c:v>201.67741935483872</c:v>
                </c:pt>
                <c:pt idx="2369">
                  <c:v>201.35483870967741</c:v>
                </c:pt>
                <c:pt idx="2370">
                  <c:v>201.45161290322579</c:v>
                </c:pt>
                <c:pt idx="2371">
                  <c:v>201.67741935483872</c:v>
                </c:pt>
                <c:pt idx="2372">
                  <c:v>202.67741935483872</c:v>
                </c:pt>
                <c:pt idx="2373">
                  <c:v>201.64516129032259</c:v>
                </c:pt>
                <c:pt idx="2374">
                  <c:v>201.87096774193549</c:v>
                </c:pt>
                <c:pt idx="2375">
                  <c:v>201.96774193548387</c:v>
                </c:pt>
                <c:pt idx="2376">
                  <c:v>201.19354838709677</c:v>
                </c:pt>
                <c:pt idx="2377">
                  <c:v>201.03225806451613</c:v>
                </c:pt>
                <c:pt idx="2378">
                  <c:v>201.35483870967741</c:v>
                </c:pt>
                <c:pt idx="2379">
                  <c:v>200.41935483870967</c:v>
                </c:pt>
                <c:pt idx="2380">
                  <c:v>200.61290322580646</c:v>
                </c:pt>
                <c:pt idx="2381">
                  <c:v>200.61290322580646</c:v>
                </c:pt>
                <c:pt idx="2382">
                  <c:v>200.45161290322579</c:v>
                </c:pt>
                <c:pt idx="2383">
                  <c:v>200.06451612903226</c:v>
                </c:pt>
                <c:pt idx="2384">
                  <c:v>200.12903225806451</c:v>
                </c:pt>
                <c:pt idx="2385">
                  <c:v>199.70967741935485</c:v>
                </c:pt>
                <c:pt idx="2386">
                  <c:v>200.41935483870967</c:v>
                </c:pt>
                <c:pt idx="2387">
                  <c:v>200.2258064516129</c:v>
                </c:pt>
                <c:pt idx="2388">
                  <c:v>199.87096774193549</c:v>
                </c:pt>
                <c:pt idx="2389">
                  <c:v>199.83870967741936</c:v>
                </c:pt>
                <c:pt idx="2390">
                  <c:v>200</c:v>
                </c:pt>
                <c:pt idx="2391">
                  <c:v>200.03225806451613</c:v>
                </c:pt>
                <c:pt idx="2392">
                  <c:v>199.90322580645162</c:v>
                </c:pt>
                <c:pt idx="2393">
                  <c:v>199.87096774193549</c:v>
                </c:pt>
                <c:pt idx="2394">
                  <c:v>200.16129032258064</c:v>
                </c:pt>
                <c:pt idx="2395">
                  <c:v>200.58064516129033</c:v>
                </c:pt>
                <c:pt idx="2396">
                  <c:v>200.38709677419354</c:v>
                </c:pt>
                <c:pt idx="2397">
                  <c:v>200.96774193548387</c:v>
                </c:pt>
                <c:pt idx="2398">
                  <c:v>201.45161290322579</c:v>
                </c:pt>
                <c:pt idx="2399">
                  <c:v>201.35483870967741</c:v>
                </c:pt>
                <c:pt idx="2400">
                  <c:v>200.64516129032259</c:v>
                </c:pt>
                <c:pt idx="2401">
                  <c:v>199.90322580645162</c:v>
                </c:pt>
                <c:pt idx="2402">
                  <c:v>200.25806451612902</c:v>
                </c:pt>
                <c:pt idx="2403">
                  <c:v>200.12903225806451</c:v>
                </c:pt>
                <c:pt idx="2404">
                  <c:v>201.06451612903226</c:v>
                </c:pt>
                <c:pt idx="2405">
                  <c:v>201.19354838709677</c:v>
                </c:pt>
                <c:pt idx="2406">
                  <c:v>200.32258064516128</c:v>
                </c:pt>
                <c:pt idx="2407">
                  <c:v>201.29032258064515</c:v>
                </c:pt>
                <c:pt idx="2408">
                  <c:v>201.09677419354838</c:v>
                </c:pt>
                <c:pt idx="2409">
                  <c:v>201.19354838709677</c:v>
                </c:pt>
                <c:pt idx="2410">
                  <c:v>201.45161290322579</c:v>
                </c:pt>
                <c:pt idx="2411">
                  <c:v>201.45161290322579</c:v>
                </c:pt>
                <c:pt idx="2412">
                  <c:v>200.45161290322579</c:v>
                </c:pt>
                <c:pt idx="2413">
                  <c:v>200.03225806451613</c:v>
                </c:pt>
                <c:pt idx="2414">
                  <c:v>200.45161290322579</c:v>
                </c:pt>
                <c:pt idx="2415">
                  <c:v>201.51612903225808</c:v>
                </c:pt>
                <c:pt idx="2416">
                  <c:v>200.96774193548387</c:v>
                </c:pt>
                <c:pt idx="2417">
                  <c:v>200.93548387096774</c:v>
                </c:pt>
                <c:pt idx="2418">
                  <c:v>200.06451612903226</c:v>
                </c:pt>
                <c:pt idx="2419">
                  <c:v>200.38709677419354</c:v>
                </c:pt>
                <c:pt idx="2420">
                  <c:v>200.32258064516128</c:v>
                </c:pt>
                <c:pt idx="2421">
                  <c:v>199.2258064516129</c:v>
                </c:pt>
                <c:pt idx="2422">
                  <c:v>199.54838709677421</c:v>
                </c:pt>
                <c:pt idx="2423">
                  <c:v>199.2</c:v>
                </c:pt>
                <c:pt idx="2424">
                  <c:v>199.20689655172413</c:v>
                </c:pt>
                <c:pt idx="2425">
                  <c:v>199.46428571428572</c:v>
                </c:pt>
                <c:pt idx="2426">
                  <c:v>198.92592592592592</c:v>
                </c:pt>
                <c:pt idx="2427">
                  <c:v>198.46153846153845</c:v>
                </c:pt>
                <c:pt idx="2428">
                  <c:v>198.16</c:v>
                </c:pt>
                <c:pt idx="2429">
                  <c:v>197.75</c:v>
                </c:pt>
                <c:pt idx="2430">
                  <c:v>197.13043478260869</c:v>
                </c:pt>
                <c:pt idx="2431">
                  <c:v>197.81818181818181</c:v>
                </c:pt>
                <c:pt idx="2432">
                  <c:v>197.9047619047619</c:v>
                </c:pt>
                <c:pt idx="2433">
                  <c:v>197.7</c:v>
                </c:pt>
                <c:pt idx="2434">
                  <c:v>197.21052631578948</c:v>
                </c:pt>
                <c:pt idx="2435">
                  <c:v>196.27777777777777</c:v>
                </c:pt>
                <c:pt idx="2436">
                  <c:v>195.94117647058823</c:v>
                </c:pt>
                <c:pt idx="2437">
                  <c:v>196.875</c:v>
                </c:pt>
                <c:pt idx="2438">
                  <c:v>195.33333333333334</c:v>
                </c:pt>
                <c:pt idx="2439">
                  <c:v>194.5</c:v>
                </c:pt>
                <c:pt idx="2440">
                  <c:v>194.15384615384616</c:v>
                </c:pt>
                <c:pt idx="2441">
                  <c:v>194.33333333333334</c:v>
                </c:pt>
                <c:pt idx="2442">
                  <c:v>194.09090909090909</c:v>
                </c:pt>
                <c:pt idx="2443">
                  <c:v>195.4</c:v>
                </c:pt>
                <c:pt idx="2444">
                  <c:v>196.66666666666666</c:v>
                </c:pt>
                <c:pt idx="2445">
                  <c:v>194.625</c:v>
                </c:pt>
                <c:pt idx="2446">
                  <c:v>191.71428571428572</c:v>
                </c:pt>
                <c:pt idx="2447">
                  <c:v>193</c:v>
                </c:pt>
                <c:pt idx="2448">
                  <c:v>190</c:v>
                </c:pt>
                <c:pt idx="2449">
                  <c:v>191.75</c:v>
                </c:pt>
                <c:pt idx="2450">
                  <c:v>184.66666666666666</c:v>
                </c:pt>
                <c:pt idx="2451">
                  <c:v>186</c:v>
                </c:pt>
              </c:numCache>
            </c:numRef>
          </c:val>
          <c:smooth val="0"/>
          <c:extLst>
            <c:ext xmlns:c16="http://schemas.microsoft.com/office/drawing/2014/chart" uri="{C3380CC4-5D6E-409C-BE32-E72D297353CC}">
              <c16:uniqueId val="{00000003-29A8-CF42-9633-B19AC805DF98}"/>
            </c:ext>
          </c:extLst>
        </c:ser>
        <c:ser>
          <c:idx val="4"/>
          <c:order val="4"/>
          <c:tx>
            <c:strRef>
              <c:f>'DRT Rolling Mean'!$G$1</c:f>
              <c:strCache>
                <c:ptCount val="1"/>
                <c:pt idx="0">
                  <c:v>Ambient Temperature</c:v>
                </c:pt>
              </c:strCache>
            </c:strRef>
          </c:tx>
          <c:spPr>
            <a:ln w="28575" cap="rnd">
              <a:solidFill>
                <a:schemeClr val="accent5"/>
              </a:solidFill>
              <a:round/>
            </a:ln>
            <a:effectLst/>
          </c:spPr>
          <c:marker>
            <c:symbol val="none"/>
          </c:marker>
          <c:cat>
            <c:numRef>
              <c:f>'DRT Rolling Mean'!$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G$2:$G$2453</c:f>
              <c:numCache>
                <c:formatCode>#,##0.00</c:formatCode>
                <c:ptCount val="2452"/>
                <c:pt idx="0">
                  <c:v>49.806451612903224</c:v>
                </c:pt>
                <c:pt idx="1">
                  <c:v>49.516129032258064</c:v>
                </c:pt>
                <c:pt idx="2">
                  <c:v>49.516129032258064</c:v>
                </c:pt>
                <c:pt idx="3">
                  <c:v>49.225806451612904</c:v>
                </c:pt>
                <c:pt idx="4">
                  <c:v>49.354838709677416</c:v>
                </c:pt>
                <c:pt idx="5">
                  <c:v>49.354838709677416</c:v>
                </c:pt>
                <c:pt idx="6">
                  <c:v>49.483870967741936</c:v>
                </c:pt>
                <c:pt idx="7">
                  <c:v>49.322580645161288</c:v>
                </c:pt>
                <c:pt idx="8">
                  <c:v>49.032258064516128</c:v>
                </c:pt>
                <c:pt idx="9">
                  <c:v>49</c:v>
                </c:pt>
                <c:pt idx="10">
                  <c:v>49.032258064516128</c:v>
                </c:pt>
                <c:pt idx="11">
                  <c:v>49.161290322580648</c:v>
                </c:pt>
                <c:pt idx="12">
                  <c:v>49.12903225806452</c:v>
                </c:pt>
                <c:pt idx="13">
                  <c:v>49.225806451612904</c:v>
                </c:pt>
                <c:pt idx="14">
                  <c:v>49.225806451612904</c:v>
                </c:pt>
                <c:pt idx="15">
                  <c:v>49.29032258064516</c:v>
                </c:pt>
                <c:pt idx="16">
                  <c:v>49.548387096774192</c:v>
                </c:pt>
                <c:pt idx="17">
                  <c:v>49.612903225806448</c:v>
                </c:pt>
                <c:pt idx="18">
                  <c:v>49.41935483870968</c:v>
                </c:pt>
                <c:pt idx="19">
                  <c:v>49.451612903225808</c:v>
                </c:pt>
                <c:pt idx="20">
                  <c:v>49.29032258064516</c:v>
                </c:pt>
                <c:pt idx="21">
                  <c:v>49.29032258064516</c:v>
                </c:pt>
                <c:pt idx="22">
                  <c:v>49.41935483870968</c:v>
                </c:pt>
                <c:pt idx="23">
                  <c:v>49.58064516129032</c:v>
                </c:pt>
                <c:pt idx="24">
                  <c:v>49.87096774193548</c:v>
                </c:pt>
                <c:pt idx="25">
                  <c:v>50.064516129032256</c:v>
                </c:pt>
                <c:pt idx="26">
                  <c:v>50.193548387096776</c:v>
                </c:pt>
                <c:pt idx="27">
                  <c:v>50.12903225806452</c:v>
                </c:pt>
                <c:pt idx="28">
                  <c:v>50</c:v>
                </c:pt>
                <c:pt idx="29">
                  <c:v>50.29032258064516</c:v>
                </c:pt>
                <c:pt idx="30">
                  <c:v>50.064516129032256</c:v>
                </c:pt>
                <c:pt idx="31">
                  <c:v>49.903225806451616</c:v>
                </c:pt>
                <c:pt idx="32">
                  <c:v>49.935483870967744</c:v>
                </c:pt>
                <c:pt idx="33">
                  <c:v>50.032258064516128</c:v>
                </c:pt>
                <c:pt idx="34">
                  <c:v>50.225806451612904</c:v>
                </c:pt>
                <c:pt idx="35">
                  <c:v>50.161290322580648</c:v>
                </c:pt>
                <c:pt idx="36">
                  <c:v>50.258064516129032</c:v>
                </c:pt>
                <c:pt idx="37">
                  <c:v>50.12903225806452</c:v>
                </c:pt>
                <c:pt idx="38">
                  <c:v>50.225806451612904</c:v>
                </c:pt>
                <c:pt idx="39">
                  <c:v>50.258064516129032</c:v>
                </c:pt>
                <c:pt idx="40">
                  <c:v>50.29032258064516</c:v>
                </c:pt>
                <c:pt idx="41">
                  <c:v>50.548387096774192</c:v>
                </c:pt>
                <c:pt idx="42">
                  <c:v>50.258064516129032</c:v>
                </c:pt>
                <c:pt idx="43">
                  <c:v>50.064516129032256</c:v>
                </c:pt>
                <c:pt idx="44">
                  <c:v>50.161290322580648</c:v>
                </c:pt>
                <c:pt idx="45">
                  <c:v>50.096774193548384</c:v>
                </c:pt>
                <c:pt idx="46">
                  <c:v>50.12903225806452</c:v>
                </c:pt>
                <c:pt idx="47">
                  <c:v>50.032258064516128</c:v>
                </c:pt>
                <c:pt idx="48">
                  <c:v>50.193548387096776</c:v>
                </c:pt>
                <c:pt idx="49">
                  <c:v>50.387096774193552</c:v>
                </c:pt>
                <c:pt idx="50">
                  <c:v>50.387096774193552</c:v>
                </c:pt>
                <c:pt idx="51">
                  <c:v>50.387096774193552</c:v>
                </c:pt>
                <c:pt idx="52">
                  <c:v>50.41935483870968</c:v>
                </c:pt>
                <c:pt idx="53">
                  <c:v>50.225806451612904</c:v>
                </c:pt>
                <c:pt idx="54">
                  <c:v>50.225806451612904</c:v>
                </c:pt>
                <c:pt idx="55">
                  <c:v>50.225806451612904</c:v>
                </c:pt>
                <c:pt idx="56">
                  <c:v>50.225806451612904</c:v>
                </c:pt>
                <c:pt idx="57">
                  <c:v>49.903225806451616</c:v>
                </c:pt>
                <c:pt idx="58">
                  <c:v>49.967741935483872</c:v>
                </c:pt>
                <c:pt idx="59">
                  <c:v>50.12903225806452</c:v>
                </c:pt>
                <c:pt idx="60">
                  <c:v>49.806451612903224</c:v>
                </c:pt>
                <c:pt idx="61">
                  <c:v>49.935483870967744</c:v>
                </c:pt>
                <c:pt idx="62">
                  <c:v>50.161290322580648</c:v>
                </c:pt>
                <c:pt idx="63">
                  <c:v>50.451612903225808</c:v>
                </c:pt>
                <c:pt idx="64">
                  <c:v>50.387096774193552</c:v>
                </c:pt>
                <c:pt idx="65">
                  <c:v>50.225806451612904</c:v>
                </c:pt>
                <c:pt idx="66">
                  <c:v>50.12903225806452</c:v>
                </c:pt>
                <c:pt idx="67">
                  <c:v>50.193548387096776</c:v>
                </c:pt>
                <c:pt idx="68">
                  <c:v>50.225806451612904</c:v>
                </c:pt>
                <c:pt idx="69">
                  <c:v>50.258064516129032</c:v>
                </c:pt>
                <c:pt idx="70">
                  <c:v>50.354838709677416</c:v>
                </c:pt>
                <c:pt idx="71">
                  <c:v>50.354838709677416</c:v>
                </c:pt>
                <c:pt idx="72">
                  <c:v>50.161290322580648</c:v>
                </c:pt>
                <c:pt idx="73">
                  <c:v>50.161290322580648</c:v>
                </c:pt>
                <c:pt idx="74">
                  <c:v>50.258064516129032</c:v>
                </c:pt>
                <c:pt idx="75">
                  <c:v>50.258064516129032</c:v>
                </c:pt>
                <c:pt idx="76">
                  <c:v>50.483870967741936</c:v>
                </c:pt>
                <c:pt idx="77">
                  <c:v>50.29032258064516</c:v>
                </c:pt>
                <c:pt idx="78">
                  <c:v>50.12903225806452</c:v>
                </c:pt>
                <c:pt idx="79">
                  <c:v>50</c:v>
                </c:pt>
                <c:pt idx="80">
                  <c:v>49.838709677419352</c:v>
                </c:pt>
                <c:pt idx="81">
                  <c:v>49.903225806451616</c:v>
                </c:pt>
                <c:pt idx="82">
                  <c:v>49.967741935483872</c:v>
                </c:pt>
                <c:pt idx="83">
                  <c:v>49.967741935483872</c:v>
                </c:pt>
                <c:pt idx="84">
                  <c:v>50.064516129032256</c:v>
                </c:pt>
                <c:pt idx="85">
                  <c:v>50</c:v>
                </c:pt>
                <c:pt idx="86">
                  <c:v>49.806451612903224</c:v>
                </c:pt>
                <c:pt idx="87">
                  <c:v>49.645161290322584</c:v>
                </c:pt>
                <c:pt idx="88">
                  <c:v>49.645161290322584</c:v>
                </c:pt>
                <c:pt idx="89">
                  <c:v>49.677419354838712</c:v>
                </c:pt>
                <c:pt idx="90">
                  <c:v>49.645161290322584</c:v>
                </c:pt>
                <c:pt idx="91">
                  <c:v>49.935483870967744</c:v>
                </c:pt>
                <c:pt idx="92">
                  <c:v>49.806451612903224</c:v>
                </c:pt>
                <c:pt idx="93">
                  <c:v>49.483870967741936</c:v>
                </c:pt>
                <c:pt idx="94">
                  <c:v>49.387096774193552</c:v>
                </c:pt>
                <c:pt idx="95">
                  <c:v>49.612903225806448</c:v>
                </c:pt>
                <c:pt idx="96">
                  <c:v>49.58064516129032</c:v>
                </c:pt>
                <c:pt idx="97">
                  <c:v>49.516129032258064</c:v>
                </c:pt>
                <c:pt idx="98">
                  <c:v>49.29032258064516</c:v>
                </c:pt>
                <c:pt idx="99">
                  <c:v>49.516129032258064</c:v>
                </c:pt>
                <c:pt idx="100">
                  <c:v>49.483870967741936</c:v>
                </c:pt>
                <c:pt idx="101">
                  <c:v>49.612903225806448</c:v>
                </c:pt>
                <c:pt idx="102">
                  <c:v>49.58064516129032</c:v>
                </c:pt>
                <c:pt idx="103">
                  <c:v>49.774193548387096</c:v>
                </c:pt>
                <c:pt idx="104">
                  <c:v>49.774193548387096</c:v>
                </c:pt>
                <c:pt idx="105">
                  <c:v>49.612903225806448</c:v>
                </c:pt>
                <c:pt idx="106">
                  <c:v>49.41935483870968</c:v>
                </c:pt>
                <c:pt idx="107">
                  <c:v>49.161290322580648</c:v>
                </c:pt>
                <c:pt idx="108">
                  <c:v>49.354838709677416</c:v>
                </c:pt>
                <c:pt idx="109">
                  <c:v>49.548387096774192</c:v>
                </c:pt>
                <c:pt idx="110">
                  <c:v>49.677419354838712</c:v>
                </c:pt>
                <c:pt idx="111">
                  <c:v>49.612903225806448</c:v>
                </c:pt>
                <c:pt idx="112">
                  <c:v>49.612903225806448</c:v>
                </c:pt>
                <c:pt idx="113">
                  <c:v>49.645161290322584</c:v>
                </c:pt>
                <c:pt idx="114">
                  <c:v>49.806451612903224</c:v>
                </c:pt>
                <c:pt idx="115">
                  <c:v>49.806451612903224</c:v>
                </c:pt>
                <c:pt idx="116">
                  <c:v>49.741935483870968</c:v>
                </c:pt>
                <c:pt idx="117">
                  <c:v>49.774193548387096</c:v>
                </c:pt>
                <c:pt idx="118">
                  <c:v>49.838709677419352</c:v>
                </c:pt>
                <c:pt idx="119">
                  <c:v>49.838709677419352</c:v>
                </c:pt>
                <c:pt idx="120">
                  <c:v>49.838709677419352</c:v>
                </c:pt>
                <c:pt idx="121">
                  <c:v>49.612903225806448</c:v>
                </c:pt>
                <c:pt idx="122">
                  <c:v>49.354838709677416</c:v>
                </c:pt>
                <c:pt idx="123">
                  <c:v>49.258064516129032</c:v>
                </c:pt>
                <c:pt idx="124">
                  <c:v>49.516129032258064</c:v>
                </c:pt>
                <c:pt idx="125">
                  <c:v>49.516129032258064</c:v>
                </c:pt>
                <c:pt idx="126">
                  <c:v>49.29032258064516</c:v>
                </c:pt>
                <c:pt idx="127">
                  <c:v>49.258064516129032</c:v>
                </c:pt>
                <c:pt idx="128">
                  <c:v>49.322580645161288</c:v>
                </c:pt>
                <c:pt idx="129">
                  <c:v>49.322580645161288</c:v>
                </c:pt>
                <c:pt idx="130">
                  <c:v>49</c:v>
                </c:pt>
                <c:pt idx="131">
                  <c:v>48.903225806451616</c:v>
                </c:pt>
                <c:pt idx="132">
                  <c:v>48.903225806451616</c:v>
                </c:pt>
                <c:pt idx="133">
                  <c:v>48.677419354838712</c:v>
                </c:pt>
                <c:pt idx="134">
                  <c:v>48.548387096774192</c:v>
                </c:pt>
                <c:pt idx="135">
                  <c:v>48.548387096774192</c:v>
                </c:pt>
                <c:pt idx="136">
                  <c:v>48.612903225806448</c:v>
                </c:pt>
                <c:pt idx="137">
                  <c:v>48.774193548387096</c:v>
                </c:pt>
                <c:pt idx="138">
                  <c:v>48.967741935483872</c:v>
                </c:pt>
                <c:pt idx="139">
                  <c:v>48.645161290322584</c:v>
                </c:pt>
                <c:pt idx="140">
                  <c:v>48.516129032258064</c:v>
                </c:pt>
                <c:pt idx="141">
                  <c:v>48.354838709677416</c:v>
                </c:pt>
                <c:pt idx="142">
                  <c:v>48.322580645161288</c:v>
                </c:pt>
                <c:pt idx="143">
                  <c:v>48.322580645161288</c:v>
                </c:pt>
                <c:pt idx="144">
                  <c:v>48.451612903225808</c:v>
                </c:pt>
                <c:pt idx="145">
                  <c:v>48.322580645161288</c:v>
                </c:pt>
                <c:pt idx="146">
                  <c:v>48.41935483870968</c:v>
                </c:pt>
                <c:pt idx="147">
                  <c:v>48.612903225806448</c:v>
                </c:pt>
                <c:pt idx="148">
                  <c:v>48.451612903225808</c:v>
                </c:pt>
                <c:pt idx="149">
                  <c:v>48.322580645161288</c:v>
                </c:pt>
                <c:pt idx="150">
                  <c:v>48.451612903225808</c:v>
                </c:pt>
                <c:pt idx="151">
                  <c:v>48.516129032258064</c:v>
                </c:pt>
                <c:pt idx="152">
                  <c:v>48.548387096774192</c:v>
                </c:pt>
                <c:pt idx="153">
                  <c:v>48.58064516129032</c:v>
                </c:pt>
                <c:pt idx="154">
                  <c:v>48.645161290322584</c:v>
                </c:pt>
                <c:pt idx="155">
                  <c:v>48.677419354838712</c:v>
                </c:pt>
                <c:pt idx="156">
                  <c:v>48.483870967741936</c:v>
                </c:pt>
                <c:pt idx="157">
                  <c:v>48.645161290322584</c:v>
                </c:pt>
                <c:pt idx="158">
                  <c:v>48.935483870967744</c:v>
                </c:pt>
                <c:pt idx="159">
                  <c:v>48.87096774193548</c:v>
                </c:pt>
                <c:pt idx="160">
                  <c:v>49.032258064516128</c:v>
                </c:pt>
                <c:pt idx="161">
                  <c:v>49.258064516129032</c:v>
                </c:pt>
                <c:pt idx="162">
                  <c:v>49.548387096774192</c:v>
                </c:pt>
                <c:pt idx="163">
                  <c:v>49.612903225806448</c:v>
                </c:pt>
                <c:pt idx="164">
                  <c:v>49.70967741935484</c:v>
                </c:pt>
                <c:pt idx="165">
                  <c:v>49.70967741935484</c:v>
                </c:pt>
                <c:pt idx="166">
                  <c:v>49.87096774193548</c:v>
                </c:pt>
                <c:pt idx="167">
                  <c:v>49.967741935483872</c:v>
                </c:pt>
                <c:pt idx="168">
                  <c:v>50.032258064516128</c:v>
                </c:pt>
                <c:pt idx="169">
                  <c:v>49.967741935483872</c:v>
                </c:pt>
                <c:pt idx="170">
                  <c:v>50.096774193548384</c:v>
                </c:pt>
                <c:pt idx="171">
                  <c:v>50.161290322580648</c:v>
                </c:pt>
                <c:pt idx="172">
                  <c:v>50.12903225806452</c:v>
                </c:pt>
                <c:pt idx="173">
                  <c:v>50.064516129032256</c:v>
                </c:pt>
                <c:pt idx="174">
                  <c:v>49.935483870967744</c:v>
                </c:pt>
                <c:pt idx="175">
                  <c:v>49.741935483870968</c:v>
                </c:pt>
                <c:pt idx="176">
                  <c:v>49.967741935483872</c:v>
                </c:pt>
                <c:pt idx="177">
                  <c:v>49.774193548387096</c:v>
                </c:pt>
                <c:pt idx="178">
                  <c:v>49.483870967741936</c:v>
                </c:pt>
                <c:pt idx="179">
                  <c:v>49.645161290322584</c:v>
                </c:pt>
                <c:pt idx="180">
                  <c:v>49.87096774193548</c:v>
                </c:pt>
                <c:pt idx="181">
                  <c:v>50.032258064516128</c:v>
                </c:pt>
                <c:pt idx="182">
                  <c:v>49.903225806451616</c:v>
                </c:pt>
                <c:pt idx="183">
                  <c:v>50.032258064516128</c:v>
                </c:pt>
                <c:pt idx="184">
                  <c:v>50.29032258064516</c:v>
                </c:pt>
                <c:pt idx="185">
                  <c:v>50.322580645161288</c:v>
                </c:pt>
                <c:pt idx="186">
                  <c:v>50.161290322580648</c:v>
                </c:pt>
                <c:pt idx="187">
                  <c:v>50.225806451612904</c:v>
                </c:pt>
                <c:pt idx="188">
                  <c:v>50.096774193548384</c:v>
                </c:pt>
                <c:pt idx="189">
                  <c:v>49.87096774193548</c:v>
                </c:pt>
                <c:pt idx="190">
                  <c:v>50.096774193548384</c:v>
                </c:pt>
                <c:pt idx="191">
                  <c:v>49.903225806451616</c:v>
                </c:pt>
                <c:pt idx="192">
                  <c:v>49.838709677419352</c:v>
                </c:pt>
                <c:pt idx="193">
                  <c:v>49.58064516129032</c:v>
                </c:pt>
                <c:pt idx="194">
                  <c:v>49.258064516129032</c:v>
                </c:pt>
                <c:pt idx="195">
                  <c:v>49.354838709677416</c:v>
                </c:pt>
                <c:pt idx="196">
                  <c:v>49.322580645161288</c:v>
                </c:pt>
                <c:pt idx="197">
                  <c:v>49.161290322580648</c:v>
                </c:pt>
                <c:pt idx="198">
                  <c:v>49.322580645161288</c:v>
                </c:pt>
                <c:pt idx="199">
                  <c:v>49.12903225806452</c:v>
                </c:pt>
                <c:pt idx="200">
                  <c:v>49.161290322580648</c:v>
                </c:pt>
                <c:pt idx="201">
                  <c:v>49.354838709677416</c:v>
                </c:pt>
                <c:pt idx="202">
                  <c:v>49.483870967741936</c:v>
                </c:pt>
                <c:pt idx="203">
                  <c:v>49.451612903225808</c:v>
                </c:pt>
                <c:pt idx="204">
                  <c:v>49.58064516129032</c:v>
                </c:pt>
                <c:pt idx="205">
                  <c:v>49.41935483870968</c:v>
                </c:pt>
                <c:pt idx="206">
                  <c:v>49.354838709677416</c:v>
                </c:pt>
                <c:pt idx="207">
                  <c:v>49.096774193548384</c:v>
                </c:pt>
                <c:pt idx="208">
                  <c:v>49.258064516129032</c:v>
                </c:pt>
                <c:pt idx="209">
                  <c:v>49.322580645161288</c:v>
                </c:pt>
                <c:pt idx="210">
                  <c:v>49.161290322580648</c:v>
                </c:pt>
                <c:pt idx="211">
                  <c:v>49.193548387096776</c:v>
                </c:pt>
                <c:pt idx="212">
                  <c:v>48.903225806451616</c:v>
                </c:pt>
                <c:pt idx="213">
                  <c:v>49.161290322580648</c:v>
                </c:pt>
                <c:pt idx="214">
                  <c:v>49.29032258064516</c:v>
                </c:pt>
                <c:pt idx="215">
                  <c:v>49.193548387096776</c:v>
                </c:pt>
                <c:pt idx="216">
                  <c:v>49.387096774193552</c:v>
                </c:pt>
                <c:pt idx="217">
                  <c:v>49.516129032258064</c:v>
                </c:pt>
                <c:pt idx="218">
                  <c:v>49.70967741935484</c:v>
                </c:pt>
                <c:pt idx="219">
                  <c:v>49.87096774193548</c:v>
                </c:pt>
                <c:pt idx="220">
                  <c:v>50.064516129032256</c:v>
                </c:pt>
                <c:pt idx="221">
                  <c:v>50.032258064516128</c:v>
                </c:pt>
                <c:pt idx="222">
                  <c:v>50.193548387096776</c:v>
                </c:pt>
                <c:pt idx="223">
                  <c:v>50.322580645161288</c:v>
                </c:pt>
                <c:pt idx="224">
                  <c:v>50.58064516129032</c:v>
                </c:pt>
                <c:pt idx="225">
                  <c:v>50.903225806451616</c:v>
                </c:pt>
                <c:pt idx="226">
                  <c:v>51.032258064516128</c:v>
                </c:pt>
                <c:pt idx="227">
                  <c:v>51.161290322580648</c:v>
                </c:pt>
                <c:pt idx="228">
                  <c:v>51.387096774193552</c:v>
                </c:pt>
                <c:pt idx="229">
                  <c:v>51.387096774193552</c:v>
                </c:pt>
                <c:pt idx="230">
                  <c:v>51.677419354838712</c:v>
                </c:pt>
                <c:pt idx="231">
                  <c:v>51.741935483870968</c:v>
                </c:pt>
                <c:pt idx="232">
                  <c:v>51.741935483870968</c:v>
                </c:pt>
                <c:pt idx="233">
                  <c:v>51.774193548387096</c:v>
                </c:pt>
                <c:pt idx="234">
                  <c:v>51.935483870967744</c:v>
                </c:pt>
                <c:pt idx="235">
                  <c:v>52.096774193548384</c:v>
                </c:pt>
                <c:pt idx="236">
                  <c:v>52.354838709677416</c:v>
                </c:pt>
                <c:pt idx="237">
                  <c:v>52.612903225806448</c:v>
                </c:pt>
                <c:pt idx="238">
                  <c:v>52.903225806451616</c:v>
                </c:pt>
                <c:pt idx="239">
                  <c:v>52.967741935483872</c:v>
                </c:pt>
                <c:pt idx="240">
                  <c:v>53.161290322580648</c:v>
                </c:pt>
                <c:pt idx="241">
                  <c:v>53.451612903225808</c:v>
                </c:pt>
                <c:pt idx="242">
                  <c:v>53.354838709677416</c:v>
                </c:pt>
                <c:pt idx="243">
                  <c:v>53.612903225806448</c:v>
                </c:pt>
                <c:pt idx="244">
                  <c:v>53.612903225806448</c:v>
                </c:pt>
                <c:pt idx="245">
                  <c:v>53.58064516129032</c:v>
                </c:pt>
                <c:pt idx="246">
                  <c:v>53.677419354838712</c:v>
                </c:pt>
                <c:pt idx="247">
                  <c:v>53.70967741935484</c:v>
                </c:pt>
                <c:pt idx="248">
                  <c:v>53.677419354838712</c:v>
                </c:pt>
                <c:pt idx="249">
                  <c:v>53.677419354838712</c:v>
                </c:pt>
                <c:pt idx="250">
                  <c:v>53.645161290322584</c:v>
                </c:pt>
                <c:pt idx="251">
                  <c:v>53.677419354838712</c:v>
                </c:pt>
                <c:pt idx="252">
                  <c:v>53.70967741935484</c:v>
                </c:pt>
                <c:pt idx="253">
                  <c:v>53.774193548387096</c:v>
                </c:pt>
                <c:pt idx="254">
                  <c:v>53.70967741935484</c:v>
                </c:pt>
                <c:pt idx="255">
                  <c:v>53.677419354838712</c:v>
                </c:pt>
                <c:pt idx="256">
                  <c:v>53.58064516129032</c:v>
                </c:pt>
                <c:pt idx="257">
                  <c:v>53.41935483870968</c:v>
                </c:pt>
                <c:pt idx="258">
                  <c:v>53.29032258064516</c:v>
                </c:pt>
                <c:pt idx="259">
                  <c:v>53.354838709677416</c:v>
                </c:pt>
                <c:pt idx="260">
                  <c:v>53.193548387096776</c:v>
                </c:pt>
                <c:pt idx="261">
                  <c:v>53.161290322580648</c:v>
                </c:pt>
                <c:pt idx="262">
                  <c:v>53.161290322580648</c:v>
                </c:pt>
                <c:pt idx="263">
                  <c:v>53.12903225806452</c:v>
                </c:pt>
                <c:pt idx="264">
                  <c:v>53.161290322580648</c:v>
                </c:pt>
                <c:pt idx="265">
                  <c:v>53</c:v>
                </c:pt>
                <c:pt idx="266">
                  <c:v>53.032258064516128</c:v>
                </c:pt>
                <c:pt idx="267">
                  <c:v>52.935483870967744</c:v>
                </c:pt>
                <c:pt idx="268">
                  <c:v>52.70967741935484</c:v>
                </c:pt>
                <c:pt idx="269">
                  <c:v>52.41935483870968</c:v>
                </c:pt>
                <c:pt idx="270">
                  <c:v>52.161290322580648</c:v>
                </c:pt>
                <c:pt idx="271">
                  <c:v>51.967741935483872</c:v>
                </c:pt>
                <c:pt idx="272">
                  <c:v>51.935483870967744</c:v>
                </c:pt>
                <c:pt idx="273">
                  <c:v>51.903225806451616</c:v>
                </c:pt>
                <c:pt idx="274">
                  <c:v>51.935483870967744</c:v>
                </c:pt>
                <c:pt idx="275">
                  <c:v>51.87096774193548</c:v>
                </c:pt>
                <c:pt idx="276">
                  <c:v>51.87096774193548</c:v>
                </c:pt>
                <c:pt idx="277">
                  <c:v>51.612903225806448</c:v>
                </c:pt>
                <c:pt idx="278">
                  <c:v>51.58064516129032</c:v>
                </c:pt>
                <c:pt idx="279">
                  <c:v>51.58064516129032</c:v>
                </c:pt>
                <c:pt idx="280">
                  <c:v>51.451612903225808</c:v>
                </c:pt>
                <c:pt idx="281">
                  <c:v>51.322580645161288</c:v>
                </c:pt>
                <c:pt idx="282">
                  <c:v>51.225806451612904</c:v>
                </c:pt>
                <c:pt idx="283">
                  <c:v>51.29032258064516</c:v>
                </c:pt>
                <c:pt idx="284">
                  <c:v>51.258064516129032</c:v>
                </c:pt>
                <c:pt idx="285">
                  <c:v>51.193548387096776</c:v>
                </c:pt>
                <c:pt idx="286">
                  <c:v>51</c:v>
                </c:pt>
                <c:pt idx="287">
                  <c:v>51.096774193548384</c:v>
                </c:pt>
                <c:pt idx="288">
                  <c:v>50.967741935483872</c:v>
                </c:pt>
                <c:pt idx="289">
                  <c:v>51.064516129032256</c:v>
                </c:pt>
                <c:pt idx="290">
                  <c:v>50.806451612903224</c:v>
                </c:pt>
                <c:pt idx="291">
                  <c:v>50.87096774193548</c:v>
                </c:pt>
                <c:pt idx="292">
                  <c:v>50.806451612903224</c:v>
                </c:pt>
                <c:pt idx="293">
                  <c:v>50.774193548387096</c:v>
                </c:pt>
                <c:pt idx="294">
                  <c:v>50.516129032258064</c:v>
                </c:pt>
                <c:pt idx="295">
                  <c:v>50.483870967741936</c:v>
                </c:pt>
                <c:pt idx="296">
                  <c:v>50.677419354838712</c:v>
                </c:pt>
                <c:pt idx="297">
                  <c:v>50.645161290322584</c:v>
                </c:pt>
                <c:pt idx="298">
                  <c:v>50.677419354838712</c:v>
                </c:pt>
                <c:pt idx="299">
                  <c:v>50.806451612903224</c:v>
                </c:pt>
                <c:pt idx="300">
                  <c:v>51.096774193548384</c:v>
                </c:pt>
                <c:pt idx="301">
                  <c:v>51.161290322580648</c:v>
                </c:pt>
                <c:pt idx="302">
                  <c:v>51.29032258064516</c:v>
                </c:pt>
                <c:pt idx="303">
                  <c:v>51.354838709677416</c:v>
                </c:pt>
                <c:pt idx="304">
                  <c:v>51.483870967741936</c:v>
                </c:pt>
                <c:pt idx="305">
                  <c:v>51.516129032258064</c:v>
                </c:pt>
                <c:pt idx="306">
                  <c:v>51.29032258064516</c:v>
                </c:pt>
                <c:pt idx="307">
                  <c:v>51.193548387096776</c:v>
                </c:pt>
                <c:pt idx="308">
                  <c:v>51.41935483870968</c:v>
                </c:pt>
                <c:pt idx="309">
                  <c:v>51.41935483870968</c:v>
                </c:pt>
                <c:pt idx="310">
                  <c:v>51.193548387096776</c:v>
                </c:pt>
                <c:pt idx="311">
                  <c:v>51.12903225806452</c:v>
                </c:pt>
                <c:pt idx="312">
                  <c:v>51.354838709677416</c:v>
                </c:pt>
                <c:pt idx="313">
                  <c:v>51.225806451612904</c:v>
                </c:pt>
                <c:pt idx="314">
                  <c:v>50.935483870967744</c:v>
                </c:pt>
                <c:pt idx="315">
                  <c:v>51</c:v>
                </c:pt>
                <c:pt idx="316">
                  <c:v>51.032258064516128</c:v>
                </c:pt>
                <c:pt idx="317">
                  <c:v>50.935483870967744</c:v>
                </c:pt>
                <c:pt idx="318">
                  <c:v>50.838709677419352</c:v>
                </c:pt>
                <c:pt idx="319">
                  <c:v>50.806451612903224</c:v>
                </c:pt>
                <c:pt idx="320">
                  <c:v>50.774193548387096</c:v>
                </c:pt>
                <c:pt idx="321">
                  <c:v>50.935483870967744</c:v>
                </c:pt>
                <c:pt idx="322">
                  <c:v>50.967741935483872</c:v>
                </c:pt>
                <c:pt idx="323">
                  <c:v>50.774193548387096</c:v>
                </c:pt>
                <c:pt idx="324">
                  <c:v>50.645161290322584</c:v>
                </c:pt>
                <c:pt idx="325">
                  <c:v>50.677419354838712</c:v>
                </c:pt>
                <c:pt idx="326">
                  <c:v>50.387096774193552</c:v>
                </c:pt>
                <c:pt idx="327">
                  <c:v>50.193548387096776</c:v>
                </c:pt>
                <c:pt idx="328">
                  <c:v>49.903225806451616</c:v>
                </c:pt>
                <c:pt idx="329">
                  <c:v>49.677419354838712</c:v>
                </c:pt>
                <c:pt idx="330">
                  <c:v>49.645161290322584</c:v>
                </c:pt>
                <c:pt idx="331">
                  <c:v>49.387096774193552</c:v>
                </c:pt>
                <c:pt idx="332">
                  <c:v>49.516129032258064</c:v>
                </c:pt>
                <c:pt idx="333">
                  <c:v>49.483870967741936</c:v>
                </c:pt>
                <c:pt idx="334">
                  <c:v>49.451612903225808</c:v>
                </c:pt>
                <c:pt idx="335">
                  <c:v>49.258064516129032</c:v>
                </c:pt>
                <c:pt idx="336">
                  <c:v>48.935483870967744</c:v>
                </c:pt>
                <c:pt idx="337">
                  <c:v>49.225806451612904</c:v>
                </c:pt>
                <c:pt idx="338">
                  <c:v>49.354838709677416</c:v>
                </c:pt>
                <c:pt idx="339">
                  <c:v>49.12903225806452</c:v>
                </c:pt>
                <c:pt idx="340">
                  <c:v>49.12903225806452</c:v>
                </c:pt>
                <c:pt idx="341">
                  <c:v>49.354838709677416</c:v>
                </c:pt>
                <c:pt idx="342">
                  <c:v>49.322580645161288</c:v>
                </c:pt>
                <c:pt idx="343">
                  <c:v>49.225806451612904</c:v>
                </c:pt>
                <c:pt idx="344">
                  <c:v>49.193548387096776</c:v>
                </c:pt>
                <c:pt idx="345">
                  <c:v>49.387096774193552</c:v>
                </c:pt>
                <c:pt idx="346">
                  <c:v>49.225806451612904</c:v>
                </c:pt>
                <c:pt idx="347">
                  <c:v>49.193548387096776</c:v>
                </c:pt>
                <c:pt idx="348">
                  <c:v>49.258064516129032</c:v>
                </c:pt>
                <c:pt idx="349">
                  <c:v>49.193548387096776</c:v>
                </c:pt>
                <c:pt idx="350">
                  <c:v>49.193548387096776</c:v>
                </c:pt>
                <c:pt idx="351">
                  <c:v>49.064516129032256</c:v>
                </c:pt>
                <c:pt idx="352">
                  <c:v>49.032258064516128</c:v>
                </c:pt>
                <c:pt idx="353">
                  <c:v>48.87096774193548</c:v>
                </c:pt>
                <c:pt idx="354">
                  <c:v>49</c:v>
                </c:pt>
                <c:pt idx="355">
                  <c:v>49</c:v>
                </c:pt>
                <c:pt idx="356">
                  <c:v>48.967741935483872</c:v>
                </c:pt>
                <c:pt idx="357">
                  <c:v>49.225806451612904</c:v>
                </c:pt>
                <c:pt idx="358">
                  <c:v>49.483870967741936</c:v>
                </c:pt>
                <c:pt idx="359">
                  <c:v>49.741935483870968</c:v>
                </c:pt>
                <c:pt idx="360">
                  <c:v>49.935483870967744</c:v>
                </c:pt>
                <c:pt idx="361">
                  <c:v>50.032258064516128</c:v>
                </c:pt>
                <c:pt idx="362">
                  <c:v>50.225806451612904</c:v>
                </c:pt>
                <c:pt idx="363">
                  <c:v>50.064516129032256</c:v>
                </c:pt>
                <c:pt idx="364">
                  <c:v>49.903225806451616</c:v>
                </c:pt>
                <c:pt idx="365">
                  <c:v>49.70967741935484</c:v>
                </c:pt>
                <c:pt idx="366">
                  <c:v>49.677419354838712</c:v>
                </c:pt>
                <c:pt idx="367">
                  <c:v>49.838709677419352</c:v>
                </c:pt>
                <c:pt idx="368">
                  <c:v>49.516129032258064</c:v>
                </c:pt>
                <c:pt idx="369">
                  <c:v>49.387096774193552</c:v>
                </c:pt>
                <c:pt idx="370">
                  <c:v>49.322580645161288</c:v>
                </c:pt>
                <c:pt idx="371">
                  <c:v>49.064516129032256</c:v>
                </c:pt>
                <c:pt idx="372">
                  <c:v>49</c:v>
                </c:pt>
                <c:pt idx="373">
                  <c:v>49.193548387096776</c:v>
                </c:pt>
                <c:pt idx="374">
                  <c:v>48.967741935483872</c:v>
                </c:pt>
                <c:pt idx="375">
                  <c:v>48.935483870967744</c:v>
                </c:pt>
                <c:pt idx="376">
                  <c:v>48.87096774193548</c:v>
                </c:pt>
                <c:pt idx="377">
                  <c:v>48.903225806451616</c:v>
                </c:pt>
                <c:pt idx="378">
                  <c:v>49.032258064516128</c:v>
                </c:pt>
                <c:pt idx="379">
                  <c:v>49.064516129032256</c:v>
                </c:pt>
                <c:pt idx="380">
                  <c:v>49.225806451612904</c:v>
                </c:pt>
                <c:pt idx="381">
                  <c:v>49.225806451612904</c:v>
                </c:pt>
                <c:pt idx="382">
                  <c:v>49.193548387096776</c:v>
                </c:pt>
                <c:pt idx="383">
                  <c:v>49.322580645161288</c:v>
                </c:pt>
                <c:pt idx="384">
                  <c:v>49.258064516129032</c:v>
                </c:pt>
                <c:pt idx="385">
                  <c:v>49.161290322580648</c:v>
                </c:pt>
                <c:pt idx="386">
                  <c:v>49.161290322580648</c:v>
                </c:pt>
                <c:pt idx="387">
                  <c:v>49.451612903225808</c:v>
                </c:pt>
                <c:pt idx="388">
                  <c:v>49.354838709677416</c:v>
                </c:pt>
                <c:pt idx="389">
                  <c:v>49.096774193548384</c:v>
                </c:pt>
                <c:pt idx="390">
                  <c:v>48.87096774193548</c:v>
                </c:pt>
                <c:pt idx="391">
                  <c:v>48.741935483870968</c:v>
                </c:pt>
                <c:pt idx="392">
                  <c:v>48.548387096774192</c:v>
                </c:pt>
                <c:pt idx="393">
                  <c:v>48.354838709677416</c:v>
                </c:pt>
                <c:pt idx="394">
                  <c:v>48.645161290322584</c:v>
                </c:pt>
                <c:pt idx="395">
                  <c:v>48.935483870967744</c:v>
                </c:pt>
                <c:pt idx="396">
                  <c:v>49.032258064516128</c:v>
                </c:pt>
                <c:pt idx="397">
                  <c:v>49</c:v>
                </c:pt>
                <c:pt idx="398">
                  <c:v>48.87096774193548</c:v>
                </c:pt>
                <c:pt idx="399">
                  <c:v>49.193548387096776</c:v>
                </c:pt>
                <c:pt idx="400">
                  <c:v>49.032258064516128</c:v>
                </c:pt>
                <c:pt idx="401">
                  <c:v>49.29032258064516</c:v>
                </c:pt>
                <c:pt idx="402">
                  <c:v>49.29032258064516</c:v>
                </c:pt>
                <c:pt idx="403">
                  <c:v>49.193548387096776</c:v>
                </c:pt>
                <c:pt idx="404">
                  <c:v>49.096774193548384</c:v>
                </c:pt>
                <c:pt idx="405">
                  <c:v>49.225806451612904</c:v>
                </c:pt>
                <c:pt idx="406">
                  <c:v>49.516129032258064</c:v>
                </c:pt>
                <c:pt idx="407">
                  <c:v>49.677419354838712</c:v>
                </c:pt>
                <c:pt idx="408">
                  <c:v>49.516129032258064</c:v>
                </c:pt>
                <c:pt idx="409">
                  <c:v>49.483870967741936</c:v>
                </c:pt>
                <c:pt idx="410">
                  <c:v>49.41935483870968</c:v>
                </c:pt>
                <c:pt idx="411">
                  <c:v>49.225806451612904</c:v>
                </c:pt>
                <c:pt idx="412">
                  <c:v>49.387096774193552</c:v>
                </c:pt>
                <c:pt idx="413">
                  <c:v>49.483870967741936</c:v>
                </c:pt>
                <c:pt idx="414">
                  <c:v>49.354838709677416</c:v>
                </c:pt>
                <c:pt idx="415">
                  <c:v>49.387096774193552</c:v>
                </c:pt>
                <c:pt idx="416">
                  <c:v>49.612903225806448</c:v>
                </c:pt>
                <c:pt idx="417">
                  <c:v>49.741935483870968</c:v>
                </c:pt>
                <c:pt idx="418">
                  <c:v>49.58064516129032</c:v>
                </c:pt>
                <c:pt idx="419">
                  <c:v>49.677419354838712</c:v>
                </c:pt>
                <c:pt idx="420">
                  <c:v>49.838709677419352</c:v>
                </c:pt>
                <c:pt idx="421">
                  <c:v>50</c:v>
                </c:pt>
                <c:pt idx="422">
                  <c:v>50.096774193548384</c:v>
                </c:pt>
                <c:pt idx="423">
                  <c:v>50.161290322580648</c:v>
                </c:pt>
                <c:pt idx="424">
                  <c:v>50.161290322580648</c:v>
                </c:pt>
                <c:pt idx="425">
                  <c:v>49.838709677419352</c:v>
                </c:pt>
                <c:pt idx="426">
                  <c:v>49.806451612903224</c:v>
                </c:pt>
                <c:pt idx="427">
                  <c:v>49.87096774193548</c:v>
                </c:pt>
                <c:pt idx="428">
                  <c:v>49.806451612903224</c:v>
                </c:pt>
                <c:pt idx="429">
                  <c:v>50.032258064516128</c:v>
                </c:pt>
                <c:pt idx="430">
                  <c:v>49.806451612903224</c:v>
                </c:pt>
                <c:pt idx="431">
                  <c:v>50.064516129032256</c:v>
                </c:pt>
                <c:pt idx="432">
                  <c:v>49.967741935483872</c:v>
                </c:pt>
                <c:pt idx="433">
                  <c:v>50.032258064516128</c:v>
                </c:pt>
                <c:pt idx="434">
                  <c:v>50.29032258064516</c:v>
                </c:pt>
                <c:pt idx="435">
                  <c:v>50.322580645161288</c:v>
                </c:pt>
                <c:pt idx="436">
                  <c:v>50.451612903225808</c:v>
                </c:pt>
                <c:pt idx="437">
                  <c:v>50.483870967741936</c:v>
                </c:pt>
                <c:pt idx="438">
                  <c:v>50.225806451612904</c:v>
                </c:pt>
                <c:pt idx="439">
                  <c:v>50.516129032258064</c:v>
                </c:pt>
                <c:pt idx="440">
                  <c:v>50.483870967741936</c:v>
                </c:pt>
                <c:pt idx="441">
                  <c:v>50.70967741935484</c:v>
                </c:pt>
                <c:pt idx="442">
                  <c:v>50.806451612903224</c:v>
                </c:pt>
                <c:pt idx="443">
                  <c:v>50.838709677419352</c:v>
                </c:pt>
                <c:pt idx="444">
                  <c:v>51.032258064516128</c:v>
                </c:pt>
                <c:pt idx="445">
                  <c:v>51.096774193548384</c:v>
                </c:pt>
                <c:pt idx="446">
                  <c:v>51.225806451612904</c:v>
                </c:pt>
                <c:pt idx="447">
                  <c:v>51.225806451612904</c:v>
                </c:pt>
                <c:pt idx="448">
                  <c:v>51.161290322580648</c:v>
                </c:pt>
                <c:pt idx="449">
                  <c:v>51.12903225806452</c:v>
                </c:pt>
                <c:pt idx="450">
                  <c:v>50.935483870967744</c:v>
                </c:pt>
                <c:pt idx="451">
                  <c:v>50.87096774193548</c:v>
                </c:pt>
                <c:pt idx="452">
                  <c:v>50.741935483870968</c:v>
                </c:pt>
                <c:pt idx="453">
                  <c:v>50.87096774193548</c:v>
                </c:pt>
                <c:pt idx="454">
                  <c:v>51.032258064516128</c:v>
                </c:pt>
                <c:pt idx="455">
                  <c:v>51.193548387096776</c:v>
                </c:pt>
                <c:pt idx="456">
                  <c:v>51.225806451612904</c:v>
                </c:pt>
                <c:pt idx="457">
                  <c:v>51</c:v>
                </c:pt>
                <c:pt idx="458">
                  <c:v>50.87096774193548</c:v>
                </c:pt>
                <c:pt idx="459">
                  <c:v>50.967741935483872</c:v>
                </c:pt>
                <c:pt idx="460">
                  <c:v>50.806451612903224</c:v>
                </c:pt>
                <c:pt idx="461">
                  <c:v>50.935483870967744</c:v>
                </c:pt>
                <c:pt idx="462">
                  <c:v>51</c:v>
                </c:pt>
                <c:pt idx="463">
                  <c:v>51</c:v>
                </c:pt>
                <c:pt idx="464">
                  <c:v>50.967741935483872</c:v>
                </c:pt>
                <c:pt idx="465">
                  <c:v>50.87096774193548</c:v>
                </c:pt>
                <c:pt idx="466">
                  <c:v>50.741935483870968</c:v>
                </c:pt>
                <c:pt idx="467">
                  <c:v>50.806451612903224</c:v>
                </c:pt>
                <c:pt idx="468">
                  <c:v>50.548387096774192</c:v>
                </c:pt>
                <c:pt idx="469">
                  <c:v>50.645161290322584</c:v>
                </c:pt>
                <c:pt idx="470">
                  <c:v>50.354838709677416</c:v>
                </c:pt>
                <c:pt idx="471">
                  <c:v>50.12903225806452</c:v>
                </c:pt>
                <c:pt idx="472">
                  <c:v>50.161290322580648</c:v>
                </c:pt>
                <c:pt idx="473">
                  <c:v>50.12903225806452</c:v>
                </c:pt>
                <c:pt idx="474">
                  <c:v>50</c:v>
                </c:pt>
                <c:pt idx="475">
                  <c:v>49.935483870967744</c:v>
                </c:pt>
                <c:pt idx="476">
                  <c:v>49.838709677419352</c:v>
                </c:pt>
                <c:pt idx="477">
                  <c:v>49.70967741935484</c:v>
                </c:pt>
                <c:pt idx="478">
                  <c:v>49.645161290322584</c:v>
                </c:pt>
                <c:pt idx="479">
                  <c:v>49.516129032258064</c:v>
                </c:pt>
                <c:pt idx="480">
                  <c:v>49.58064516129032</c:v>
                </c:pt>
                <c:pt idx="481">
                  <c:v>49.516129032258064</c:v>
                </c:pt>
                <c:pt idx="482">
                  <c:v>49.516129032258064</c:v>
                </c:pt>
                <c:pt idx="483">
                  <c:v>49.58064516129032</c:v>
                </c:pt>
                <c:pt idx="484">
                  <c:v>49.548387096774192</c:v>
                </c:pt>
                <c:pt idx="485">
                  <c:v>49.451612903225808</c:v>
                </c:pt>
                <c:pt idx="486">
                  <c:v>49.41935483870968</c:v>
                </c:pt>
                <c:pt idx="487">
                  <c:v>49.58064516129032</c:v>
                </c:pt>
                <c:pt idx="488">
                  <c:v>49.677419354838712</c:v>
                </c:pt>
                <c:pt idx="489">
                  <c:v>49.87096774193548</c:v>
                </c:pt>
                <c:pt idx="490">
                  <c:v>49.903225806451616</c:v>
                </c:pt>
                <c:pt idx="491">
                  <c:v>50.064516129032256</c:v>
                </c:pt>
                <c:pt idx="492">
                  <c:v>49.838709677419352</c:v>
                </c:pt>
                <c:pt idx="493">
                  <c:v>49.612903225806448</c:v>
                </c:pt>
                <c:pt idx="494">
                  <c:v>49.451612903225808</c:v>
                </c:pt>
                <c:pt idx="495">
                  <c:v>49.451612903225808</c:v>
                </c:pt>
                <c:pt idx="496">
                  <c:v>49.548387096774192</c:v>
                </c:pt>
                <c:pt idx="497">
                  <c:v>49.645161290322584</c:v>
                </c:pt>
                <c:pt idx="498">
                  <c:v>49.548387096774192</c:v>
                </c:pt>
                <c:pt idx="499">
                  <c:v>49.548387096774192</c:v>
                </c:pt>
                <c:pt idx="500">
                  <c:v>49.483870967741936</c:v>
                </c:pt>
                <c:pt idx="501">
                  <c:v>49.451612903225808</c:v>
                </c:pt>
                <c:pt idx="502">
                  <c:v>49.483870967741936</c:v>
                </c:pt>
                <c:pt idx="503">
                  <c:v>49.322580645161288</c:v>
                </c:pt>
                <c:pt idx="504">
                  <c:v>49.387096774193552</c:v>
                </c:pt>
                <c:pt idx="505">
                  <c:v>49.451612903225808</c:v>
                </c:pt>
                <c:pt idx="506">
                  <c:v>49.354838709677416</c:v>
                </c:pt>
                <c:pt idx="507">
                  <c:v>49.258064516129032</c:v>
                </c:pt>
                <c:pt idx="508">
                  <c:v>49.387096774193552</c:v>
                </c:pt>
                <c:pt idx="509">
                  <c:v>49.258064516129032</c:v>
                </c:pt>
                <c:pt idx="510">
                  <c:v>49.29032258064516</c:v>
                </c:pt>
                <c:pt idx="511">
                  <c:v>49.29032258064516</c:v>
                </c:pt>
                <c:pt idx="512">
                  <c:v>49.516129032258064</c:v>
                </c:pt>
                <c:pt idx="513">
                  <c:v>49.58064516129032</c:v>
                </c:pt>
                <c:pt idx="514">
                  <c:v>49.548387096774192</c:v>
                </c:pt>
                <c:pt idx="515">
                  <c:v>49.612903225806448</c:v>
                </c:pt>
                <c:pt idx="516">
                  <c:v>49.516129032258064</c:v>
                </c:pt>
                <c:pt idx="517">
                  <c:v>49.354838709677416</c:v>
                </c:pt>
                <c:pt idx="518">
                  <c:v>49.258064516129032</c:v>
                </c:pt>
                <c:pt idx="519">
                  <c:v>49.29032258064516</c:v>
                </c:pt>
                <c:pt idx="520">
                  <c:v>49.193548387096776</c:v>
                </c:pt>
                <c:pt idx="521">
                  <c:v>49.354838709677416</c:v>
                </c:pt>
                <c:pt idx="522">
                  <c:v>49.387096774193552</c:v>
                </c:pt>
                <c:pt idx="523">
                  <c:v>49.483870967741936</c:v>
                </c:pt>
                <c:pt idx="524">
                  <c:v>49.387096774193552</c:v>
                </c:pt>
                <c:pt idx="525">
                  <c:v>49.70967741935484</c:v>
                </c:pt>
                <c:pt idx="526">
                  <c:v>49.677419354838712</c:v>
                </c:pt>
                <c:pt idx="527">
                  <c:v>49.387096774193552</c:v>
                </c:pt>
                <c:pt idx="528">
                  <c:v>49.225806451612904</c:v>
                </c:pt>
                <c:pt idx="529">
                  <c:v>49.29032258064516</c:v>
                </c:pt>
                <c:pt idx="530">
                  <c:v>49.225806451612904</c:v>
                </c:pt>
                <c:pt idx="531">
                  <c:v>49.258064516129032</c:v>
                </c:pt>
                <c:pt idx="532">
                  <c:v>49.387096774193552</c:v>
                </c:pt>
                <c:pt idx="533">
                  <c:v>49.58064516129032</c:v>
                </c:pt>
                <c:pt idx="534">
                  <c:v>49.58064516129032</c:v>
                </c:pt>
                <c:pt idx="535">
                  <c:v>49.612903225806448</c:v>
                </c:pt>
                <c:pt idx="536">
                  <c:v>49.548387096774192</c:v>
                </c:pt>
                <c:pt idx="537">
                  <c:v>49.677419354838712</c:v>
                </c:pt>
                <c:pt idx="538">
                  <c:v>49.935483870967744</c:v>
                </c:pt>
                <c:pt idx="539">
                  <c:v>49.741935483870968</c:v>
                </c:pt>
                <c:pt idx="540">
                  <c:v>49.87096774193548</c:v>
                </c:pt>
                <c:pt idx="541">
                  <c:v>50.096774193548384</c:v>
                </c:pt>
                <c:pt idx="542">
                  <c:v>49.903225806451616</c:v>
                </c:pt>
                <c:pt idx="543">
                  <c:v>49.838709677419352</c:v>
                </c:pt>
                <c:pt idx="544">
                  <c:v>49.741935483870968</c:v>
                </c:pt>
                <c:pt idx="545">
                  <c:v>49.70967741935484</c:v>
                </c:pt>
                <c:pt idx="546">
                  <c:v>49.677419354838712</c:v>
                </c:pt>
                <c:pt idx="547">
                  <c:v>49.645161290322584</c:v>
                </c:pt>
                <c:pt idx="548">
                  <c:v>49.935483870967744</c:v>
                </c:pt>
                <c:pt idx="549">
                  <c:v>49.838709677419352</c:v>
                </c:pt>
                <c:pt idx="550">
                  <c:v>49.935483870967744</c:v>
                </c:pt>
                <c:pt idx="551">
                  <c:v>49.741935483870968</c:v>
                </c:pt>
                <c:pt idx="552">
                  <c:v>49.58064516129032</c:v>
                </c:pt>
                <c:pt idx="553">
                  <c:v>49.612903225806448</c:v>
                </c:pt>
                <c:pt idx="554">
                  <c:v>49.612903225806448</c:v>
                </c:pt>
                <c:pt idx="555">
                  <c:v>49.741935483870968</c:v>
                </c:pt>
                <c:pt idx="556">
                  <c:v>49.645161290322584</c:v>
                </c:pt>
                <c:pt idx="557">
                  <c:v>49.741935483870968</c:v>
                </c:pt>
                <c:pt idx="558">
                  <c:v>49.741935483870968</c:v>
                </c:pt>
                <c:pt idx="559">
                  <c:v>49.903225806451616</c:v>
                </c:pt>
                <c:pt idx="560">
                  <c:v>49.935483870967744</c:v>
                </c:pt>
                <c:pt idx="561">
                  <c:v>50.12903225806452</c:v>
                </c:pt>
                <c:pt idx="562">
                  <c:v>50.096774193548384</c:v>
                </c:pt>
                <c:pt idx="563">
                  <c:v>50.064516129032256</c:v>
                </c:pt>
                <c:pt idx="564">
                  <c:v>49.87096774193548</c:v>
                </c:pt>
                <c:pt idx="565">
                  <c:v>49.838709677419352</c:v>
                </c:pt>
                <c:pt idx="566">
                  <c:v>49.87096774193548</c:v>
                </c:pt>
                <c:pt idx="567">
                  <c:v>49.967741935483872</c:v>
                </c:pt>
                <c:pt idx="568">
                  <c:v>49.935483870967744</c:v>
                </c:pt>
                <c:pt idx="569">
                  <c:v>49.838709677419352</c:v>
                </c:pt>
                <c:pt idx="570">
                  <c:v>50.096774193548384</c:v>
                </c:pt>
                <c:pt idx="571">
                  <c:v>50.12903225806452</c:v>
                </c:pt>
                <c:pt idx="572">
                  <c:v>50.064516129032256</c:v>
                </c:pt>
                <c:pt idx="573">
                  <c:v>50.161290322580648</c:v>
                </c:pt>
                <c:pt idx="574">
                  <c:v>50.258064516129032</c:v>
                </c:pt>
                <c:pt idx="575">
                  <c:v>50.225806451612904</c:v>
                </c:pt>
                <c:pt idx="576">
                  <c:v>50.322580645161288</c:v>
                </c:pt>
                <c:pt idx="577">
                  <c:v>50.096774193548384</c:v>
                </c:pt>
                <c:pt idx="578">
                  <c:v>50.12903225806452</c:v>
                </c:pt>
                <c:pt idx="579">
                  <c:v>49.935483870967744</c:v>
                </c:pt>
                <c:pt idx="580">
                  <c:v>50.032258064516128</c:v>
                </c:pt>
                <c:pt idx="581">
                  <c:v>49.87096774193548</c:v>
                </c:pt>
                <c:pt idx="582">
                  <c:v>49.967741935483872</c:v>
                </c:pt>
                <c:pt idx="583">
                  <c:v>50.032258064516128</c:v>
                </c:pt>
                <c:pt idx="584">
                  <c:v>49.935483870967744</c:v>
                </c:pt>
                <c:pt idx="585">
                  <c:v>49.87096774193548</c:v>
                </c:pt>
                <c:pt idx="586">
                  <c:v>50</c:v>
                </c:pt>
                <c:pt idx="587">
                  <c:v>50.032258064516128</c:v>
                </c:pt>
                <c:pt idx="588">
                  <c:v>50.193548387096776</c:v>
                </c:pt>
                <c:pt idx="589">
                  <c:v>50.354838709677416</c:v>
                </c:pt>
                <c:pt idx="590">
                  <c:v>50.225806451612904</c:v>
                </c:pt>
                <c:pt idx="591">
                  <c:v>50.161290322580648</c:v>
                </c:pt>
                <c:pt idx="592">
                  <c:v>50</c:v>
                </c:pt>
                <c:pt idx="593">
                  <c:v>50.096774193548384</c:v>
                </c:pt>
                <c:pt idx="594">
                  <c:v>50.258064516129032</c:v>
                </c:pt>
                <c:pt idx="595">
                  <c:v>50.387096774193552</c:v>
                </c:pt>
                <c:pt idx="596">
                  <c:v>50.29032258064516</c:v>
                </c:pt>
                <c:pt idx="597">
                  <c:v>50.29032258064516</c:v>
                </c:pt>
                <c:pt idx="598">
                  <c:v>50.387096774193552</c:v>
                </c:pt>
                <c:pt idx="599">
                  <c:v>50.161290322580648</c:v>
                </c:pt>
                <c:pt idx="600">
                  <c:v>50.225806451612904</c:v>
                </c:pt>
                <c:pt idx="601">
                  <c:v>50.096774193548384</c:v>
                </c:pt>
                <c:pt idx="602">
                  <c:v>50.064516129032256</c:v>
                </c:pt>
                <c:pt idx="603">
                  <c:v>50.064516129032256</c:v>
                </c:pt>
                <c:pt idx="604">
                  <c:v>50.193548387096776</c:v>
                </c:pt>
                <c:pt idx="605">
                  <c:v>50.258064516129032</c:v>
                </c:pt>
                <c:pt idx="606">
                  <c:v>50.41935483870968</c:v>
                </c:pt>
                <c:pt idx="607">
                  <c:v>50.483870967741936</c:v>
                </c:pt>
                <c:pt idx="608">
                  <c:v>50.741935483870968</c:v>
                </c:pt>
                <c:pt idx="609">
                  <c:v>50.903225806451616</c:v>
                </c:pt>
                <c:pt idx="610">
                  <c:v>51.032258064516128</c:v>
                </c:pt>
                <c:pt idx="611">
                  <c:v>51.161290322580648</c:v>
                </c:pt>
                <c:pt idx="612">
                  <c:v>51.29032258064516</c:v>
                </c:pt>
                <c:pt idx="613">
                  <c:v>51.387096774193552</c:v>
                </c:pt>
                <c:pt idx="614">
                  <c:v>51.451612903225808</c:v>
                </c:pt>
                <c:pt idx="615">
                  <c:v>51.548387096774192</c:v>
                </c:pt>
                <c:pt idx="616">
                  <c:v>51.838709677419352</c:v>
                </c:pt>
                <c:pt idx="617">
                  <c:v>51.806451612903224</c:v>
                </c:pt>
                <c:pt idx="618">
                  <c:v>51.838709677419352</c:v>
                </c:pt>
                <c:pt idx="619">
                  <c:v>51.838709677419352</c:v>
                </c:pt>
                <c:pt idx="620">
                  <c:v>51.903225806451616</c:v>
                </c:pt>
                <c:pt idx="621">
                  <c:v>52.096774193548384</c:v>
                </c:pt>
                <c:pt idx="622">
                  <c:v>52.096774193548384</c:v>
                </c:pt>
                <c:pt idx="623">
                  <c:v>52.354838709677416</c:v>
                </c:pt>
                <c:pt idx="624">
                  <c:v>52.483870967741936</c:v>
                </c:pt>
                <c:pt idx="625">
                  <c:v>52.483870967741936</c:v>
                </c:pt>
                <c:pt idx="626">
                  <c:v>52.645161290322584</c:v>
                </c:pt>
                <c:pt idx="627">
                  <c:v>52.967741935483872</c:v>
                </c:pt>
                <c:pt idx="628">
                  <c:v>52.87096774193548</c:v>
                </c:pt>
                <c:pt idx="629">
                  <c:v>52.838709677419352</c:v>
                </c:pt>
                <c:pt idx="630">
                  <c:v>53.096774193548384</c:v>
                </c:pt>
                <c:pt idx="631">
                  <c:v>53.032258064516128</c:v>
                </c:pt>
                <c:pt idx="632">
                  <c:v>53.193548387096776</c:v>
                </c:pt>
                <c:pt idx="633">
                  <c:v>53.225806451612904</c:v>
                </c:pt>
                <c:pt idx="634">
                  <c:v>53.29032258064516</c:v>
                </c:pt>
                <c:pt idx="635">
                  <c:v>53.322580645161288</c:v>
                </c:pt>
                <c:pt idx="636">
                  <c:v>53.322580645161288</c:v>
                </c:pt>
                <c:pt idx="637">
                  <c:v>53.322580645161288</c:v>
                </c:pt>
                <c:pt idx="638">
                  <c:v>53.41935483870968</c:v>
                </c:pt>
                <c:pt idx="639">
                  <c:v>53.354838709677416</c:v>
                </c:pt>
                <c:pt idx="640">
                  <c:v>53.451612903225808</c:v>
                </c:pt>
                <c:pt idx="641">
                  <c:v>53.516129032258064</c:v>
                </c:pt>
                <c:pt idx="642">
                  <c:v>53.58064516129032</c:v>
                </c:pt>
                <c:pt idx="643">
                  <c:v>53.645161290322584</c:v>
                </c:pt>
                <c:pt idx="644">
                  <c:v>53.70967741935484</c:v>
                </c:pt>
                <c:pt idx="645">
                  <c:v>53.70967741935484</c:v>
                </c:pt>
                <c:pt idx="646">
                  <c:v>53.387096774193552</c:v>
                </c:pt>
                <c:pt idx="647">
                  <c:v>53.225806451612904</c:v>
                </c:pt>
                <c:pt idx="648">
                  <c:v>53.193548387096776</c:v>
                </c:pt>
                <c:pt idx="649">
                  <c:v>53.064516129032256</c:v>
                </c:pt>
                <c:pt idx="650">
                  <c:v>53.032258064516128</c:v>
                </c:pt>
                <c:pt idx="651">
                  <c:v>52.774193548387096</c:v>
                </c:pt>
                <c:pt idx="652">
                  <c:v>52.58064516129032</c:v>
                </c:pt>
                <c:pt idx="653">
                  <c:v>52.645161290322584</c:v>
                </c:pt>
                <c:pt idx="654">
                  <c:v>52.58064516129032</c:v>
                </c:pt>
                <c:pt idx="655">
                  <c:v>52.516129032258064</c:v>
                </c:pt>
                <c:pt idx="656">
                  <c:v>52.483870967741936</c:v>
                </c:pt>
                <c:pt idx="657">
                  <c:v>52.258064516129032</c:v>
                </c:pt>
                <c:pt idx="658">
                  <c:v>52</c:v>
                </c:pt>
                <c:pt idx="659">
                  <c:v>51.838709677419352</c:v>
                </c:pt>
                <c:pt idx="660">
                  <c:v>51.838709677419352</c:v>
                </c:pt>
                <c:pt idx="661">
                  <c:v>51.774193548387096</c:v>
                </c:pt>
                <c:pt idx="662">
                  <c:v>51.677419354838712</c:v>
                </c:pt>
                <c:pt idx="663">
                  <c:v>51.516129032258064</c:v>
                </c:pt>
                <c:pt idx="664">
                  <c:v>51.451612903225808</c:v>
                </c:pt>
                <c:pt idx="665">
                  <c:v>51.354838709677416</c:v>
                </c:pt>
                <c:pt idx="666">
                  <c:v>51.193548387096776</c:v>
                </c:pt>
                <c:pt idx="667">
                  <c:v>51.12903225806452</c:v>
                </c:pt>
                <c:pt idx="668">
                  <c:v>51.161290322580648</c:v>
                </c:pt>
                <c:pt idx="669">
                  <c:v>51.096774193548384</c:v>
                </c:pt>
                <c:pt idx="670">
                  <c:v>50.838709677419352</c:v>
                </c:pt>
                <c:pt idx="671">
                  <c:v>50.516129032258064</c:v>
                </c:pt>
                <c:pt idx="672">
                  <c:v>50.225806451612904</c:v>
                </c:pt>
                <c:pt idx="673">
                  <c:v>50</c:v>
                </c:pt>
                <c:pt idx="674">
                  <c:v>49.87096774193548</c:v>
                </c:pt>
                <c:pt idx="675">
                  <c:v>49.612903225806448</c:v>
                </c:pt>
                <c:pt idx="676">
                  <c:v>49.387096774193552</c:v>
                </c:pt>
                <c:pt idx="677">
                  <c:v>49.387096774193552</c:v>
                </c:pt>
                <c:pt idx="678">
                  <c:v>49.322580645161288</c:v>
                </c:pt>
                <c:pt idx="679">
                  <c:v>49.12903225806452</c:v>
                </c:pt>
                <c:pt idx="680">
                  <c:v>49.064516129032256</c:v>
                </c:pt>
                <c:pt idx="681">
                  <c:v>49.032258064516128</c:v>
                </c:pt>
                <c:pt idx="682">
                  <c:v>49.322580645161288</c:v>
                </c:pt>
                <c:pt idx="683">
                  <c:v>49.516129032258064</c:v>
                </c:pt>
                <c:pt idx="684">
                  <c:v>49.516129032258064</c:v>
                </c:pt>
                <c:pt idx="685">
                  <c:v>49.483870967741936</c:v>
                </c:pt>
                <c:pt idx="686">
                  <c:v>49.225806451612904</c:v>
                </c:pt>
                <c:pt idx="687">
                  <c:v>49.225806451612904</c:v>
                </c:pt>
                <c:pt idx="688">
                  <c:v>49.387096774193552</c:v>
                </c:pt>
                <c:pt idx="689">
                  <c:v>49.483870967741936</c:v>
                </c:pt>
                <c:pt idx="690">
                  <c:v>49.70967741935484</c:v>
                </c:pt>
                <c:pt idx="691">
                  <c:v>49.58064516129032</c:v>
                </c:pt>
                <c:pt idx="692">
                  <c:v>49.41935483870968</c:v>
                </c:pt>
                <c:pt idx="693">
                  <c:v>49.322580645161288</c:v>
                </c:pt>
                <c:pt idx="694">
                  <c:v>49.387096774193552</c:v>
                </c:pt>
                <c:pt idx="695">
                  <c:v>49.516129032258064</c:v>
                </c:pt>
                <c:pt idx="696">
                  <c:v>49.548387096774192</c:v>
                </c:pt>
                <c:pt idx="697">
                  <c:v>49.612903225806448</c:v>
                </c:pt>
                <c:pt idx="698">
                  <c:v>49.516129032258064</c:v>
                </c:pt>
                <c:pt idx="699">
                  <c:v>49.225806451612904</c:v>
                </c:pt>
                <c:pt idx="700">
                  <c:v>49.096774193548384</c:v>
                </c:pt>
                <c:pt idx="701">
                  <c:v>49.193548387096776</c:v>
                </c:pt>
                <c:pt idx="702">
                  <c:v>49.322580645161288</c:v>
                </c:pt>
                <c:pt idx="703">
                  <c:v>49.41935483870968</c:v>
                </c:pt>
                <c:pt idx="704">
                  <c:v>49.41935483870968</c:v>
                </c:pt>
                <c:pt idx="705">
                  <c:v>49.483870967741936</c:v>
                </c:pt>
                <c:pt idx="706">
                  <c:v>49.70967741935484</c:v>
                </c:pt>
                <c:pt idx="707">
                  <c:v>49.838709677419352</c:v>
                </c:pt>
                <c:pt idx="708">
                  <c:v>50</c:v>
                </c:pt>
                <c:pt idx="709">
                  <c:v>50.161290322580648</c:v>
                </c:pt>
                <c:pt idx="710">
                  <c:v>50.161290322580648</c:v>
                </c:pt>
                <c:pt idx="711">
                  <c:v>50.12903225806452</c:v>
                </c:pt>
                <c:pt idx="712">
                  <c:v>50</c:v>
                </c:pt>
                <c:pt idx="713">
                  <c:v>50.032258064516128</c:v>
                </c:pt>
                <c:pt idx="714">
                  <c:v>49.838709677419352</c:v>
                </c:pt>
                <c:pt idx="715">
                  <c:v>49.838709677419352</c:v>
                </c:pt>
                <c:pt idx="716">
                  <c:v>49.741935483870968</c:v>
                </c:pt>
                <c:pt idx="717">
                  <c:v>50</c:v>
                </c:pt>
                <c:pt idx="718">
                  <c:v>49.806451612903224</c:v>
                </c:pt>
                <c:pt idx="719">
                  <c:v>49.87096774193548</c:v>
                </c:pt>
                <c:pt idx="720">
                  <c:v>49.741935483870968</c:v>
                </c:pt>
                <c:pt idx="721">
                  <c:v>49.612903225806448</c:v>
                </c:pt>
                <c:pt idx="722">
                  <c:v>49.741935483870968</c:v>
                </c:pt>
                <c:pt idx="723">
                  <c:v>49.87096774193548</c:v>
                </c:pt>
                <c:pt idx="724">
                  <c:v>50.064516129032256</c:v>
                </c:pt>
                <c:pt idx="725">
                  <c:v>50.12903225806452</c:v>
                </c:pt>
                <c:pt idx="726">
                  <c:v>49.967741935483872</c:v>
                </c:pt>
                <c:pt idx="727">
                  <c:v>49.903225806451616</c:v>
                </c:pt>
                <c:pt idx="728">
                  <c:v>49.935483870967744</c:v>
                </c:pt>
                <c:pt idx="729">
                  <c:v>49.87096774193548</c:v>
                </c:pt>
                <c:pt idx="730">
                  <c:v>50.032258064516128</c:v>
                </c:pt>
                <c:pt idx="731">
                  <c:v>50.12903225806452</c:v>
                </c:pt>
                <c:pt idx="732">
                  <c:v>50.193548387096776</c:v>
                </c:pt>
                <c:pt idx="733">
                  <c:v>50.064516129032256</c:v>
                </c:pt>
                <c:pt idx="734">
                  <c:v>49.935483870967744</c:v>
                </c:pt>
                <c:pt idx="735">
                  <c:v>50</c:v>
                </c:pt>
                <c:pt idx="736">
                  <c:v>49.903225806451616</c:v>
                </c:pt>
                <c:pt idx="737">
                  <c:v>49.903225806451616</c:v>
                </c:pt>
                <c:pt idx="738">
                  <c:v>49.87096774193548</c:v>
                </c:pt>
                <c:pt idx="739">
                  <c:v>49.741935483870968</c:v>
                </c:pt>
                <c:pt idx="740">
                  <c:v>49.58064516129032</c:v>
                </c:pt>
                <c:pt idx="741">
                  <c:v>49.806451612903224</c:v>
                </c:pt>
                <c:pt idx="742">
                  <c:v>49.87096774193548</c:v>
                </c:pt>
                <c:pt idx="743">
                  <c:v>49.967741935483872</c:v>
                </c:pt>
                <c:pt idx="744">
                  <c:v>49.677419354838712</c:v>
                </c:pt>
                <c:pt idx="745">
                  <c:v>49.774193548387096</c:v>
                </c:pt>
                <c:pt idx="746">
                  <c:v>49.58064516129032</c:v>
                </c:pt>
                <c:pt idx="747">
                  <c:v>49.516129032258064</c:v>
                </c:pt>
                <c:pt idx="748">
                  <c:v>49.354838709677416</c:v>
                </c:pt>
                <c:pt idx="749">
                  <c:v>49.516129032258064</c:v>
                </c:pt>
                <c:pt idx="750">
                  <c:v>49.225806451612904</c:v>
                </c:pt>
                <c:pt idx="751">
                  <c:v>49.483870967741936</c:v>
                </c:pt>
                <c:pt idx="752">
                  <c:v>49.354838709677416</c:v>
                </c:pt>
                <c:pt idx="753">
                  <c:v>49.193548387096776</c:v>
                </c:pt>
                <c:pt idx="754">
                  <c:v>49.096774193548384</c:v>
                </c:pt>
                <c:pt idx="755">
                  <c:v>49.096774193548384</c:v>
                </c:pt>
                <c:pt idx="756">
                  <c:v>48.87096774193548</c:v>
                </c:pt>
                <c:pt idx="757">
                  <c:v>48.903225806451616</c:v>
                </c:pt>
                <c:pt idx="758">
                  <c:v>49</c:v>
                </c:pt>
                <c:pt idx="759">
                  <c:v>48.806451612903224</c:v>
                </c:pt>
                <c:pt idx="760">
                  <c:v>48.967741935483872</c:v>
                </c:pt>
                <c:pt idx="761">
                  <c:v>48.838709677419352</c:v>
                </c:pt>
                <c:pt idx="762">
                  <c:v>48.612903225806448</c:v>
                </c:pt>
                <c:pt idx="763">
                  <c:v>48.677419354838712</c:v>
                </c:pt>
                <c:pt idx="764">
                  <c:v>48.774193548387096</c:v>
                </c:pt>
                <c:pt idx="765">
                  <c:v>49</c:v>
                </c:pt>
                <c:pt idx="766">
                  <c:v>49.161290322580648</c:v>
                </c:pt>
                <c:pt idx="767">
                  <c:v>49.064516129032256</c:v>
                </c:pt>
                <c:pt idx="768">
                  <c:v>48.838709677419352</c:v>
                </c:pt>
                <c:pt idx="769">
                  <c:v>49.032258064516128</c:v>
                </c:pt>
                <c:pt idx="770">
                  <c:v>49.322580645161288</c:v>
                </c:pt>
                <c:pt idx="771">
                  <c:v>49.354838709677416</c:v>
                </c:pt>
                <c:pt idx="772">
                  <c:v>49.12903225806452</c:v>
                </c:pt>
                <c:pt idx="773">
                  <c:v>49.322580645161288</c:v>
                </c:pt>
                <c:pt idx="774">
                  <c:v>49.451612903225808</c:v>
                </c:pt>
                <c:pt idx="775">
                  <c:v>49.677419354838712</c:v>
                </c:pt>
                <c:pt idx="776">
                  <c:v>49.806451612903224</c:v>
                </c:pt>
                <c:pt idx="777">
                  <c:v>50</c:v>
                </c:pt>
                <c:pt idx="778">
                  <c:v>50.225806451612904</c:v>
                </c:pt>
                <c:pt idx="779">
                  <c:v>50.354838709677416</c:v>
                </c:pt>
                <c:pt idx="780">
                  <c:v>50.258064516129032</c:v>
                </c:pt>
                <c:pt idx="781">
                  <c:v>50.29032258064516</c:v>
                </c:pt>
                <c:pt idx="782">
                  <c:v>50.161290322580648</c:v>
                </c:pt>
                <c:pt idx="783">
                  <c:v>50.161290322580648</c:v>
                </c:pt>
                <c:pt idx="784">
                  <c:v>50.322580645161288</c:v>
                </c:pt>
                <c:pt idx="785">
                  <c:v>50.387096774193552</c:v>
                </c:pt>
                <c:pt idx="786">
                  <c:v>50.322580645161288</c:v>
                </c:pt>
                <c:pt idx="787">
                  <c:v>50.387096774193552</c:v>
                </c:pt>
                <c:pt idx="788">
                  <c:v>50.354838709677416</c:v>
                </c:pt>
                <c:pt idx="789">
                  <c:v>50.29032258064516</c:v>
                </c:pt>
                <c:pt idx="790">
                  <c:v>50.354838709677416</c:v>
                </c:pt>
                <c:pt idx="791">
                  <c:v>50.29032258064516</c:v>
                </c:pt>
                <c:pt idx="792">
                  <c:v>50.451612903225808</c:v>
                </c:pt>
                <c:pt idx="793">
                  <c:v>50.451612903225808</c:v>
                </c:pt>
                <c:pt idx="794">
                  <c:v>50.41935483870968</c:v>
                </c:pt>
                <c:pt idx="795">
                  <c:v>50.548387096774192</c:v>
                </c:pt>
                <c:pt idx="796">
                  <c:v>50.322580645161288</c:v>
                </c:pt>
                <c:pt idx="797">
                  <c:v>50.322580645161288</c:v>
                </c:pt>
                <c:pt idx="798">
                  <c:v>50.354838709677416</c:v>
                </c:pt>
                <c:pt idx="799">
                  <c:v>50.354838709677416</c:v>
                </c:pt>
                <c:pt idx="800">
                  <c:v>50.096774193548384</c:v>
                </c:pt>
                <c:pt idx="801">
                  <c:v>49.806451612903224</c:v>
                </c:pt>
                <c:pt idx="802">
                  <c:v>49.774193548387096</c:v>
                </c:pt>
                <c:pt idx="803">
                  <c:v>49.774193548387096</c:v>
                </c:pt>
                <c:pt idx="804">
                  <c:v>49.70967741935484</c:v>
                </c:pt>
                <c:pt idx="805">
                  <c:v>49.645161290322584</c:v>
                </c:pt>
                <c:pt idx="806">
                  <c:v>49.58064516129032</c:v>
                </c:pt>
                <c:pt idx="807">
                  <c:v>49.645161290322584</c:v>
                </c:pt>
                <c:pt idx="808">
                  <c:v>49.58064516129032</c:v>
                </c:pt>
                <c:pt idx="809">
                  <c:v>49.483870967741936</c:v>
                </c:pt>
                <c:pt idx="810">
                  <c:v>49.387096774193552</c:v>
                </c:pt>
                <c:pt idx="811">
                  <c:v>49.387096774193552</c:v>
                </c:pt>
                <c:pt idx="812">
                  <c:v>49.645161290322584</c:v>
                </c:pt>
                <c:pt idx="813">
                  <c:v>49.516129032258064</c:v>
                </c:pt>
                <c:pt idx="814">
                  <c:v>49.58064516129032</c:v>
                </c:pt>
                <c:pt idx="815">
                  <c:v>49.645161290322584</c:v>
                </c:pt>
                <c:pt idx="816">
                  <c:v>49.483870967741936</c:v>
                </c:pt>
                <c:pt idx="817">
                  <c:v>49.516129032258064</c:v>
                </c:pt>
                <c:pt idx="818">
                  <c:v>49.548387096774192</c:v>
                </c:pt>
                <c:pt idx="819">
                  <c:v>49.612903225806448</c:v>
                </c:pt>
                <c:pt idx="820">
                  <c:v>49.58064516129032</c:v>
                </c:pt>
                <c:pt idx="821">
                  <c:v>49.806451612903224</c:v>
                </c:pt>
                <c:pt idx="822">
                  <c:v>49.87096774193548</c:v>
                </c:pt>
                <c:pt idx="823">
                  <c:v>49.87096774193548</c:v>
                </c:pt>
                <c:pt idx="824">
                  <c:v>50</c:v>
                </c:pt>
                <c:pt idx="825">
                  <c:v>49.87096774193548</c:v>
                </c:pt>
                <c:pt idx="826">
                  <c:v>49.741935483870968</c:v>
                </c:pt>
                <c:pt idx="827">
                  <c:v>49.838709677419352</c:v>
                </c:pt>
                <c:pt idx="828">
                  <c:v>49.741935483870968</c:v>
                </c:pt>
                <c:pt idx="829">
                  <c:v>49.774193548387096</c:v>
                </c:pt>
                <c:pt idx="830">
                  <c:v>49.903225806451616</c:v>
                </c:pt>
                <c:pt idx="831">
                  <c:v>50.096774193548384</c:v>
                </c:pt>
                <c:pt idx="832">
                  <c:v>50.29032258064516</c:v>
                </c:pt>
                <c:pt idx="833">
                  <c:v>50.354838709677416</c:v>
                </c:pt>
                <c:pt idx="834">
                  <c:v>50.483870967741936</c:v>
                </c:pt>
                <c:pt idx="835">
                  <c:v>50.225806451612904</c:v>
                </c:pt>
                <c:pt idx="836">
                  <c:v>50.29032258064516</c:v>
                </c:pt>
                <c:pt idx="837">
                  <c:v>50.161290322580648</c:v>
                </c:pt>
                <c:pt idx="838">
                  <c:v>50.096774193548384</c:v>
                </c:pt>
                <c:pt idx="839">
                  <c:v>49.903225806451616</c:v>
                </c:pt>
                <c:pt idx="840">
                  <c:v>49.967741935483872</c:v>
                </c:pt>
                <c:pt idx="841">
                  <c:v>50.032258064516128</c:v>
                </c:pt>
                <c:pt idx="842">
                  <c:v>50.193548387096776</c:v>
                </c:pt>
                <c:pt idx="843">
                  <c:v>49.903225806451616</c:v>
                </c:pt>
                <c:pt idx="844">
                  <c:v>50</c:v>
                </c:pt>
                <c:pt idx="845">
                  <c:v>49.935483870967744</c:v>
                </c:pt>
                <c:pt idx="846">
                  <c:v>49.774193548387096</c:v>
                </c:pt>
                <c:pt idx="847">
                  <c:v>50.064516129032256</c:v>
                </c:pt>
                <c:pt idx="848">
                  <c:v>50.064516129032256</c:v>
                </c:pt>
                <c:pt idx="849">
                  <c:v>49.967741935483872</c:v>
                </c:pt>
                <c:pt idx="850">
                  <c:v>49.741935483870968</c:v>
                </c:pt>
                <c:pt idx="851">
                  <c:v>49.774193548387096</c:v>
                </c:pt>
                <c:pt idx="852">
                  <c:v>49.612903225806448</c:v>
                </c:pt>
                <c:pt idx="853">
                  <c:v>49.41935483870968</c:v>
                </c:pt>
                <c:pt idx="854">
                  <c:v>49.516129032258064</c:v>
                </c:pt>
                <c:pt idx="855">
                  <c:v>49.483870967741936</c:v>
                </c:pt>
                <c:pt idx="856">
                  <c:v>49.516129032258064</c:v>
                </c:pt>
                <c:pt idx="857">
                  <c:v>49.70967741935484</c:v>
                </c:pt>
                <c:pt idx="858">
                  <c:v>49.612903225806448</c:v>
                </c:pt>
                <c:pt idx="859">
                  <c:v>49.612903225806448</c:v>
                </c:pt>
                <c:pt idx="860">
                  <c:v>49.774193548387096</c:v>
                </c:pt>
                <c:pt idx="861">
                  <c:v>49.612903225806448</c:v>
                </c:pt>
                <c:pt idx="862">
                  <c:v>49.387096774193552</c:v>
                </c:pt>
                <c:pt idx="863">
                  <c:v>49.387096774193552</c:v>
                </c:pt>
                <c:pt idx="864">
                  <c:v>49.322580645161288</c:v>
                </c:pt>
                <c:pt idx="865">
                  <c:v>49.483870967741936</c:v>
                </c:pt>
                <c:pt idx="866">
                  <c:v>49.645161290322584</c:v>
                </c:pt>
                <c:pt idx="867">
                  <c:v>49.41935483870968</c:v>
                </c:pt>
                <c:pt idx="868">
                  <c:v>49.677419354838712</c:v>
                </c:pt>
                <c:pt idx="869">
                  <c:v>49.741935483870968</c:v>
                </c:pt>
                <c:pt idx="870">
                  <c:v>49.806451612903224</c:v>
                </c:pt>
                <c:pt idx="871">
                  <c:v>49.58064516129032</c:v>
                </c:pt>
                <c:pt idx="872">
                  <c:v>49.483870967741936</c:v>
                </c:pt>
                <c:pt idx="873">
                  <c:v>49.258064516129032</c:v>
                </c:pt>
                <c:pt idx="874">
                  <c:v>49.322580645161288</c:v>
                </c:pt>
                <c:pt idx="875">
                  <c:v>49.354838709677416</c:v>
                </c:pt>
                <c:pt idx="876">
                  <c:v>49.548387096774192</c:v>
                </c:pt>
                <c:pt idx="877">
                  <c:v>49.41935483870968</c:v>
                </c:pt>
                <c:pt idx="878">
                  <c:v>49.41935483870968</c:v>
                </c:pt>
                <c:pt idx="879">
                  <c:v>49.451612903225808</c:v>
                </c:pt>
                <c:pt idx="880">
                  <c:v>49.58064516129032</c:v>
                </c:pt>
                <c:pt idx="881">
                  <c:v>49.903225806451616</c:v>
                </c:pt>
                <c:pt idx="882">
                  <c:v>49.935483870967744</c:v>
                </c:pt>
                <c:pt idx="883">
                  <c:v>50.032258064516128</c:v>
                </c:pt>
                <c:pt idx="884">
                  <c:v>50.29032258064516</c:v>
                </c:pt>
                <c:pt idx="885">
                  <c:v>50.322580645161288</c:v>
                </c:pt>
                <c:pt idx="886">
                  <c:v>50.548387096774192</c:v>
                </c:pt>
                <c:pt idx="887">
                  <c:v>50.483870967741936</c:v>
                </c:pt>
                <c:pt idx="888">
                  <c:v>50.29032258064516</c:v>
                </c:pt>
                <c:pt idx="889">
                  <c:v>50.451612903225808</c:v>
                </c:pt>
                <c:pt idx="890">
                  <c:v>50.516129032258064</c:v>
                </c:pt>
                <c:pt idx="891">
                  <c:v>50.451612903225808</c:v>
                </c:pt>
                <c:pt idx="892">
                  <c:v>50.677419354838712</c:v>
                </c:pt>
                <c:pt idx="893">
                  <c:v>50.806451612903224</c:v>
                </c:pt>
                <c:pt idx="894">
                  <c:v>50.58064516129032</c:v>
                </c:pt>
                <c:pt idx="895">
                  <c:v>50.677419354838712</c:v>
                </c:pt>
                <c:pt idx="896">
                  <c:v>50.548387096774192</c:v>
                </c:pt>
                <c:pt idx="897">
                  <c:v>50.548387096774192</c:v>
                </c:pt>
                <c:pt idx="898">
                  <c:v>50.612903225806448</c:v>
                </c:pt>
                <c:pt idx="899">
                  <c:v>50.354838709677416</c:v>
                </c:pt>
                <c:pt idx="900">
                  <c:v>50.064516129032256</c:v>
                </c:pt>
                <c:pt idx="901">
                  <c:v>49.967741935483872</c:v>
                </c:pt>
                <c:pt idx="902">
                  <c:v>50</c:v>
                </c:pt>
                <c:pt idx="903">
                  <c:v>50.096774193548384</c:v>
                </c:pt>
                <c:pt idx="904">
                  <c:v>50.258064516129032</c:v>
                </c:pt>
                <c:pt idx="905">
                  <c:v>50.41935483870968</c:v>
                </c:pt>
                <c:pt idx="906">
                  <c:v>50.58064516129032</c:v>
                </c:pt>
                <c:pt idx="907">
                  <c:v>50.483870967741936</c:v>
                </c:pt>
                <c:pt idx="908">
                  <c:v>50.612903225806448</c:v>
                </c:pt>
                <c:pt idx="909">
                  <c:v>50.387096774193552</c:v>
                </c:pt>
                <c:pt idx="910">
                  <c:v>50.161290322580648</c:v>
                </c:pt>
                <c:pt idx="911">
                  <c:v>50.225806451612904</c:v>
                </c:pt>
                <c:pt idx="912">
                  <c:v>49.935483870967744</c:v>
                </c:pt>
                <c:pt idx="913">
                  <c:v>49.806451612903224</c:v>
                </c:pt>
                <c:pt idx="914">
                  <c:v>49.903225806451616</c:v>
                </c:pt>
                <c:pt idx="915">
                  <c:v>49.903225806451616</c:v>
                </c:pt>
                <c:pt idx="916">
                  <c:v>49.806451612903224</c:v>
                </c:pt>
                <c:pt idx="917">
                  <c:v>49.774193548387096</c:v>
                </c:pt>
                <c:pt idx="918">
                  <c:v>49.935483870967744</c:v>
                </c:pt>
                <c:pt idx="919">
                  <c:v>50</c:v>
                </c:pt>
                <c:pt idx="920">
                  <c:v>49.935483870967744</c:v>
                </c:pt>
                <c:pt idx="921">
                  <c:v>49.774193548387096</c:v>
                </c:pt>
                <c:pt idx="922">
                  <c:v>49.774193548387096</c:v>
                </c:pt>
                <c:pt idx="923">
                  <c:v>49.548387096774192</c:v>
                </c:pt>
                <c:pt idx="924">
                  <c:v>49.677419354838712</c:v>
                </c:pt>
                <c:pt idx="925">
                  <c:v>49.903225806451616</c:v>
                </c:pt>
                <c:pt idx="926">
                  <c:v>49.806451612903224</c:v>
                </c:pt>
                <c:pt idx="927">
                  <c:v>49.70967741935484</c:v>
                </c:pt>
                <c:pt idx="928">
                  <c:v>49.612903225806448</c:v>
                </c:pt>
                <c:pt idx="929">
                  <c:v>49.741935483870968</c:v>
                </c:pt>
                <c:pt idx="930">
                  <c:v>49.806451612903224</c:v>
                </c:pt>
                <c:pt idx="931">
                  <c:v>50.032258064516128</c:v>
                </c:pt>
                <c:pt idx="932">
                  <c:v>50.193548387096776</c:v>
                </c:pt>
                <c:pt idx="933">
                  <c:v>50.193548387096776</c:v>
                </c:pt>
                <c:pt idx="934">
                  <c:v>50.225806451612904</c:v>
                </c:pt>
                <c:pt idx="935">
                  <c:v>50.354838709677416</c:v>
                </c:pt>
                <c:pt idx="936">
                  <c:v>50.096774193548384</c:v>
                </c:pt>
                <c:pt idx="937">
                  <c:v>50.032258064516128</c:v>
                </c:pt>
                <c:pt idx="938">
                  <c:v>50.225806451612904</c:v>
                </c:pt>
                <c:pt idx="939">
                  <c:v>50.12903225806452</c:v>
                </c:pt>
                <c:pt idx="940">
                  <c:v>50.258064516129032</c:v>
                </c:pt>
                <c:pt idx="941">
                  <c:v>50.387096774193552</c:v>
                </c:pt>
                <c:pt idx="942">
                  <c:v>50.354838709677416</c:v>
                </c:pt>
                <c:pt idx="943">
                  <c:v>50.548387096774192</c:v>
                </c:pt>
                <c:pt idx="944">
                  <c:v>50.741935483870968</c:v>
                </c:pt>
                <c:pt idx="945">
                  <c:v>50.677419354838712</c:v>
                </c:pt>
                <c:pt idx="946">
                  <c:v>50.483870967741936</c:v>
                </c:pt>
                <c:pt idx="947">
                  <c:v>50.354838709677416</c:v>
                </c:pt>
                <c:pt idx="948">
                  <c:v>50.064516129032256</c:v>
                </c:pt>
                <c:pt idx="949">
                  <c:v>50.161290322580648</c:v>
                </c:pt>
                <c:pt idx="950">
                  <c:v>50.322580645161288</c:v>
                </c:pt>
                <c:pt idx="951">
                  <c:v>50.483870967741936</c:v>
                </c:pt>
                <c:pt idx="952">
                  <c:v>50.645161290322584</c:v>
                </c:pt>
                <c:pt idx="953">
                  <c:v>50.645161290322584</c:v>
                </c:pt>
                <c:pt idx="954">
                  <c:v>50.741935483870968</c:v>
                </c:pt>
                <c:pt idx="955">
                  <c:v>50.741935483870968</c:v>
                </c:pt>
                <c:pt idx="956">
                  <c:v>50.58064516129032</c:v>
                </c:pt>
                <c:pt idx="957">
                  <c:v>50.806451612903224</c:v>
                </c:pt>
                <c:pt idx="958">
                  <c:v>50.774193548387096</c:v>
                </c:pt>
                <c:pt idx="959">
                  <c:v>50.838709677419352</c:v>
                </c:pt>
                <c:pt idx="960">
                  <c:v>50.645161290322584</c:v>
                </c:pt>
                <c:pt idx="961">
                  <c:v>50.516129032258064</c:v>
                </c:pt>
                <c:pt idx="962">
                  <c:v>50.516129032258064</c:v>
                </c:pt>
                <c:pt idx="963">
                  <c:v>50.483870967741936</c:v>
                </c:pt>
                <c:pt idx="964">
                  <c:v>50.612903225806448</c:v>
                </c:pt>
                <c:pt idx="965">
                  <c:v>50.677419354838712</c:v>
                </c:pt>
                <c:pt idx="966">
                  <c:v>50.451612903225808</c:v>
                </c:pt>
                <c:pt idx="967">
                  <c:v>50.70967741935484</c:v>
                </c:pt>
                <c:pt idx="968">
                  <c:v>50.677419354838712</c:v>
                </c:pt>
                <c:pt idx="969">
                  <c:v>50.516129032258064</c:v>
                </c:pt>
                <c:pt idx="970">
                  <c:v>50.516129032258064</c:v>
                </c:pt>
                <c:pt idx="971">
                  <c:v>50.322580645161288</c:v>
                </c:pt>
                <c:pt idx="972">
                  <c:v>50.354838709677416</c:v>
                </c:pt>
                <c:pt idx="973">
                  <c:v>50.161290322580648</c:v>
                </c:pt>
                <c:pt idx="974">
                  <c:v>50.096774193548384</c:v>
                </c:pt>
                <c:pt idx="975">
                  <c:v>49.967741935483872</c:v>
                </c:pt>
                <c:pt idx="976">
                  <c:v>49.838709677419352</c:v>
                </c:pt>
                <c:pt idx="977">
                  <c:v>49.70967741935484</c:v>
                </c:pt>
                <c:pt idx="978">
                  <c:v>49.935483870967744</c:v>
                </c:pt>
                <c:pt idx="979">
                  <c:v>49.935483870967744</c:v>
                </c:pt>
                <c:pt idx="980">
                  <c:v>49.70967741935484</c:v>
                </c:pt>
                <c:pt idx="981">
                  <c:v>49.677419354838712</c:v>
                </c:pt>
                <c:pt idx="982">
                  <c:v>49.41935483870968</c:v>
                </c:pt>
                <c:pt idx="983">
                  <c:v>49.322580645161288</c:v>
                </c:pt>
                <c:pt idx="984">
                  <c:v>49.161290322580648</c:v>
                </c:pt>
                <c:pt idx="985">
                  <c:v>49.322580645161288</c:v>
                </c:pt>
                <c:pt idx="986">
                  <c:v>49.258064516129032</c:v>
                </c:pt>
                <c:pt idx="987">
                  <c:v>49.29032258064516</c:v>
                </c:pt>
                <c:pt idx="988">
                  <c:v>48.967741935483872</c:v>
                </c:pt>
                <c:pt idx="989">
                  <c:v>49.032258064516128</c:v>
                </c:pt>
                <c:pt idx="990">
                  <c:v>49.161290322580648</c:v>
                </c:pt>
                <c:pt idx="991">
                  <c:v>49.12903225806452</c:v>
                </c:pt>
                <c:pt idx="992">
                  <c:v>49.193548387096776</c:v>
                </c:pt>
                <c:pt idx="993">
                  <c:v>49.161290322580648</c:v>
                </c:pt>
                <c:pt idx="994">
                  <c:v>49.29032258064516</c:v>
                </c:pt>
                <c:pt idx="995">
                  <c:v>49.41935483870968</c:v>
                </c:pt>
                <c:pt idx="996">
                  <c:v>49.161290322580648</c:v>
                </c:pt>
                <c:pt idx="997">
                  <c:v>49.387096774193552</c:v>
                </c:pt>
                <c:pt idx="998">
                  <c:v>49.387096774193552</c:v>
                </c:pt>
                <c:pt idx="999">
                  <c:v>49.225806451612904</c:v>
                </c:pt>
                <c:pt idx="1000">
                  <c:v>49.322580645161288</c:v>
                </c:pt>
                <c:pt idx="1001">
                  <c:v>49.322580645161288</c:v>
                </c:pt>
                <c:pt idx="1002">
                  <c:v>49.548387096774192</c:v>
                </c:pt>
                <c:pt idx="1003">
                  <c:v>49.387096774193552</c:v>
                </c:pt>
                <c:pt idx="1004">
                  <c:v>49.483870967741936</c:v>
                </c:pt>
                <c:pt idx="1005">
                  <c:v>49.612903225806448</c:v>
                </c:pt>
                <c:pt idx="1006">
                  <c:v>49.741935483870968</c:v>
                </c:pt>
                <c:pt idx="1007">
                  <c:v>49.87096774193548</c:v>
                </c:pt>
                <c:pt idx="1008">
                  <c:v>49.935483870967744</c:v>
                </c:pt>
                <c:pt idx="1009">
                  <c:v>49.70967741935484</c:v>
                </c:pt>
                <c:pt idx="1010">
                  <c:v>49.70967741935484</c:v>
                </c:pt>
                <c:pt idx="1011">
                  <c:v>49.838709677419352</c:v>
                </c:pt>
                <c:pt idx="1012">
                  <c:v>49.612903225806448</c:v>
                </c:pt>
                <c:pt idx="1013">
                  <c:v>49.903225806451616</c:v>
                </c:pt>
                <c:pt idx="1014">
                  <c:v>49.741935483870968</c:v>
                </c:pt>
                <c:pt idx="1015">
                  <c:v>49.774193548387096</c:v>
                </c:pt>
                <c:pt idx="1016">
                  <c:v>49.806451612903224</c:v>
                </c:pt>
                <c:pt idx="1017">
                  <c:v>49.58064516129032</c:v>
                </c:pt>
                <c:pt idx="1018">
                  <c:v>49.741935483870968</c:v>
                </c:pt>
                <c:pt idx="1019">
                  <c:v>50.064516129032256</c:v>
                </c:pt>
                <c:pt idx="1020">
                  <c:v>50.29032258064516</c:v>
                </c:pt>
                <c:pt idx="1021">
                  <c:v>50.064516129032256</c:v>
                </c:pt>
                <c:pt idx="1022">
                  <c:v>50.064516129032256</c:v>
                </c:pt>
                <c:pt idx="1023">
                  <c:v>50.096774193548384</c:v>
                </c:pt>
                <c:pt idx="1024">
                  <c:v>50</c:v>
                </c:pt>
                <c:pt idx="1025">
                  <c:v>50.032258064516128</c:v>
                </c:pt>
                <c:pt idx="1026">
                  <c:v>50</c:v>
                </c:pt>
                <c:pt idx="1027">
                  <c:v>50.258064516129032</c:v>
                </c:pt>
                <c:pt idx="1028">
                  <c:v>50.193548387096776</c:v>
                </c:pt>
                <c:pt idx="1029">
                  <c:v>50.12903225806452</c:v>
                </c:pt>
                <c:pt idx="1030">
                  <c:v>50.161290322580648</c:v>
                </c:pt>
                <c:pt idx="1031">
                  <c:v>50.096774193548384</c:v>
                </c:pt>
                <c:pt idx="1032">
                  <c:v>50.258064516129032</c:v>
                </c:pt>
                <c:pt idx="1033">
                  <c:v>50.354838709677416</c:v>
                </c:pt>
                <c:pt idx="1034">
                  <c:v>50.387096774193552</c:v>
                </c:pt>
                <c:pt idx="1035">
                  <c:v>50.29032258064516</c:v>
                </c:pt>
                <c:pt idx="1036">
                  <c:v>50.29032258064516</c:v>
                </c:pt>
                <c:pt idx="1037">
                  <c:v>50.161290322580648</c:v>
                </c:pt>
                <c:pt idx="1038">
                  <c:v>50.096774193548384</c:v>
                </c:pt>
                <c:pt idx="1039">
                  <c:v>50.096774193548384</c:v>
                </c:pt>
                <c:pt idx="1040">
                  <c:v>50.322580645161288</c:v>
                </c:pt>
                <c:pt idx="1041">
                  <c:v>50.58064516129032</c:v>
                </c:pt>
                <c:pt idx="1042">
                  <c:v>50.70967741935484</c:v>
                </c:pt>
                <c:pt idx="1043">
                  <c:v>50.903225806451616</c:v>
                </c:pt>
                <c:pt idx="1044">
                  <c:v>50.903225806451616</c:v>
                </c:pt>
                <c:pt idx="1045">
                  <c:v>51.12903225806452</c:v>
                </c:pt>
                <c:pt idx="1046">
                  <c:v>51.322580645161288</c:v>
                </c:pt>
                <c:pt idx="1047">
                  <c:v>51.258064516129032</c:v>
                </c:pt>
                <c:pt idx="1048">
                  <c:v>51.548387096774192</c:v>
                </c:pt>
                <c:pt idx="1049">
                  <c:v>51.548387096774192</c:v>
                </c:pt>
                <c:pt idx="1050">
                  <c:v>51.516129032258064</c:v>
                </c:pt>
                <c:pt idx="1051">
                  <c:v>51.451612903225808</c:v>
                </c:pt>
                <c:pt idx="1052">
                  <c:v>51.677419354838712</c:v>
                </c:pt>
                <c:pt idx="1053">
                  <c:v>51.838709677419352</c:v>
                </c:pt>
                <c:pt idx="1054">
                  <c:v>52.032258064516128</c:v>
                </c:pt>
                <c:pt idx="1055">
                  <c:v>52.161290322580648</c:v>
                </c:pt>
                <c:pt idx="1056">
                  <c:v>52.096774193548384</c:v>
                </c:pt>
                <c:pt idx="1057">
                  <c:v>52.064516129032256</c:v>
                </c:pt>
                <c:pt idx="1058">
                  <c:v>52.032258064516128</c:v>
                </c:pt>
                <c:pt idx="1059">
                  <c:v>52.064516129032256</c:v>
                </c:pt>
                <c:pt idx="1060">
                  <c:v>52.096774193548384</c:v>
                </c:pt>
                <c:pt idx="1061">
                  <c:v>52.29032258064516</c:v>
                </c:pt>
                <c:pt idx="1062">
                  <c:v>52.387096774193552</c:v>
                </c:pt>
                <c:pt idx="1063">
                  <c:v>52.41935483870968</c:v>
                </c:pt>
                <c:pt idx="1064">
                  <c:v>52.41935483870968</c:v>
                </c:pt>
                <c:pt idx="1065">
                  <c:v>52.645161290322584</c:v>
                </c:pt>
                <c:pt idx="1066">
                  <c:v>52.903225806451616</c:v>
                </c:pt>
                <c:pt idx="1067">
                  <c:v>52.903225806451616</c:v>
                </c:pt>
                <c:pt idx="1068">
                  <c:v>52.967741935483872</c:v>
                </c:pt>
                <c:pt idx="1069">
                  <c:v>53.064516129032256</c:v>
                </c:pt>
                <c:pt idx="1070">
                  <c:v>53.225806451612904</c:v>
                </c:pt>
                <c:pt idx="1071">
                  <c:v>53.225806451612904</c:v>
                </c:pt>
                <c:pt idx="1072">
                  <c:v>53.193548387096776</c:v>
                </c:pt>
                <c:pt idx="1073">
                  <c:v>53.12903225806452</c:v>
                </c:pt>
                <c:pt idx="1074">
                  <c:v>53.12903225806452</c:v>
                </c:pt>
                <c:pt idx="1075">
                  <c:v>53.096774193548384</c:v>
                </c:pt>
                <c:pt idx="1076">
                  <c:v>53.096774193548384</c:v>
                </c:pt>
                <c:pt idx="1077">
                  <c:v>53.161290322580648</c:v>
                </c:pt>
                <c:pt idx="1078">
                  <c:v>53.161290322580648</c:v>
                </c:pt>
                <c:pt idx="1079">
                  <c:v>53.096774193548384</c:v>
                </c:pt>
                <c:pt idx="1080">
                  <c:v>53.096774193548384</c:v>
                </c:pt>
                <c:pt idx="1081">
                  <c:v>53.096774193548384</c:v>
                </c:pt>
                <c:pt idx="1082">
                  <c:v>53.12903225806452</c:v>
                </c:pt>
                <c:pt idx="1083">
                  <c:v>53.12903225806452</c:v>
                </c:pt>
                <c:pt idx="1084">
                  <c:v>52.935483870967744</c:v>
                </c:pt>
                <c:pt idx="1085">
                  <c:v>52.903225806451616</c:v>
                </c:pt>
                <c:pt idx="1086">
                  <c:v>52.677419354838712</c:v>
                </c:pt>
                <c:pt idx="1087">
                  <c:v>52.548387096774192</c:v>
                </c:pt>
                <c:pt idx="1088">
                  <c:v>52.387096774193552</c:v>
                </c:pt>
                <c:pt idx="1089">
                  <c:v>52.29032258064516</c:v>
                </c:pt>
                <c:pt idx="1090">
                  <c:v>52.258064516129032</c:v>
                </c:pt>
                <c:pt idx="1091">
                  <c:v>52.354838709677416</c:v>
                </c:pt>
                <c:pt idx="1092">
                  <c:v>52.096774193548384</c:v>
                </c:pt>
                <c:pt idx="1093">
                  <c:v>52.032258064516128</c:v>
                </c:pt>
                <c:pt idx="1094">
                  <c:v>52.064516129032256</c:v>
                </c:pt>
                <c:pt idx="1095">
                  <c:v>51.967741935483872</c:v>
                </c:pt>
                <c:pt idx="1096">
                  <c:v>51.806451612903224</c:v>
                </c:pt>
                <c:pt idx="1097">
                  <c:v>51.70967741935484</c:v>
                </c:pt>
                <c:pt idx="1098">
                  <c:v>51.516129032258064</c:v>
                </c:pt>
                <c:pt idx="1099">
                  <c:v>51.41935483870968</c:v>
                </c:pt>
                <c:pt idx="1100">
                  <c:v>51.193548387096776</c:v>
                </c:pt>
                <c:pt idx="1101">
                  <c:v>51.29032258064516</c:v>
                </c:pt>
                <c:pt idx="1102">
                  <c:v>51.032258064516128</c:v>
                </c:pt>
                <c:pt idx="1103">
                  <c:v>50.903225806451616</c:v>
                </c:pt>
                <c:pt idx="1104">
                  <c:v>50.935483870967744</c:v>
                </c:pt>
                <c:pt idx="1105">
                  <c:v>50.87096774193548</c:v>
                </c:pt>
                <c:pt idx="1106">
                  <c:v>50.774193548387096</c:v>
                </c:pt>
                <c:pt idx="1107">
                  <c:v>50.838709677419352</c:v>
                </c:pt>
                <c:pt idx="1108">
                  <c:v>50.516129032258064</c:v>
                </c:pt>
                <c:pt idx="1109">
                  <c:v>50.29032258064516</c:v>
                </c:pt>
                <c:pt idx="1110">
                  <c:v>50.322580645161288</c:v>
                </c:pt>
                <c:pt idx="1111">
                  <c:v>50.387096774193552</c:v>
                </c:pt>
                <c:pt idx="1112">
                  <c:v>50.322580645161288</c:v>
                </c:pt>
                <c:pt idx="1113">
                  <c:v>50.161290322580648</c:v>
                </c:pt>
                <c:pt idx="1114">
                  <c:v>50.096774193548384</c:v>
                </c:pt>
                <c:pt idx="1115">
                  <c:v>50.387096774193552</c:v>
                </c:pt>
                <c:pt idx="1116">
                  <c:v>50.354838709677416</c:v>
                </c:pt>
                <c:pt idx="1117">
                  <c:v>50.612903225806448</c:v>
                </c:pt>
                <c:pt idx="1118">
                  <c:v>50.741935483870968</c:v>
                </c:pt>
                <c:pt idx="1119">
                  <c:v>50.967741935483872</c:v>
                </c:pt>
                <c:pt idx="1120">
                  <c:v>51.064516129032256</c:v>
                </c:pt>
                <c:pt idx="1121">
                  <c:v>50.87096774193548</c:v>
                </c:pt>
                <c:pt idx="1122">
                  <c:v>50.87096774193548</c:v>
                </c:pt>
                <c:pt idx="1123">
                  <c:v>50.967741935483872</c:v>
                </c:pt>
                <c:pt idx="1124">
                  <c:v>51</c:v>
                </c:pt>
                <c:pt idx="1125">
                  <c:v>51</c:v>
                </c:pt>
                <c:pt idx="1126">
                  <c:v>50.967741935483872</c:v>
                </c:pt>
                <c:pt idx="1127">
                  <c:v>51.12903225806452</c:v>
                </c:pt>
                <c:pt idx="1128">
                  <c:v>51.161290322580648</c:v>
                </c:pt>
                <c:pt idx="1129">
                  <c:v>51.387096774193552</c:v>
                </c:pt>
                <c:pt idx="1130">
                  <c:v>51.29032258064516</c:v>
                </c:pt>
                <c:pt idx="1131">
                  <c:v>51.483870967741936</c:v>
                </c:pt>
                <c:pt idx="1132">
                  <c:v>51.29032258064516</c:v>
                </c:pt>
                <c:pt idx="1133">
                  <c:v>51.225806451612904</c:v>
                </c:pt>
                <c:pt idx="1134">
                  <c:v>51.41935483870968</c:v>
                </c:pt>
                <c:pt idx="1135">
                  <c:v>51.322580645161288</c:v>
                </c:pt>
                <c:pt idx="1136">
                  <c:v>51.354838709677416</c:v>
                </c:pt>
                <c:pt idx="1137">
                  <c:v>51.322580645161288</c:v>
                </c:pt>
                <c:pt idx="1138">
                  <c:v>51.354838709677416</c:v>
                </c:pt>
                <c:pt idx="1139">
                  <c:v>51.41935483870968</c:v>
                </c:pt>
                <c:pt idx="1140">
                  <c:v>51.741935483870968</c:v>
                </c:pt>
                <c:pt idx="1141">
                  <c:v>51.548387096774192</c:v>
                </c:pt>
                <c:pt idx="1142">
                  <c:v>51.41935483870968</c:v>
                </c:pt>
                <c:pt idx="1143">
                  <c:v>51.516129032258064</c:v>
                </c:pt>
                <c:pt idx="1144">
                  <c:v>51.41935483870968</c:v>
                </c:pt>
                <c:pt idx="1145">
                  <c:v>51.225806451612904</c:v>
                </c:pt>
                <c:pt idx="1146">
                  <c:v>51.161290322580648</c:v>
                </c:pt>
                <c:pt idx="1147">
                  <c:v>51.161290322580648</c:v>
                </c:pt>
                <c:pt idx="1148">
                  <c:v>50.87096774193548</c:v>
                </c:pt>
                <c:pt idx="1149">
                  <c:v>50.612903225806448</c:v>
                </c:pt>
                <c:pt idx="1150">
                  <c:v>50.483870967741936</c:v>
                </c:pt>
                <c:pt idx="1151">
                  <c:v>50.29032258064516</c:v>
                </c:pt>
                <c:pt idx="1152">
                  <c:v>50.516129032258064</c:v>
                </c:pt>
                <c:pt idx="1153">
                  <c:v>50.322580645161288</c:v>
                </c:pt>
                <c:pt idx="1154">
                  <c:v>50.258064516129032</c:v>
                </c:pt>
                <c:pt idx="1155">
                  <c:v>50.258064516129032</c:v>
                </c:pt>
                <c:pt idx="1156">
                  <c:v>50.032258064516128</c:v>
                </c:pt>
                <c:pt idx="1157">
                  <c:v>50.032258064516128</c:v>
                </c:pt>
                <c:pt idx="1158">
                  <c:v>50.096774193548384</c:v>
                </c:pt>
                <c:pt idx="1159">
                  <c:v>50.032258064516128</c:v>
                </c:pt>
                <c:pt idx="1160">
                  <c:v>49.838709677419352</c:v>
                </c:pt>
                <c:pt idx="1161">
                  <c:v>50.064516129032256</c:v>
                </c:pt>
                <c:pt idx="1162">
                  <c:v>50</c:v>
                </c:pt>
                <c:pt idx="1163">
                  <c:v>49.935483870967744</c:v>
                </c:pt>
                <c:pt idx="1164">
                  <c:v>49.935483870967744</c:v>
                </c:pt>
                <c:pt idx="1165">
                  <c:v>49.741935483870968</c:v>
                </c:pt>
                <c:pt idx="1166">
                  <c:v>49.838709677419352</c:v>
                </c:pt>
                <c:pt idx="1167">
                  <c:v>49.774193548387096</c:v>
                </c:pt>
                <c:pt idx="1168">
                  <c:v>49.645161290322584</c:v>
                </c:pt>
                <c:pt idx="1169">
                  <c:v>49.58064516129032</c:v>
                </c:pt>
                <c:pt idx="1170">
                  <c:v>49.645161290322584</c:v>
                </c:pt>
                <c:pt idx="1171">
                  <c:v>49.41935483870968</c:v>
                </c:pt>
                <c:pt idx="1172">
                  <c:v>49.387096774193552</c:v>
                </c:pt>
                <c:pt idx="1173">
                  <c:v>49.225806451612904</c:v>
                </c:pt>
                <c:pt idx="1174">
                  <c:v>49.193548387096776</c:v>
                </c:pt>
                <c:pt idx="1175">
                  <c:v>49.225806451612904</c:v>
                </c:pt>
                <c:pt idx="1176">
                  <c:v>49.483870967741936</c:v>
                </c:pt>
                <c:pt idx="1177">
                  <c:v>49.354838709677416</c:v>
                </c:pt>
                <c:pt idx="1178">
                  <c:v>49.225806451612904</c:v>
                </c:pt>
                <c:pt idx="1179">
                  <c:v>49.451612903225808</c:v>
                </c:pt>
                <c:pt idx="1180">
                  <c:v>49.548387096774192</c:v>
                </c:pt>
                <c:pt idx="1181">
                  <c:v>49.548387096774192</c:v>
                </c:pt>
                <c:pt idx="1182">
                  <c:v>49.774193548387096</c:v>
                </c:pt>
                <c:pt idx="1183">
                  <c:v>49.774193548387096</c:v>
                </c:pt>
                <c:pt idx="1184">
                  <c:v>49.677419354838712</c:v>
                </c:pt>
                <c:pt idx="1185">
                  <c:v>49.741935483870968</c:v>
                </c:pt>
                <c:pt idx="1186">
                  <c:v>49.483870967741936</c:v>
                </c:pt>
                <c:pt idx="1187">
                  <c:v>49.451612903225808</c:v>
                </c:pt>
                <c:pt idx="1188">
                  <c:v>49.483870967741936</c:v>
                </c:pt>
                <c:pt idx="1189">
                  <c:v>49.193548387096776</c:v>
                </c:pt>
                <c:pt idx="1190">
                  <c:v>49.258064516129032</c:v>
                </c:pt>
                <c:pt idx="1191">
                  <c:v>49.387096774193552</c:v>
                </c:pt>
                <c:pt idx="1192">
                  <c:v>49.451612903225808</c:v>
                </c:pt>
                <c:pt idx="1193">
                  <c:v>49.322580645161288</c:v>
                </c:pt>
                <c:pt idx="1194">
                  <c:v>49.483870967741936</c:v>
                </c:pt>
                <c:pt idx="1195">
                  <c:v>49.677419354838712</c:v>
                </c:pt>
                <c:pt idx="1196">
                  <c:v>49.612903225806448</c:v>
                </c:pt>
                <c:pt idx="1197">
                  <c:v>49.645161290322584</c:v>
                </c:pt>
                <c:pt idx="1198">
                  <c:v>49.741935483870968</c:v>
                </c:pt>
                <c:pt idx="1199">
                  <c:v>49.87096774193548</c:v>
                </c:pt>
                <c:pt idx="1200">
                  <c:v>49.87096774193548</c:v>
                </c:pt>
                <c:pt idx="1201">
                  <c:v>50</c:v>
                </c:pt>
                <c:pt idx="1202">
                  <c:v>50</c:v>
                </c:pt>
                <c:pt idx="1203">
                  <c:v>50.064516129032256</c:v>
                </c:pt>
                <c:pt idx="1204">
                  <c:v>50.258064516129032</c:v>
                </c:pt>
                <c:pt idx="1205">
                  <c:v>49.967741935483872</c:v>
                </c:pt>
                <c:pt idx="1206">
                  <c:v>50.096774193548384</c:v>
                </c:pt>
                <c:pt idx="1207">
                  <c:v>50.032258064516128</c:v>
                </c:pt>
                <c:pt idx="1208">
                  <c:v>50.032258064516128</c:v>
                </c:pt>
                <c:pt idx="1209">
                  <c:v>50.225806451612904</c:v>
                </c:pt>
                <c:pt idx="1210">
                  <c:v>50.096774193548384</c:v>
                </c:pt>
                <c:pt idx="1211">
                  <c:v>50.064516129032256</c:v>
                </c:pt>
                <c:pt idx="1212">
                  <c:v>50.225806451612904</c:v>
                </c:pt>
                <c:pt idx="1213">
                  <c:v>50.225806451612904</c:v>
                </c:pt>
                <c:pt idx="1214">
                  <c:v>50.193548387096776</c:v>
                </c:pt>
                <c:pt idx="1215">
                  <c:v>50.483870967741936</c:v>
                </c:pt>
                <c:pt idx="1216">
                  <c:v>50.58064516129032</c:v>
                </c:pt>
                <c:pt idx="1217">
                  <c:v>50.70967741935484</c:v>
                </c:pt>
                <c:pt idx="1218">
                  <c:v>51</c:v>
                </c:pt>
                <c:pt idx="1219">
                  <c:v>51.032258064516128</c:v>
                </c:pt>
                <c:pt idx="1220">
                  <c:v>51.225806451612904</c:v>
                </c:pt>
                <c:pt idx="1221">
                  <c:v>51.354838709677416</c:v>
                </c:pt>
                <c:pt idx="1222">
                  <c:v>51.354838709677416</c:v>
                </c:pt>
                <c:pt idx="1223">
                  <c:v>51.12903225806452</c:v>
                </c:pt>
                <c:pt idx="1224">
                  <c:v>51.354838709677416</c:v>
                </c:pt>
                <c:pt idx="1225">
                  <c:v>51.41935483870968</c:v>
                </c:pt>
                <c:pt idx="1226">
                  <c:v>51.41935483870968</c:v>
                </c:pt>
                <c:pt idx="1227">
                  <c:v>51.70967741935484</c:v>
                </c:pt>
                <c:pt idx="1228">
                  <c:v>51.483870967741936</c:v>
                </c:pt>
                <c:pt idx="1229">
                  <c:v>51.322580645161288</c:v>
                </c:pt>
                <c:pt idx="1230">
                  <c:v>51.516129032258064</c:v>
                </c:pt>
                <c:pt idx="1231">
                  <c:v>51.516129032258064</c:v>
                </c:pt>
                <c:pt idx="1232">
                  <c:v>51.483870967741936</c:v>
                </c:pt>
                <c:pt idx="1233">
                  <c:v>51.645161290322584</c:v>
                </c:pt>
                <c:pt idx="1234">
                  <c:v>51.87096774193548</c:v>
                </c:pt>
                <c:pt idx="1235">
                  <c:v>51.903225806451616</c:v>
                </c:pt>
                <c:pt idx="1236">
                  <c:v>52.161290322580648</c:v>
                </c:pt>
                <c:pt idx="1237">
                  <c:v>52.225806451612904</c:v>
                </c:pt>
                <c:pt idx="1238">
                  <c:v>52.29032258064516</c:v>
                </c:pt>
                <c:pt idx="1239">
                  <c:v>52.483870967741936</c:v>
                </c:pt>
                <c:pt idx="1240">
                  <c:v>52.41935483870968</c:v>
                </c:pt>
                <c:pt idx="1241">
                  <c:v>52.612903225806448</c:v>
                </c:pt>
                <c:pt idx="1242">
                  <c:v>52.838709677419352</c:v>
                </c:pt>
                <c:pt idx="1243">
                  <c:v>52.741935483870968</c:v>
                </c:pt>
                <c:pt idx="1244">
                  <c:v>52.774193548387096</c:v>
                </c:pt>
                <c:pt idx="1245">
                  <c:v>52.806451612903224</c:v>
                </c:pt>
                <c:pt idx="1246">
                  <c:v>52.741935483870968</c:v>
                </c:pt>
                <c:pt idx="1247">
                  <c:v>52.838709677419352</c:v>
                </c:pt>
                <c:pt idx="1248">
                  <c:v>52.935483870967744</c:v>
                </c:pt>
                <c:pt idx="1249">
                  <c:v>52.967741935483872</c:v>
                </c:pt>
                <c:pt idx="1250">
                  <c:v>53</c:v>
                </c:pt>
                <c:pt idx="1251">
                  <c:v>53</c:v>
                </c:pt>
                <c:pt idx="1252">
                  <c:v>52.903225806451616</c:v>
                </c:pt>
                <c:pt idx="1253">
                  <c:v>52.87096774193548</c:v>
                </c:pt>
                <c:pt idx="1254">
                  <c:v>53.064516129032256</c:v>
                </c:pt>
                <c:pt idx="1255">
                  <c:v>53.096774193548384</c:v>
                </c:pt>
                <c:pt idx="1256">
                  <c:v>53.064516129032256</c:v>
                </c:pt>
                <c:pt idx="1257">
                  <c:v>53.12903225806452</c:v>
                </c:pt>
                <c:pt idx="1258">
                  <c:v>53.096774193548384</c:v>
                </c:pt>
                <c:pt idx="1259">
                  <c:v>53.322580645161288</c:v>
                </c:pt>
                <c:pt idx="1260">
                  <c:v>53.483870967741936</c:v>
                </c:pt>
                <c:pt idx="1261">
                  <c:v>53.387096774193552</c:v>
                </c:pt>
                <c:pt idx="1262">
                  <c:v>53.387096774193552</c:v>
                </c:pt>
                <c:pt idx="1263">
                  <c:v>53.451612903225808</c:v>
                </c:pt>
                <c:pt idx="1264">
                  <c:v>53.451612903225808</c:v>
                </c:pt>
                <c:pt idx="1265">
                  <c:v>53.451612903225808</c:v>
                </c:pt>
                <c:pt idx="1266">
                  <c:v>53.516129032258064</c:v>
                </c:pt>
                <c:pt idx="1267">
                  <c:v>53.516129032258064</c:v>
                </c:pt>
                <c:pt idx="1268">
                  <c:v>53.516129032258064</c:v>
                </c:pt>
                <c:pt idx="1269">
                  <c:v>53.516129032258064</c:v>
                </c:pt>
                <c:pt idx="1270">
                  <c:v>53.483870967741936</c:v>
                </c:pt>
                <c:pt idx="1271">
                  <c:v>53.483870967741936</c:v>
                </c:pt>
                <c:pt idx="1272">
                  <c:v>53.483870967741936</c:v>
                </c:pt>
                <c:pt idx="1273">
                  <c:v>53.451612903225808</c:v>
                </c:pt>
                <c:pt idx="1274">
                  <c:v>53.516129032258064</c:v>
                </c:pt>
                <c:pt idx="1275">
                  <c:v>53.41935483870968</c:v>
                </c:pt>
                <c:pt idx="1276">
                  <c:v>53.193548387096776</c:v>
                </c:pt>
                <c:pt idx="1277">
                  <c:v>53.161290322580648</c:v>
                </c:pt>
                <c:pt idx="1278">
                  <c:v>53.12903225806452</c:v>
                </c:pt>
                <c:pt idx="1279">
                  <c:v>53.032258064516128</c:v>
                </c:pt>
                <c:pt idx="1280">
                  <c:v>52.935483870967744</c:v>
                </c:pt>
                <c:pt idx="1281">
                  <c:v>52.645161290322584</c:v>
                </c:pt>
                <c:pt idx="1282">
                  <c:v>52.677419354838712</c:v>
                </c:pt>
                <c:pt idx="1283">
                  <c:v>52.645161290322584</c:v>
                </c:pt>
                <c:pt idx="1284">
                  <c:v>52.451612903225808</c:v>
                </c:pt>
                <c:pt idx="1285">
                  <c:v>52.387096774193552</c:v>
                </c:pt>
                <c:pt idx="1286">
                  <c:v>52.225806451612904</c:v>
                </c:pt>
                <c:pt idx="1287">
                  <c:v>52</c:v>
                </c:pt>
                <c:pt idx="1288">
                  <c:v>51.806451612903224</c:v>
                </c:pt>
                <c:pt idx="1289">
                  <c:v>51.516129032258064</c:v>
                </c:pt>
                <c:pt idx="1290">
                  <c:v>51.258064516129032</c:v>
                </c:pt>
                <c:pt idx="1291">
                  <c:v>51.161290322580648</c:v>
                </c:pt>
                <c:pt idx="1292">
                  <c:v>50.935483870967744</c:v>
                </c:pt>
                <c:pt idx="1293">
                  <c:v>50.967741935483872</c:v>
                </c:pt>
                <c:pt idx="1294">
                  <c:v>50.70967741935484</c:v>
                </c:pt>
                <c:pt idx="1295">
                  <c:v>50.516129032258064</c:v>
                </c:pt>
                <c:pt idx="1296">
                  <c:v>50.29032258064516</c:v>
                </c:pt>
                <c:pt idx="1297">
                  <c:v>50.161290322580648</c:v>
                </c:pt>
                <c:pt idx="1298">
                  <c:v>50.064516129032256</c:v>
                </c:pt>
                <c:pt idx="1299">
                  <c:v>49.935483870967744</c:v>
                </c:pt>
                <c:pt idx="1300">
                  <c:v>49.967741935483872</c:v>
                </c:pt>
                <c:pt idx="1301">
                  <c:v>49.774193548387096</c:v>
                </c:pt>
                <c:pt idx="1302">
                  <c:v>49.87096774193548</c:v>
                </c:pt>
                <c:pt idx="1303">
                  <c:v>49.774193548387096</c:v>
                </c:pt>
                <c:pt idx="1304">
                  <c:v>49.838709677419352</c:v>
                </c:pt>
                <c:pt idx="1305">
                  <c:v>49.645161290322584</c:v>
                </c:pt>
                <c:pt idx="1306">
                  <c:v>49.677419354838712</c:v>
                </c:pt>
                <c:pt idx="1307">
                  <c:v>49.935483870967744</c:v>
                </c:pt>
                <c:pt idx="1308">
                  <c:v>50.032258064516128</c:v>
                </c:pt>
                <c:pt idx="1309">
                  <c:v>50.064516129032256</c:v>
                </c:pt>
                <c:pt idx="1310">
                  <c:v>49.967741935483872</c:v>
                </c:pt>
                <c:pt idx="1311">
                  <c:v>50</c:v>
                </c:pt>
                <c:pt idx="1312">
                  <c:v>50.12903225806452</c:v>
                </c:pt>
                <c:pt idx="1313">
                  <c:v>50.193548387096776</c:v>
                </c:pt>
                <c:pt idx="1314">
                  <c:v>50.29032258064516</c:v>
                </c:pt>
                <c:pt idx="1315">
                  <c:v>50.387096774193552</c:v>
                </c:pt>
                <c:pt idx="1316">
                  <c:v>50.161290322580648</c:v>
                </c:pt>
                <c:pt idx="1317">
                  <c:v>50.032258064516128</c:v>
                </c:pt>
                <c:pt idx="1318">
                  <c:v>50.064516129032256</c:v>
                </c:pt>
                <c:pt idx="1319">
                  <c:v>50.032258064516128</c:v>
                </c:pt>
                <c:pt idx="1320">
                  <c:v>50.322580645161288</c:v>
                </c:pt>
                <c:pt idx="1321">
                  <c:v>50.58064516129032</c:v>
                </c:pt>
                <c:pt idx="1322">
                  <c:v>50.58064516129032</c:v>
                </c:pt>
                <c:pt idx="1323">
                  <c:v>50.838709677419352</c:v>
                </c:pt>
                <c:pt idx="1324">
                  <c:v>50.741935483870968</c:v>
                </c:pt>
                <c:pt idx="1325">
                  <c:v>50.87096774193548</c:v>
                </c:pt>
                <c:pt idx="1326">
                  <c:v>51.064516129032256</c:v>
                </c:pt>
                <c:pt idx="1327">
                  <c:v>51.161290322580648</c:v>
                </c:pt>
                <c:pt idx="1328">
                  <c:v>51</c:v>
                </c:pt>
                <c:pt idx="1329">
                  <c:v>51.064516129032256</c:v>
                </c:pt>
                <c:pt idx="1330">
                  <c:v>51.12903225806452</c:v>
                </c:pt>
                <c:pt idx="1331">
                  <c:v>51</c:v>
                </c:pt>
                <c:pt idx="1332">
                  <c:v>51.032258064516128</c:v>
                </c:pt>
                <c:pt idx="1333">
                  <c:v>50.741935483870968</c:v>
                </c:pt>
                <c:pt idx="1334">
                  <c:v>50.58064516129032</c:v>
                </c:pt>
                <c:pt idx="1335">
                  <c:v>50.548387096774192</c:v>
                </c:pt>
                <c:pt idx="1336">
                  <c:v>50.774193548387096</c:v>
                </c:pt>
                <c:pt idx="1337">
                  <c:v>50.645161290322584</c:v>
                </c:pt>
                <c:pt idx="1338">
                  <c:v>50.322580645161288</c:v>
                </c:pt>
                <c:pt idx="1339">
                  <c:v>50.29032258064516</c:v>
                </c:pt>
                <c:pt idx="1340">
                  <c:v>50.225806451612904</c:v>
                </c:pt>
                <c:pt idx="1341">
                  <c:v>50.193548387096776</c:v>
                </c:pt>
                <c:pt idx="1342">
                  <c:v>49.967741935483872</c:v>
                </c:pt>
                <c:pt idx="1343">
                  <c:v>49.903225806451616</c:v>
                </c:pt>
                <c:pt idx="1344">
                  <c:v>49.612903225806448</c:v>
                </c:pt>
                <c:pt idx="1345">
                  <c:v>49.451612903225808</c:v>
                </c:pt>
                <c:pt idx="1346">
                  <c:v>49.516129032258064</c:v>
                </c:pt>
                <c:pt idx="1347">
                  <c:v>49.70967741935484</c:v>
                </c:pt>
                <c:pt idx="1348">
                  <c:v>49.967741935483872</c:v>
                </c:pt>
                <c:pt idx="1349">
                  <c:v>49.903225806451616</c:v>
                </c:pt>
                <c:pt idx="1350">
                  <c:v>50.096774193548384</c:v>
                </c:pt>
                <c:pt idx="1351">
                  <c:v>49.903225806451616</c:v>
                </c:pt>
                <c:pt idx="1352">
                  <c:v>49.806451612903224</c:v>
                </c:pt>
                <c:pt idx="1353">
                  <c:v>49.645161290322584</c:v>
                </c:pt>
                <c:pt idx="1354">
                  <c:v>49.483870967741936</c:v>
                </c:pt>
                <c:pt idx="1355">
                  <c:v>49.483870967741936</c:v>
                </c:pt>
                <c:pt idx="1356">
                  <c:v>49.387096774193552</c:v>
                </c:pt>
                <c:pt idx="1357">
                  <c:v>49.29032258064516</c:v>
                </c:pt>
                <c:pt idx="1358">
                  <c:v>49.258064516129032</c:v>
                </c:pt>
                <c:pt idx="1359">
                  <c:v>49.387096774193552</c:v>
                </c:pt>
                <c:pt idx="1360">
                  <c:v>49.161290322580648</c:v>
                </c:pt>
                <c:pt idx="1361">
                  <c:v>49.193548387096776</c:v>
                </c:pt>
                <c:pt idx="1362">
                  <c:v>49.096774193548384</c:v>
                </c:pt>
                <c:pt idx="1363">
                  <c:v>49.064516129032256</c:v>
                </c:pt>
                <c:pt idx="1364">
                  <c:v>49.193548387096776</c:v>
                </c:pt>
                <c:pt idx="1365">
                  <c:v>49.258064516129032</c:v>
                </c:pt>
                <c:pt idx="1366">
                  <c:v>49.161290322580648</c:v>
                </c:pt>
                <c:pt idx="1367">
                  <c:v>49.032258064516128</c:v>
                </c:pt>
                <c:pt idx="1368">
                  <c:v>49</c:v>
                </c:pt>
                <c:pt idx="1369">
                  <c:v>49</c:v>
                </c:pt>
                <c:pt idx="1370">
                  <c:v>48.87096774193548</c:v>
                </c:pt>
                <c:pt idx="1371">
                  <c:v>48.87096774193548</c:v>
                </c:pt>
                <c:pt idx="1372">
                  <c:v>49.12903225806452</c:v>
                </c:pt>
                <c:pt idx="1373">
                  <c:v>49.354838709677416</c:v>
                </c:pt>
                <c:pt idx="1374">
                  <c:v>49.354838709677416</c:v>
                </c:pt>
                <c:pt idx="1375">
                  <c:v>49.483870967741936</c:v>
                </c:pt>
                <c:pt idx="1376">
                  <c:v>49.451612903225808</c:v>
                </c:pt>
                <c:pt idx="1377">
                  <c:v>49.29032258064516</c:v>
                </c:pt>
                <c:pt idx="1378">
                  <c:v>49.161290322580648</c:v>
                </c:pt>
                <c:pt idx="1379">
                  <c:v>48.967741935483872</c:v>
                </c:pt>
                <c:pt idx="1380">
                  <c:v>49.12903225806452</c:v>
                </c:pt>
                <c:pt idx="1381">
                  <c:v>49.064516129032256</c:v>
                </c:pt>
                <c:pt idx="1382">
                  <c:v>49</c:v>
                </c:pt>
                <c:pt idx="1383">
                  <c:v>48.87096774193548</c:v>
                </c:pt>
                <c:pt idx="1384">
                  <c:v>49.193548387096776</c:v>
                </c:pt>
                <c:pt idx="1385">
                  <c:v>49.41935483870968</c:v>
                </c:pt>
                <c:pt idx="1386">
                  <c:v>49.225806451612904</c:v>
                </c:pt>
                <c:pt idx="1387">
                  <c:v>49.29032258064516</c:v>
                </c:pt>
                <c:pt idx="1388">
                  <c:v>49.161290322580648</c:v>
                </c:pt>
                <c:pt idx="1389">
                  <c:v>49.258064516129032</c:v>
                </c:pt>
                <c:pt idx="1390">
                  <c:v>49.258064516129032</c:v>
                </c:pt>
                <c:pt idx="1391">
                  <c:v>49.451612903225808</c:v>
                </c:pt>
                <c:pt idx="1392">
                  <c:v>49.483870967741936</c:v>
                </c:pt>
                <c:pt idx="1393">
                  <c:v>49.548387096774192</c:v>
                </c:pt>
                <c:pt idx="1394">
                  <c:v>49.645161290322584</c:v>
                </c:pt>
                <c:pt idx="1395">
                  <c:v>49.645161290322584</c:v>
                </c:pt>
                <c:pt idx="1396">
                  <c:v>49.806451612903224</c:v>
                </c:pt>
                <c:pt idx="1397">
                  <c:v>49.903225806451616</c:v>
                </c:pt>
                <c:pt idx="1398">
                  <c:v>49.935483870967744</c:v>
                </c:pt>
                <c:pt idx="1399">
                  <c:v>50.096774193548384</c:v>
                </c:pt>
                <c:pt idx="1400">
                  <c:v>50.354838709677416</c:v>
                </c:pt>
                <c:pt idx="1401">
                  <c:v>50.451612903225808</c:v>
                </c:pt>
                <c:pt idx="1402">
                  <c:v>50.387096774193552</c:v>
                </c:pt>
                <c:pt idx="1403">
                  <c:v>50.41935483870968</c:v>
                </c:pt>
                <c:pt idx="1404">
                  <c:v>50.483870967741936</c:v>
                </c:pt>
                <c:pt idx="1405">
                  <c:v>50.58064516129032</c:v>
                </c:pt>
                <c:pt idx="1406">
                  <c:v>50.741935483870968</c:v>
                </c:pt>
                <c:pt idx="1407">
                  <c:v>50.935483870967744</c:v>
                </c:pt>
                <c:pt idx="1408">
                  <c:v>51.193548387096776</c:v>
                </c:pt>
                <c:pt idx="1409">
                  <c:v>51.41935483870968</c:v>
                </c:pt>
                <c:pt idx="1410">
                  <c:v>51.322580645161288</c:v>
                </c:pt>
                <c:pt idx="1411">
                  <c:v>51.193548387096776</c:v>
                </c:pt>
                <c:pt idx="1412">
                  <c:v>51.193548387096776</c:v>
                </c:pt>
                <c:pt idx="1413">
                  <c:v>51.29032258064516</c:v>
                </c:pt>
                <c:pt idx="1414">
                  <c:v>51.354838709677416</c:v>
                </c:pt>
                <c:pt idx="1415">
                  <c:v>51.12903225806452</c:v>
                </c:pt>
                <c:pt idx="1416">
                  <c:v>50.87096774193548</c:v>
                </c:pt>
                <c:pt idx="1417">
                  <c:v>50.967741935483872</c:v>
                </c:pt>
                <c:pt idx="1418">
                  <c:v>51.12903225806452</c:v>
                </c:pt>
                <c:pt idx="1419">
                  <c:v>51.258064516129032</c:v>
                </c:pt>
                <c:pt idx="1420">
                  <c:v>51.032258064516128</c:v>
                </c:pt>
                <c:pt idx="1421">
                  <c:v>51.032258064516128</c:v>
                </c:pt>
                <c:pt idx="1422">
                  <c:v>51.161290322580648</c:v>
                </c:pt>
                <c:pt idx="1423">
                  <c:v>51.161290322580648</c:v>
                </c:pt>
                <c:pt idx="1424">
                  <c:v>51.032258064516128</c:v>
                </c:pt>
                <c:pt idx="1425">
                  <c:v>50.838709677419352</c:v>
                </c:pt>
                <c:pt idx="1426">
                  <c:v>50.774193548387096</c:v>
                </c:pt>
                <c:pt idx="1427">
                  <c:v>50.774193548387096</c:v>
                </c:pt>
                <c:pt idx="1428">
                  <c:v>50.70967741935484</c:v>
                </c:pt>
                <c:pt idx="1429">
                  <c:v>50.774193548387096</c:v>
                </c:pt>
                <c:pt idx="1430">
                  <c:v>50.677419354838712</c:v>
                </c:pt>
                <c:pt idx="1431">
                  <c:v>50.483870967741936</c:v>
                </c:pt>
                <c:pt idx="1432">
                  <c:v>50.516129032258064</c:v>
                </c:pt>
                <c:pt idx="1433">
                  <c:v>50.387096774193552</c:v>
                </c:pt>
                <c:pt idx="1434">
                  <c:v>50.258064516129032</c:v>
                </c:pt>
                <c:pt idx="1435">
                  <c:v>50.258064516129032</c:v>
                </c:pt>
                <c:pt idx="1436">
                  <c:v>50.354838709677416</c:v>
                </c:pt>
                <c:pt idx="1437">
                  <c:v>50.225806451612904</c:v>
                </c:pt>
                <c:pt idx="1438">
                  <c:v>50.064516129032256</c:v>
                </c:pt>
                <c:pt idx="1439">
                  <c:v>49.967741935483872</c:v>
                </c:pt>
                <c:pt idx="1440">
                  <c:v>49.677419354838712</c:v>
                </c:pt>
                <c:pt idx="1441">
                  <c:v>49.70967741935484</c:v>
                </c:pt>
                <c:pt idx="1442">
                  <c:v>49.70967741935484</c:v>
                </c:pt>
                <c:pt idx="1443">
                  <c:v>49.70967741935484</c:v>
                </c:pt>
                <c:pt idx="1444">
                  <c:v>49.87096774193548</c:v>
                </c:pt>
                <c:pt idx="1445">
                  <c:v>49.967741935483872</c:v>
                </c:pt>
                <c:pt idx="1446">
                  <c:v>50.032258064516128</c:v>
                </c:pt>
                <c:pt idx="1447">
                  <c:v>50.064516129032256</c:v>
                </c:pt>
                <c:pt idx="1448">
                  <c:v>50.193548387096776</c:v>
                </c:pt>
                <c:pt idx="1449">
                  <c:v>50.225806451612904</c:v>
                </c:pt>
                <c:pt idx="1450">
                  <c:v>50.064516129032256</c:v>
                </c:pt>
                <c:pt idx="1451">
                  <c:v>50.322580645161288</c:v>
                </c:pt>
                <c:pt idx="1452">
                  <c:v>50.387096774193552</c:v>
                </c:pt>
                <c:pt idx="1453">
                  <c:v>50.161290322580648</c:v>
                </c:pt>
                <c:pt idx="1454">
                  <c:v>50.096774193548384</c:v>
                </c:pt>
                <c:pt idx="1455">
                  <c:v>50.161290322580648</c:v>
                </c:pt>
                <c:pt idx="1456">
                  <c:v>50.29032258064516</c:v>
                </c:pt>
                <c:pt idx="1457">
                  <c:v>50.451612903225808</c:v>
                </c:pt>
                <c:pt idx="1458">
                  <c:v>50.322580645161288</c:v>
                </c:pt>
                <c:pt idx="1459">
                  <c:v>50.161290322580648</c:v>
                </c:pt>
                <c:pt idx="1460">
                  <c:v>49.903225806451616</c:v>
                </c:pt>
                <c:pt idx="1461">
                  <c:v>50.032258064516128</c:v>
                </c:pt>
                <c:pt idx="1462">
                  <c:v>50.12903225806452</c:v>
                </c:pt>
                <c:pt idx="1463">
                  <c:v>49.838709677419352</c:v>
                </c:pt>
                <c:pt idx="1464">
                  <c:v>50</c:v>
                </c:pt>
                <c:pt idx="1465">
                  <c:v>49.87096774193548</c:v>
                </c:pt>
                <c:pt idx="1466">
                  <c:v>49.645161290322584</c:v>
                </c:pt>
                <c:pt idx="1467">
                  <c:v>49.612903225806448</c:v>
                </c:pt>
                <c:pt idx="1468">
                  <c:v>49.645161290322584</c:v>
                </c:pt>
                <c:pt idx="1469">
                  <c:v>49.838709677419352</c:v>
                </c:pt>
                <c:pt idx="1470">
                  <c:v>49.903225806451616</c:v>
                </c:pt>
                <c:pt idx="1471">
                  <c:v>50.225806451612904</c:v>
                </c:pt>
                <c:pt idx="1472">
                  <c:v>50.41935483870968</c:v>
                </c:pt>
                <c:pt idx="1473">
                  <c:v>50.645161290322584</c:v>
                </c:pt>
                <c:pt idx="1474">
                  <c:v>50.806451612903224</c:v>
                </c:pt>
                <c:pt idx="1475">
                  <c:v>50.838709677419352</c:v>
                </c:pt>
                <c:pt idx="1476">
                  <c:v>50.903225806451616</c:v>
                </c:pt>
                <c:pt idx="1477">
                  <c:v>51.032258064516128</c:v>
                </c:pt>
                <c:pt idx="1478">
                  <c:v>51.258064516129032</c:v>
                </c:pt>
                <c:pt idx="1479">
                  <c:v>51.322580645161288</c:v>
                </c:pt>
                <c:pt idx="1480">
                  <c:v>51.225806451612904</c:v>
                </c:pt>
                <c:pt idx="1481">
                  <c:v>51.258064516129032</c:v>
                </c:pt>
                <c:pt idx="1482">
                  <c:v>51.258064516129032</c:v>
                </c:pt>
                <c:pt idx="1483">
                  <c:v>51.193548387096776</c:v>
                </c:pt>
                <c:pt idx="1484">
                  <c:v>51.322580645161288</c:v>
                </c:pt>
                <c:pt idx="1485">
                  <c:v>51.451612903225808</c:v>
                </c:pt>
                <c:pt idx="1486">
                  <c:v>51.58064516129032</c:v>
                </c:pt>
                <c:pt idx="1487">
                  <c:v>51.516129032258064</c:v>
                </c:pt>
                <c:pt idx="1488">
                  <c:v>51.258064516129032</c:v>
                </c:pt>
                <c:pt idx="1489">
                  <c:v>51.387096774193552</c:v>
                </c:pt>
                <c:pt idx="1490">
                  <c:v>51.516129032258064</c:v>
                </c:pt>
                <c:pt idx="1491">
                  <c:v>51.806451612903224</c:v>
                </c:pt>
                <c:pt idx="1492">
                  <c:v>51.741935483870968</c:v>
                </c:pt>
                <c:pt idx="1493">
                  <c:v>51.903225806451616</c:v>
                </c:pt>
                <c:pt idx="1494">
                  <c:v>52.032258064516128</c:v>
                </c:pt>
                <c:pt idx="1495">
                  <c:v>51.806451612903224</c:v>
                </c:pt>
                <c:pt idx="1496">
                  <c:v>51.903225806451616</c:v>
                </c:pt>
                <c:pt idx="1497">
                  <c:v>51.87096774193548</c:v>
                </c:pt>
                <c:pt idx="1498">
                  <c:v>51.806451612903224</c:v>
                </c:pt>
                <c:pt idx="1499">
                  <c:v>51.741935483870968</c:v>
                </c:pt>
                <c:pt idx="1500">
                  <c:v>51.741935483870968</c:v>
                </c:pt>
                <c:pt idx="1501">
                  <c:v>51.774193548387096</c:v>
                </c:pt>
                <c:pt idx="1502">
                  <c:v>51.516129032258064</c:v>
                </c:pt>
                <c:pt idx="1503">
                  <c:v>51.29032258064516</c:v>
                </c:pt>
                <c:pt idx="1504">
                  <c:v>51.258064516129032</c:v>
                </c:pt>
                <c:pt idx="1505">
                  <c:v>51.096774193548384</c:v>
                </c:pt>
                <c:pt idx="1506">
                  <c:v>51.096774193548384</c:v>
                </c:pt>
                <c:pt idx="1507">
                  <c:v>50.935483870967744</c:v>
                </c:pt>
                <c:pt idx="1508">
                  <c:v>50.645161290322584</c:v>
                </c:pt>
                <c:pt idx="1509">
                  <c:v>50.354838709677416</c:v>
                </c:pt>
                <c:pt idx="1510">
                  <c:v>50.193548387096776</c:v>
                </c:pt>
                <c:pt idx="1511">
                  <c:v>50</c:v>
                </c:pt>
                <c:pt idx="1512">
                  <c:v>49.967741935483872</c:v>
                </c:pt>
                <c:pt idx="1513">
                  <c:v>49.774193548387096</c:v>
                </c:pt>
                <c:pt idx="1514">
                  <c:v>49.838709677419352</c:v>
                </c:pt>
                <c:pt idx="1515">
                  <c:v>49.774193548387096</c:v>
                </c:pt>
                <c:pt idx="1516">
                  <c:v>49.612903225806448</c:v>
                </c:pt>
                <c:pt idx="1517">
                  <c:v>49.612903225806448</c:v>
                </c:pt>
                <c:pt idx="1518">
                  <c:v>49.612903225806448</c:v>
                </c:pt>
                <c:pt idx="1519">
                  <c:v>49.806451612903224</c:v>
                </c:pt>
                <c:pt idx="1520">
                  <c:v>49.548387096774192</c:v>
                </c:pt>
                <c:pt idx="1521">
                  <c:v>49.516129032258064</c:v>
                </c:pt>
                <c:pt idx="1522">
                  <c:v>49.41935483870968</c:v>
                </c:pt>
                <c:pt idx="1523">
                  <c:v>49.483870967741936</c:v>
                </c:pt>
                <c:pt idx="1524">
                  <c:v>49.29032258064516</c:v>
                </c:pt>
                <c:pt idx="1525">
                  <c:v>49.41935483870968</c:v>
                </c:pt>
                <c:pt idx="1526">
                  <c:v>49.41935483870968</c:v>
                </c:pt>
                <c:pt idx="1527">
                  <c:v>49.483870967741936</c:v>
                </c:pt>
                <c:pt idx="1528">
                  <c:v>49.451612903225808</c:v>
                </c:pt>
                <c:pt idx="1529">
                  <c:v>49.354838709677416</c:v>
                </c:pt>
                <c:pt idx="1530">
                  <c:v>49.516129032258064</c:v>
                </c:pt>
                <c:pt idx="1531">
                  <c:v>49.483870967741936</c:v>
                </c:pt>
                <c:pt idx="1532">
                  <c:v>49.451612903225808</c:v>
                </c:pt>
                <c:pt idx="1533">
                  <c:v>49.516129032258064</c:v>
                </c:pt>
                <c:pt idx="1534">
                  <c:v>49.774193548387096</c:v>
                </c:pt>
                <c:pt idx="1535">
                  <c:v>49.58064516129032</c:v>
                </c:pt>
                <c:pt idx="1536">
                  <c:v>49.677419354838712</c:v>
                </c:pt>
                <c:pt idx="1537">
                  <c:v>49.677419354838712</c:v>
                </c:pt>
                <c:pt idx="1538">
                  <c:v>49.806451612903224</c:v>
                </c:pt>
                <c:pt idx="1539">
                  <c:v>49.967741935483872</c:v>
                </c:pt>
                <c:pt idx="1540">
                  <c:v>50.064516129032256</c:v>
                </c:pt>
                <c:pt idx="1541">
                  <c:v>49.935483870967744</c:v>
                </c:pt>
                <c:pt idx="1542">
                  <c:v>50.225806451612904</c:v>
                </c:pt>
                <c:pt idx="1543">
                  <c:v>50.225806451612904</c:v>
                </c:pt>
                <c:pt idx="1544">
                  <c:v>50.41935483870968</c:v>
                </c:pt>
                <c:pt idx="1545">
                  <c:v>50.451612903225808</c:v>
                </c:pt>
                <c:pt idx="1546">
                  <c:v>50.483870967741936</c:v>
                </c:pt>
                <c:pt idx="1547">
                  <c:v>50.645161290322584</c:v>
                </c:pt>
                <c:pt idx="1548">
                  <c:v>50.70967741935484</c:v>
                </c:pt>
                <c:pt idx="1549">
                  <c:v>50.677419354838712</c:v>
                </c:pt>
                <c:pt idx="1550">
                  <c:v>50.516129032258064</c:v>
                </c:pt>
                <c:pt idx="1551">
                  <c:v>50.741935483870968</c:v>
                </c:pt>
                <c:pt idx="1552">
                  <c:v>50.87096774193548</c:v>
                </c:pt>
                <c:pt idx="1553">
                  <c:v>50.935483870967744</c:v>
                </c:pt>
                <c:pt idx="1554">
                  <c:v>50.677419354838712</c:v>
                </c:pt>
                <c:pt idx="1555">
                  <c:v>50.87096774193548</c:v>
                </c:pt>
                <c:pt idx="1556">
                  <c:v>50.838709677419352</c:v>
                </c:pt>
                <c:pt idx="1557">
                  <c:v>50.967741935483872</c:v>
                </c:pt>
                <c:pt idx="1558">
                  <c:v>50.87096774193548</c:v>
                </c:pt>
                <c:pt idx="1559">
                  <c:v>51.12903225806452</c:v>
                </c:pt>
                <c:pt idx="1560">
                  <c:v>51.29032258064516</c:v>
                </c:pt>
                <c:pt idx="1561">
                  <c:v>51.193548387096776</c:v>
                </c:pt>
                <c:pt idx="1562">
                  <c:v>51.225806451612904</c:v>
                </c:pt>
                <c:pt idx="1563">
                  <c:v>51.032258064516128</c:v>
                </c:pt>
                <c:pt idx="1564">
                  <c:v>51.161290322580648</c:v>
                </c:pt>
                <c:pt idx="1565">
                  <c:v>50.935483870967744</c:v>
                </c:pt>
                <c:pt idx="1566">
                  <c:v>51.193548387096776</c:v>
                </c:pt>
                <c:pt idx="1567">
                  <c:v>51.096774193548384</c:v>
                </c:pt>
                <c:pt idx="1568">
                  <c:v>51.096774193548384</c:v>
                </c:pt>
                <c:pt idx="1569">
                  <c:v>51.032258064516128</c:v>
                </c:pt>
                <c:pt idx="1570">
                  <c:v>50.935483870967744</c:v>
                </c:pt>
                <c:pt idx="1571">
                  <c:v>51.032258064516128</c:v>
                </c:pt>
                <c:pt idx="1572">
                  <c:v>51.032258064516128</c:v>
                </c:pt>
                <c:pt idx="1573">
                  <c:v>50.903225806451616</c:v>
                </c:pt>
                <c:pt idx="1574">
                  <c:v>51.064516129032256</c:v>
                </c:pt>
                <c:pt idx="1575">
                  <c:v>51</c:v>
                </c:pt>
                <c:pt idx="1576">
                  <c:v>50.87096774193548</c:v>
                </c:pt>
                <c:pt idx="1577">
                  <c:v>50.70967741935484</c:v>
                </c:pt>
                <c:pt idx="1578">
                  <c:v>50.677419354838712</c:v>
                </c:pt>
                <c:pt idx="1579">
                  <c:v>50.612903225806448</c:v>
                </c:pt>
                <c:pt idx="1580">
                  <c:v>50.87096774193548</c:v>
                </c:pt>
                <c:pt idx="1581">
                  <c:v>50.838709677419352</c:v>
                </c:pt>
                <c:pt idx="1582">
                  <c:v>50.838709677419352</c:v>
                </c:pt>
                <c:pt idx="1583">
                  <c:v>50.612903225806448</c:v>
                </c:pt>
                <c:pt idx="1584">
                  <c:v>50.451612903225808</c:v>
                </c:pt>
                <c:pt idx="1585">
                  <c:v>50.58064516129032</c:v>
                </c:pt>
                <c:pt idx="1586">
                  <c:v>50.58064516129032</c:v>
                </c:pt>
                <c:pt idx="1587">
                  <c:v>50.41935483870968</c:v>
                </c:pt>
                <c:pt idx="1588">
                  <c:v>50.387096774193552</c:v>
                </c:pt>
                <c:pt idx="1589">
                  <c:v>50.612903225806448</c:v>
                </c:pt>
                <c:pt idx="1590">
                  <c:v>50.41935483870968</c:v>
                </c:pt>
                <c:pt idx="1591">
                  <c:v>50.451612903225808</c:v>
                </c:pt>
                <c:pt idx="1592">
                  <c:v>50.516129032258064</c:v>
                </c:pt>
                <c:pt idx="1593">
                  <c:v>50.29032258064516</c:v>
                </c:pt>
                <c:pt idx="1594">
                  <c:v>50.483870967741936</c:v>
                </c:pt>
                <c:pt idx="1595">
                  <c:v>50.483870967741936</c:v>
                </c:pt>
                <c:pt idx="1596">
                  <c:v>50.741935483870968</c:v>
                </c:pt>
                <c:pt idx="1597">
                  <c:v>50.58064516129032</c:v>
                </c:pt>
                <c:pt idx="1598">
                  <c:v>50.58064516129032</c:v>
                </c:pt>
                <c:pt idx="1599">
                  <c:v>50.548387096774192</c:v>
                </c:pt>
                <c:pt idx="1600">
                  <c:v>50.516129032258064</c:v>
                </c:pt>
                <c:pt idx="1601">
                  <c:v>50.70967741935484</c:v>
                </c:pt>
                <c:pt idx="1602">
                  <c:v>50.516129032258064</c:v>
                </c:pt>
                <c:pt idx="1603">
                  <c:v>50.806451612903224</c:v>
                </c:pt>
                <c:pt idx="1604">
                  <c:v>50.903225806451616</c:v>
                </c:pt>
                <c:pt idx="1605">
                  <c:v>50.935483870967744</c:v>
                </c:pt>
                <c:pt idx="1606">
                  <c:v>50.806451612903224</c:v>
                </c:pt>
                <c:pt idx="1607">
                  <c:v>51</c:v>
                </c:pt>
                <c:pt idx="1608">
                  <c:v>50.967741935483872</c:v>
                </c:pt>
                <c:pt idx="1609">
                  <c:v>50.903225806451616</c:v>
                </c:pt>
                <c:pt idx="1610">
                  <c:v>50.774193548387096</c:v>
                </c:pt>
                <c:pt idx="1611">
                  <c:v>50.548387096774192</c:v>
                </c:pt>
                <c:pt idx="1612">
                  <c:v>50.774193548387096</c:v>
                </c:pt>
                <c:pt idx="1613">
                  <c:v>50.58064516129032</c:v>
                </c:pt>
                <c:pt idx="1614">
                  <c:v>50.612903225806448</c:v>
                </c:pt>
                <c:pt idx="1615">
                  <c:v>50.677419354838712</c:v>
                </c:pt>
                <c:pt idx="1616">
                  <c:v>50.838709677419352</c:v>
                </c:pt>
                <c:pt idx="1617">
                  <c:v>50.806451612903224</c:v>
                </c:pt>
                <c:pt idx="1618">
                  <c:v>51.032258064516128</c:v>
                </c:pt>
                <c:pt idx="1619">
                  <c:v>51.096774193548384</c:v>
                </c:pt>
                <c:pt idx="1620">
                  <c:v>50.87096774193548</c:v>
                </c:pt>
                <c:pt idx="1621">
                  <c:v>51.096774193548384</c:v>
                </c:pt>
                <c:pt idx="1622">
                  <c:v>51.032258064516128</c:v>
                </c:pt>
                <c:pt idx="1623">
                  <c:v>50.741935483870968</c:v>
                </c:pt>
                <c:pt idx="1624">
                  <c:v>50.677419354838712</c:v>
                </c:pt>
                <c:pt idx="1625">
                  <c:v>50.645161290322584</c:v>
                </c:pt>
                <c:pt idx="1626">
                  <c:v>50.677419354838712</c:v>
                </c:pt>
                <c:pt idx="1627">
                  <c:v>50.516129032258064</c:v>
                </c:pt>
                <c:pt idx="1628">
                  <c:v>50.548387096774192</c:v>
                </c:pt>
                <c:pt idx="1629">
                  <c:v>50.451612903225808</c:v>
                </c:pt>
                <c:pt idx="1630">
                  <c:v>50.41935483870968</c:v>
                </c:pt>
                <c:pt idx="1631">
                  <c:v>50.548387096774192</c:v>
                </c:pt>
                <c:pt idx="1632">
                  <c:v>50.58064516129032</c:v>
                </c:pt>
                <c:pt idx="1633">
                  <c:v>50.677419354838712</c:v>
                </c:pt>
                <c:pt idx="1634">
                  <c:v>50.387096774193552</c:v>
                </c:pt>
                <c:pt idx="1635">
                  <c:v>50.225806451612904</c:v>
                </c:pt>
                <c:pt idx="1636">
                  <c:v>50.354838709677416</c:v>
                </c:pt>
                <c:pt idx="1637">
                  <c:v>50.483870967741936</c:v>
                </c:pt>
                <c:pt idx="1638">
                  <c:v>50.29032258064516</c:v>
                </c:pt>
                <c:pt idx="1639">
                  <c:v>50.41935483870968</c:v>
                </c:pt>
                <c:pt idx="1640">
                  <c:v>50.29032258064516</c:v>
                </c:pt>
                <c:pt idx="1641">
                  <c:v>50.29032258064516</c:v>
                </c:pt>
                <c:pt idx="1642">
                  <c:v>50.354838709677416</c:v>
                </c:pt>
                <c:pt idx="1643">
                  <c:v>50.451612903225808</c:v>
                </c:pt>
                <c:pt idx="1644">
                  <c:v>50.548387096774192</c:v>
                </c:pt>
                <c:pt idx="1645">
                  <c:v>50.645161290322584</c:v>
                </c:pt>
                <c:pt idx="1646">
                  <c:v>50.483870967741936</c:v>
                </c:pt>
                <c:pt idx="1647">
                  <c:v>50.41935483870968</c:v>
                </c:pt>
                <c:pt idx="1648">
                  <c:v>50.41935483870968</c:v>
                </c:pt>
                <c:pt idx="1649">
                  <c:v>50.451612903225808</c:v>
                </c:pt>
                <c:pt idx="1650">
                  <c:v>50.387096774193552</c:v>
                </c:pt>
                <c:pt idx="1651">
                  <c:v>50.58064516129032</c:v>
                </c:pt>
                <c:pt idx="1652">
                  <c:v>50.548387096774192</c:v>
                </c:pt>
                <c:pt idx="1653">
                  <c:v>50.677419354838712</c:v>
                </c:pt>
                <c:pt idx="1654">
                  <c:v>50.806451612903224</c:v>
                </c:pt>
                <c:pt idx="1655">
                  <c:v>50.838709677419352</c:v>
                </c:pt>
                <c:pt idx="1656">
                  <c:v>50.677419354838712</c:v>
                </c:pt>
                <c:pt idx="1657">
                  <c:v>50.451612903225808</c:v>
                </c:pt>
                <c:pt idx="1658">
                  <c:v>50.645161290322584</c:v>
                </c:pt>
                <c:pt idx="1659">
                  <c:v>50.645161290322584</c:v>
                </c:pt>
                <c:pt idx="1660">
                  <c:v>50.87096774193548</c:v>
                </c:pt>
                <c:pt idx="1661">
                  <c:v>50.838709677419352</c:v>
                </c:pt>
                <c:pt idx="1662">
                  <c:v>50.70967741935484</c:v>
                </c:pt>
                <c:pt idx="1663">
                  <c:v>50.41935483870968</c:v>
                </c:pt>
                <c:pt idx="1664">
                  <c:v>50.516129032258064</c:v>
                </c:pt>
                <c:pt idx="1665">
                  <c:v>50.58064516129032</c:v>
                </c:pt>
                <c:pt idx="1666">
                  <c:v>50.677419354838712</c:v>
                </c:pt>
                <c:pt idx="1667">
                  <c:v>50.387096774193552</c:v>
                </c:pt>
                <c:pt idx="1668">
                  <c:v>50.483870967741936</c:v>
                </c:pt>
                <c:pt idx="1669">
                  <c:v>50.451612903225808</c:v>
                </c:pt>
                <c:pt idx="1670">
                  <c:v>50.645161290322584</c:v>
                </c:pt>
                <c:pt idx="1671">
                  <c:v>50.774193548387096</c:v>
                </c:pt>
                <c:pt idx="1672">
                  <c:v>50.87096774193548</c:v>
                </c:pt>
                <c:pt idx="1673">
                  <c:v>50.806451612903224</c:v>
                </c:pt>
                <c:pt idx="1674">
                  <c:v>50.806451612903224</c:v>
                </c:pt>
                <c:pt idx="1675">
                  <c:v>50.935483870967744</c:v>
                </c:pt>
                <c:pt idx="1676">
                  <c:v>50.741935483870968</c:v>
                </c:pt>
                <c:pt idx="1677">
                  <c:v>50.838709677419352</c:v>
                </c:pt>
                <c:pt idx="1678">
                  <c:v>50.87096774193548</c:v>
                </c:pt>
                <c:pt idx="1679">
                  <c:v>50.58064516129032</c:v>
                </c:pt>
                <c:pt idx="1680">
                  <c:v>50.322580645161288</c:v>
                </c:pt>
                <c:pt idx="1681">
                  <c:v>50.354838709677416</c:v>
                </c:pt>
                <c:pt idx="1682">
                  <c:v>50.225806451612904</c:v>
                </c:pt>
                <c:pt idx="1683">
                  <c:v>50.096774193548384</c:v>
                </c:pt>
                <c:pt idx="1684">
                  <c:v>50.064516129032256</c:v>
                </c:pt>
                <c:pt idx="1685">
                  <c:v>50.258064516129032</c:v>
                </c:pt>
                <c:pt idx="1686">
                  <c:v>50.41935483870968</c:v>
                </c:pt>
                <c:pt idx="1687">
                  <c:v>50.58064516129032</c:v>
                </c:pt>
                <c:pt idx="1688">
                  <c:v>50.645161290322584</c:v>
                </c:pt>
                <c:pt idx="1689">
                  <c:v>50.612903225806448</c:v>
                </c:pt>
                <c:pt idx="1690">
                  <c:v>50.612903225806448</c:v>
                </c:pt>
                <c:pt idx="1691">
                  <c:v>50.548387096774192</c:v>
                </c:pt>
                <c:pt idx="1692">
                  <c:v>50.612903225806448</c:v>
                </c:pt>
                <c:pt idx="1693">
                  <c:v>50.645161290322584</c:v>
                </c:pt>
                <c:pt idx="1694">
                  <c:v>50.903225806451616</c:v>
                </c:pt>
                <c:pt idx="1695">
                  <c:v>50.677419354838712</c:v>
                </c:pt>
                <c:pt idx="1696">
                  <c:v>50.935483870967744</c:v>
                </c:pt>
                <c:pt idx="1697">
                  <c:v>50.935483870967744</c:v>
                </c:pt>
                <c:pt idx="1698">
                  <c:v>51.032258064516128</c:v>
                </c:pt>
                <c:pt idx="1699">
                  <c:v>50.967741935483872</c:v>
                </c:pt>
                <c:pt idx="1700">
                  <c:v>51.161290322580648</c:v>
                </c:pt>
                <c:pt idx="1701">
                  <c:v>51.161290322580648</c:v>
                </c:pt>
                <c:pt idx="1702">
                  <c:v>51.258064516129032</c:v>
                </c:pt>
                <c:pt idx="1703">
                  <c:v>51.41935483870968</c:v>
                </c:pt>
                <c:pt idx="1704">
                  <c:v>51.58064516129032</c:v>
                </c:pt>
                <c:pt idx="1705">
                  <c:v>51.58064516129032</c:v>
                </c:pt>
                <c:pt idx="1706">
                  <c:v>51.548387096774192</c:v>
                </c:pt>
                <c:pt idx="1707">
                  <c:v>51.87096774193548</c:v>
                </c:pt>
                <c:pt idx="1708">
                  <c:v>52.032258064516128</c:v>
                </c:pt>
                <c:pt idx="1709">
                  <c:v>52</c:v>
                </c:pt>
                <c:pt idx="1710">
                  <c:v>52.29032258064516</c:v>
                </c:pt>
                <c:pt idx="1711">
                  <c:v>52.451612903225808</c:v>
                </c:pt>
                <c:pt idx="1712">
                  <c:v>52.645161290322584</c:v>
                </c:pt>
                <c:pt idx="1713">
                  <c:v>52.70967741935484</c:v>
                </c:pt>
                <c:pt idx="1714">
                  <c:v>52.774193548387096</c:v>
                </c:pt>
                <c:pt idx="1715">
                  <c:v>52.741935483870968</c:v>
                </c:pt>
                <c:pt idx="1716">
                  <c:v>52.645161290322584</c:v>
                </c:pt>
                <c:pt idx="1717">
                  <c:v>52.645161290322584</c:v>
                </c:pt>
                <c:pt idx="1718">
                  <c:v>52.741935483870968</c:v>
                </c:pt>
                <c:pt idx="1719">
                  <c:v>52.838709677419352</c:v>
                </c:pt>
                <c:pt idx="1720">
                  <c:v>52.806451612903224</c:v>
                </c:pt>
                <c:pt idx="1721">
                  <c:v>52.903225806451616</c:v>
                </c:pt>
                <c:pt idx="1722">
                  <c:v>52.967741935483872</c:v>
                </c:pt>
                <c:pt idx="1723">
                  <c:v>53</c:v>
                </c:pt>
                <c:pt idx="1724">
                  <c:v>53.064516129032256</c:v>
                </c:pt>
                <c:pt idx="1725">
                  <c:v>53.12903225806452</c:v>
                </c:pt>
                <c:pt idx="1726">
                  <c:v>53.451612903225808</c:v>
                </c:pt>
                <c:pt idx="1727">
                  <c:v>53.387096774193552</c:v>
                </c:pt>
                <c:pt idx="1728">
                  <c:v>53.451612903225808</c:v>
                </c:pt>
                <c:pt idx="1729">
                  <c:v>53.58064516129032</c:v>
                </c:pt>
                <c:pt idx="1730">
                  <c:v>53.58064516129032</c:v>
                </c:pt>
                <c:pt idx="1731">
                  <c:v>53.548387096774192</c:v>
                </c:pt>
                <c:pt idx="1732">
                  <c:v>53.483870967741936</c:v>
                </c:pt>
                <c:pt idx="1733">
                  <c:v>53.41935483870968</c:v>
                </c:pt>
                <c:pt idx="1734">
                  <c:v>53.354838709677416</c:v>
                </c:pt>
                <c:pt idx="1735">
                  <c:v>53.387096774193552</c:v>
                </c:pt>
                <c:pt idx="1736">
                  <c:v>53.29032258064516</c:v>
                </c:pt>
                <c:pt idx="1737">
                  <c:v>53.322580645161288</c:v>
                </c:pt>
                <c:pt idx="1738">
                  <c:v>53.322580645161288</c:v>
                </c:pt>
                <c:pt idx="1739">
                  <c:v>53.258064516129032</c:v>
                </c:pt>
                <c:pt idx="1740">
                  <c:v>53.29032258064516</c:v>
                </c:pt>
                <c:pt idx="1741">
                  <c:v>53.225806451612904</c:v>
                </c:pt>
                <c:pt idx="1742">
                  <c:v>53.258064516129032</c:v>
                </c:pt>
                <c:pt idx="1743">
                  <c:v>52.967741935483872</c:v>
                </c:pt>
                <c:pt idx="1744">
                  <c:v>52.806451612903224</c:v>
                </c:pt>
                <c:pt idx="1745">
                  <c:v>52.645161290322584</c:v>
                </c:pt>
                <c:pt idx="1746">
                  <c:v>52.516129032258064</c:v>
                </c:pt>
                <c:pt idx="1747">
                  <c:v>52.322580645161288</c:v>
                </c:pt>
                <c:pt idx="1748">
                  <c:v>52.161290322580648</c:v>
                </c:pt>
                <c:pt idx="1749">
                  <c:v>51.87096774193548</c:v>
                </c:pt>
                <c:pt idx="1750">
                  <c:v>51.677419354838712</c:v>
                </c:pt>
                <c:pt idx="1751">
                  <c:v>51.70967741935484</c:v>
                </c:pt>
                <c:pt idx="1752">
                  <c:v>51.483870967741936</c:v>
                </c:pt>
                <c:pt idx="1753">
                  <c:v>51.451612903225808</c:v>
                </c:pt>
                <c:pt idx="1754">
                  <c:v>51.322580645161288</c:v>
                </c:pt>
                <c:pt idx="1755">
                  <c:v>51.225806451612904</c:v>
                </c:pt>
                <c:pt idx="1756">
                  <c:v>50.967741935483872</c:v>
                </c:pt>
                <c:pt idx="1757">
                  <c:v>50.645161290322584</c:v>
                </c:pt>
                <c:pt idx="1758">
                  <c:v>50.70967741935484</c:v>
                </c:pt>
                <c:pt idx="1759">
                  <c:v>50.548387096774192</c:v>
                </c:pt>
                <c:pt idx="1760">
                  <c:v>50.354838709677416</c:v>
                </c:pt>
                <c:pt idx="1761">
                  <c:v>50.29032258064516</c:v>
                </c:pt>
                <c:pt idx="1762">
                  <c:v>50.29032258064516</c:v>
                </c:pt>
                <c:pt idx="1763">
                  <c:v>50.161290322580648</c:v>
                </c:pt>
                <c:pt idx="1764">
                  <c:v>50.161290322580648</c:v>
                </c:pt>
                <c:pt idx="1765">
                  <c:v>49.967741935483872</c:v>
                </c:pt>
                <c:pt idx="1766">
                  <c:v>49.967741935483872</c:v>
                </c:pt>
                <c:pt idx="1767">
                  <c:v>49.806451612903224</c:v>
                </c:pt>
                <c:pt idx="1768">
                  <c:v>49.87096774193548</c:v>
                </c:pt>
                <c:pt idx="1769">
                  <c:v>49.58064516129032</c:v>
                </c:pt>
                <c:pt idx="1770">
                  <c:v>49.677419354838712</c:v>
                </c:pt>
                <c:pt idx="1771">
                  <c:v>49.612903225806448</c:v>
                </c:pt>
                <c:pt idx="1772">
                  <c:v>49.516129032258064</c:v>
                </c:pt>
                <c:pt idx="1773">
                  <c:v>49.29032258064516</c:v>
                </c:pt>
                <c:pt idx="1774">
                  <c:v>49.322580645161288</c:v>
                </c:pt>
                <c:pt idx="1775">
                  <c:v>49.387096774193552</c:v>
                </c:pt>
                <c:pt idx="1776">
                  <c:v>49.58064516129032</c:v>
                </c:pt>
                <c:pt idx="1777">
                  <c:v>49.548387096774192</c:v>
                </c:pt>
                <c:pt idx="1778">
                  <c:v>49.838709677419352</c:v>
                </c:pt>
                <c:pt idx="1779">
                  <c:v>49.967741935483872</c:v>
                </c:pt>
                <c:pt idx="1780">
                  <c:v>50.225806451612904</c:v>
                </c:pt>
                <c:pt idx="1781">
                  <c:v>50.451612903225808</c:v>
                </c:pt>
                <c:pt idx="1782">
                  <c:v>50.193548387096776</c:v>
                </c:pt>
                <c:pt idx="1783">
                  <c:v>50.451612903225808</c:v>
                </c:pt>
                <c:pt idx="1784">
                  <c:v>50.193548387096776</c:v>
                </c:pt>
                <c:pt idx="1785">
                  <c:v>50.096774193548384</c:v>
                </c:pt>
                <c:pt idx="1786">
                  <c:v>50</c:v>
                </c:pt>
                <c:pt idx="1787">
                  <c:v>50.193548387096776</c:v>
                </c:pt>
                <c:pt idx="1788">
                  <c:v>50.354838709677416</c:v>
                </c:pt>
                <c:pt idx="1789">
                  <c:v>50.12903225806452</c:v>
                </c:pt>
                <c:pt idx="1790">
                  <c:v>50.064516129032256</c:v>
                </c:pt>
                <c:pt idx="1791">
                  <c:v>50.322580645161288</c:v>
                </c:pt>
                <c:pt idx="1792">
                  <c:v>50.161290322580648</c:v>
                </c:pt>
                <c:pt idx="1793">
                  <c:v>50.161290322580648</c:v>
                </c:pt>
                <c:pt idx="1794">
                  <c:v>50.032258064516128</c:v>
                </c:pt>
                <c:pt idx="1795">
                  <c:v>50.096774193548384</c:v>
                </c:pt>
                <c:pt idx="1796">
                  <c:v>50.193548387096776</c:v>
                </c:pt>
                <c:pt idx="1797">
                  <c:v>50.161290322580648</c:v>
                </c:pt>
                <c:pt idx="1798">
                  <c:v>50.29032258064516</c:v>
                </c:pt>
                <c:pt idx="1799">
                  <c:v>50.032258064516128</c:v>
                </c:pt>
                <c:pt idx="1800">
                  <c:v>50.322580645161288</c:v>
                </c:pt>
                <c:pt idx="1801">
                  <c:v>50.322580645161288</c:v>
                </c:pt>
                <c:pt idx="1802">
                  <c:v>50.096774193548384</c:v>
                </c:pt>
                <c:pt idx="1803">
                  <c:v>50.064516129032256</c:v>
                </c:pt>
                <c:pt idx="1804">
                  <c:v>50.12903225806452</c:v>
                </c:pt>
                <c:pt idx="1805">
                  <c:v>50.322580645161288</c:v>
                </c:pt>
                <c:pt idx="1806">
                  <c:v>50.516129032258064</c:v>
                </c:pt>
                <c:pt idx="1807">
                  <c:v>50.41935483870968</c:v>
                </c:pt>
                <c:pt idx="1808">
                  <c:v>50.645161290322584</c:v>
                </c:pt>
                <c:pt idx="1809">
                  <c:v>50.612903225806448</c:v>
                </c:pt>
                <c:pt idx="1810">
                  <c:v>50.516129032258064</c:v>
                </c:pt>
                <c:pt idx="1811">
                  <c:v>50.225806451612904</c:v>
                </c:pt>
                <c:pt idx="1812">
                  <c:v>50.096774193548384</c:v>
                </c:pt>
                <c:pt idx="1813">
                  <c:v>50.193548387096776</c:v>
                </c:pt>
                <c:pt idx="1814">
                  <c:v>50.193548387096776</c:v>
                </c:pt>
                <c:pt idx="1815">
                  <c:v>50.322580645161288</c:v>
                </c:pt>
                <c:pt idx="1816">
                  <c:v>50.322580645161288</c:v>
                </c:pt>
                <c:pt idx="1817">
                  <c:v>50.258064516129032</c:v>
                </c:pt>
                <c:pt idx="1818">
                  <c:v>50</c:v>
                </c:pt>
                <c:pt idx="1819">
                  <c:v>49.838709677419352</c:v>
                </c:pt>
                <c:pt idx="1820">
                  <c:v>49.903225806451616</c:v>
                </c:pt>
                <c:pt idx="1821">
                  <c:v>49.87096774193548</c:v>
                </c:pt>
                <c:pt idx="1822">
                  <c:v>49.806451612903224</c:v>
                </c:pt>
                <c:pt idx="1823">
                  <c:v>49.967741935483872</c:v>
                </c:pt>
                <c:pt idx="1824">
                  <c:v>49.774193548387096</c:v>
                </c:pt>
                <c:pt idx="1825">
                  <c:v>49.806451612903224</c:v>
                </c:pt>
                <c:pt idx="1826">
                  <c:v>49.645161290322584</c:v>
                </c:pt>
                <c:pt idx="1827">
                  <c:v>49.70967741935484</c:v>
                </c:pt>
                <c:pt idx="1828">
                  <c:v>49.548387096774192</c:v>
                </c:pt>
                <c:pt idx="1829">
                  <c:v>49.677419354838712</c:v>
                </c:pt>
                <c:pt idx="1830">
                  <c:v>49.806451612903224</c:v>
                </c:pt>
                <c:pt idx="1831">
                  <c:v>49.806451612903224</c:v>
                </c:pt>
                <c:pt idx="1832">
                  <c:v>49.516129032258064</c:v>
                </c:pt>
                <c:pt idx="1833">
                  <c:v>49.774193548387096</c:v>
                </c:pt>
                <c:pt idx="1834">
                  <c:v>49.903225806451616</c:v>
                </c:pt>
                <c:pt idx="1835">
                  <c:v>49.935483870967744</c:v>
                </c:pt>
                <c:pt idx="1836">
                  <c:v>49.774193548387096</c:v>
                </c:pt>
                <c:pt idx="1837">
                  <c:v>49.483870967741936</c:v>
                </c:pt>
                <c:pt idx="1838">
                  <c:v>49.451612903225808</c:v>
                </c:pt>
                <c:pt idx="1839">
                  <c:v>49.193548387096776</c:v>
                </c:pt>
                <c:pt idx="1840">
                  <c:v>49.032258064516128</c:v>
                </c:pt>
                <c:pt idx="1841">
                  <c:v>49.193548387096776</c:v>
                </c:pt>
                <c:pt idx="1842">
                  <c:v>49.451612903225808</c:v>
                </c:pt>
                <c:pt idx="1843">
                  <c:v>49.41935483870968</c:v>
                </c:pt>
                <c:pt idx="1844">
                  <c:v>49.516129032258064</c:v>
                </c:pt>
                <c:pt idx="1845">
                  <c:v>49.548387096774192</c:v>
                </c:pt>
                <c:pt idx="1846">
                  <c:v>49.516129032258064</c:v>
                </c:pt>
                <c:pt idx="1847">
                  <c:v>49.516129032258064</c:v>
                </c:pt>
                <c:pt idx="1848">
                  <c:v>49.774193548387096</c:v>
                </c:pt>
                <c:pt idx="1849">
                  <c:v>50</c:v>
                </c:pt>
                <c:pt idx="1850">
                  <c:v>50.29032258064516</c:v>
                </c:pt>
                <c:pt idx="1851">
                  <c:v>50.12903225806452</c:v>
                </c:pt>
                <c:pt idx="1852">
                  <c:v>50.225806451612904</c:v>
                </c:pt>
                <c:pt idx="1853">
                  <c:v>50</c:v>
                </c:pt>
                <c:pt idx="1854">
                  <c:v>49.806451612903224</c:v>
                </c:pt>
                <c:pt idx="1855">
                  <c:v>49.903225806451616</c:v>
                </c:pt>
                <c:pt idx="1856">
                  <c:v>50.161290322580648</c:v>
                </c:pt>
                <c:pt idx="1857">
                  <c:v>50.225806451612904</c:v>
                </c:pt>
                <c:pt idx="1858">
                  <c:v>50.322580645161288</c:v>
                </c:pt>
                <c:pt idx="1859">
                  <c:v>50.41935483870968</c:v>
                </c:pt>
                <c:pt idx="1860">
                  <c:v>50.354838709677416</c:v>
                </c:pt>
                <c:pt idx="1861">
                  <c:v>50.483870967741936</c:v>
                </c:pt>
                <c:pt idx="1862">
                  <c:v>50.161290322580648</c:v>
                </c:pt>
                <c:pt idx="1863">
                  <c:v>50.12903225806452</c:v>
                </c:pt>
                <c:pt idx="1864">
                  <c:v>49.903225806451616</c:v>
                </c:pt>
                <c:pt idx="1865">
                  <c:v>49.903225806451616</c:v>
                </c:pt>
                <c:pt idx="1866">
                  <c:v>50</c:v>
                </c:pt>
                <c:pt idx="1867">
                  <c:v>50.161290322580648</c:v>
                </c:pt>
                <c:pt idx="1868">
                  <c:v>50.451612903225808</c:v>
                </c:pt>
                <c:pt idx="1869">
                  <c:v>50.387096774193552</c:v>
                </c:pt>
                <c:pt idx="1870">
                  <c:v>50.58064516129032</c:v>
                </c:pt>
                <c:pt idx="1871">
                  <c:v>50.645161290322584</c:v>
                </c:pt>
                <c:pt idx="1872">
                  <c:v>50.451612903225808</c:v>
                </c:pt>
                <c:pt idx="1873">
                  <c:v>50.193548387096776</c:v>
                </c:pt>
                <c:pt idx="1874">
                  <c:v>50.354838709677416</c:v>
                </c:pt>
                <c:pt idx="1875">
                  <c:v>50.258064516129032</c:v>
                </c:pt>
                <c:pt idx="1876">
                  <c:v>50.096774193548384</c:v>
                </c:pt>
                <c:pt idx="1877">
                  <c:v>50.096774193548384</c:v>
                </c:pt>
                <c:pt idx="1878">
                  <c:v>50.064516129032256</c:v>
                </c:pt>
                <c:pt idx="1879">
                  <c:v>50.064516129032256</c:v>
                </c:pt>
                <c:pt idx="1880">
                  <c:v>50.032258064516128</c:v>
                </c:pt>
                <c:pt idx="1881">
                  <c:v>49.967741935483872</c:v>
                </c:pt>
                <c:pt idx="1882">
                  <c:v>50.225806451612904</c:v>
                </c:pt>
                <c:pt idx="1883">
                  <c:v>50.12903225806452</c:v>
                </c:pt>
                <c:pt idx="1884">
                  <c:v>50.225806451612904</c:v>
                </c:pt>
                <c:pt idx="1885">
                  <c:v>50.41935483870968</c:v>
                </c:pt>
                <c:pt idx="1886">
                  <c:v>50.41935483870968</c:v>
                </c:pt>
                <c:pt idx="1887">
                  <c:v>50.354838709677416</c:v>
                </c:pt>
                <c:pt idx="1888">
                  <c:v>50.451612903225808</c:v>
                </c:pt>
                <c:pt idx="1889">
                  <c:v>50.387096774193552</c:v>
                </c:pt>
                <c:pt idx="1890">
                  <c:v>50.483870967741936</c:v>
                </c:pt>
                <c:pt idx="1891">
                  <c:v>50.516129032258064</c:v>
                </c:pt>
                <c:pt idx="1892">
                  <c:v>50.516129032258064</c:v>
                </c:pt>
                <c:pt idx="1893">
                  <c:v>50.741935483870968</c:v>
                </c:pt>
                <c:pt idx="1894">
                  <c:v>51.032258064516128</c:v>
                </c:pt>
                <c:pt idx="1895">
                  <c:v>51.225806451612904</c:v>
                </c:pt>
                <c:pt idx="1896">
                  <c:v>51.258064516129032</c:v>
                </c:pt>
                <c:pt idx="1897">
                  <c:v>51.322580645161288</c:v>
                </c:pt>
                <c:pt idx="1898">
                  <c:v>51.29032258064516</c:v>
                </c:pt>
                <c:pt idx="1899">
                  <c:v>51.193548387096776</c:v>
                </c:pt>
                <c:pt idx="1900">
                  <c:v>51.41935483870968</c:v>
                </c:pt>
                <c:pt idx="1901">
                  <c:v>51.483870967741936</c:v>
                </c:pt>
                <c:pt idx="1902">
                  <c:v>51.58064516129032</c:v>
                </c:pt>
                <c:pt idx="1903">
                  <c:v>51.838709677419352</c:v>
                </c:pt>
                <c:pt idx="1904">
                  <c:v>52.096774193548384</c:v>
                </c:pt>
                <c:pt idx="1905">
                  <c:v>52.12903225806452</c:v>
                </c:pt>
                <c:pt idx="1906">
                  <c:v>52.322580645161288</c:v>
                </c:pt>
                <c:pt idx="1907">
                  <c:v>52.387096774193552</c:v>
                </c:pt>
                <c:pt idx="1908">
                  <c:v>52.58064516129032</c:v>
                </c:pt>
                <c:pt idx="1909">
                  <c:v>52.774193548387096</c:v>
                </c:pt>
                <c:pt idx="1910">
                  <c:v>52.70967741935484</c:v>
                </c:pt>
                <c:pt idx="1911">
                  <c:v>52.838709677419352</c:v>
                </c:pt>
                <c:pt idx="1912">
                  <c:v>52.838709677419352</c:v>
                </c:pt>
                <c:pt idx="1913">
                  <c:v>52.806451612903224</c:v>
                </c:pt>
                <c:pt idx="1914">
                  <c:v>53.064516129032256</c:v>
                </c:pt>
                <c:pt idx="1915">
                  <c:v>53.193548387096776</c:v>
                </c:pt>
                <c:pt idx="1916">
                  <c:v>53.322580645161288</c:v>
                </c:pt>
                <c:pt idx="1917">
                  <c:v>53.451612903225808</c:v>
                </c:pt>
                <c:pt idx="1918">
                  <c:v>53.516129032258064</c:v>
                </c:pt>
                <c:pt idx="1919">
                  <c:v>53.451612903225808</c:v>
                </c:pt>
                <c:pt idx="1920">
                  <c:v>53.483870967741936</c:v>
                </c:pt>
                <c:pt idx="1921">
                  <c:v>53.451612903225808</c:v>
                </c:pt>
                <c:pt idx="1922">
                  <c:v>53.387096774193552</c:v>
                </c:pt>
                <c:pt idx="1923">
                  <c:v>53.322580645161288</c:v>
                </c:pt>
                <c:pt idx="1924">
                  <c:v>53.354838709677416</c:v>
                </c:pt>
                <c:pt idx="1925">
                  <c:v>53.322580645161288</c:v>
                </c:pt>
                <c:pt idx="1926">
                  <c:v>53.354838709677416</c:v>
                </c:pt>
                <c:pt idx="1927">
                  <c:v>53.41935483870968</c:v>
                </c:pt>
                <c:pt idx="1928">
                  <c:v>53.451612903225808</c:v>
                </c:pt>
                <c:pt idx="1929">
                  <c:v>53.516129032258064</c:v>
                </c:pt>
                <c:pt idx="1930">
                  <c:v>53.58064516129032</c:v>
                </c:pt>
                <c:pt idx="1931">
                  <c:v>53.354838709677416</c:v>
                </c:pt>
                <c:pt idx="1932">
                  <c:v>53.064516129032256</c:v>
                </c:pt>
                <c:pt idx="1933">
                  <c:v>52.967741935483872</c:v>
                </c:pt>
                <c:pt idx="1934">
                  <c:v>52.967741935483872</c:v>
                </c:pt>
                <c:pt idx="1935">
                  <c:v>53</c:v>
                </c:pt>
                <c:pt idx="1936">
                  <c:v>52.967741935483872</c:v>
                </c:pt>
                <c:pt idx="1937">
                  <c:v>52.774193548387096</c:v>
                </c:pt>
                <c:pt idx="1938">
                  <c:v>52.70967741935484</c:v>
                </c:pt>
                <c:pt idx="1939">
                  <c:v>52.451612903225808</c:v>
                </c:pt>
                <c:pt idx="1940">
                  <c:v>52.193548387096776</c:v>
                </c:pt>
                <c:pt idx="1941">
                  <c:v>52.064516129032256</c:v>
                </c:pt>
                <c:pt idx="1942">
                  <c:v>51.838709677419352</c:v>
                </c:pt>
                <c:pt idx="1943">
                  <c:v>51.838709677419352</c:v>
                </c:pt>
                <c:pt idx="1944">
                  <c:v>51.87096774193548</c:v>
                </c:pt>
                <c:pt idx="1945">
                  <c:v>51.87096774193548</c:v>
                </c:pt>
                <c:pt idx="1946">
                  <c:v>51.70967741935484</c:v>
                </c:pt>
                <c:pt idx="1947">
                  <c:v>51.58064516129032</c:v>
                </c:pt>
                <c:pt idx="1948">
                  <c:v>51.612903225806448</c:v>
                </c:pt>
                <c:pt idx="1949">
                  <c:v>51.645161290322584</c:v>
                </c:pt>
                <c:pt idx="1950">
                  <c:v>51.548387096774192</c:v>
                </c:pt>
                <c:pt idx="1951">
                  <c:v>51.451612903225808</c:v>
                </c:pt>
                <c:pt idx="1952">
                  <c:v>51.29032258064516</c:v>
                </c:pt>
                <c:pt idx="1953">
                  <c:v>51.225806451612904</c:v>
                </c:pt>
                <c:pt idx="1954">
                  <c:v>51.225806451612904</c:v>
                </c:pt>
                <c:pt idx="1955">
                  <c:v>51.161290322580648</c:v>
                </c:pt>
                <c:pt idx="1956">
                  <c:v>51.12903225806452</c:v>
                </c:pt>
                <c:pt idx="1957">
                  <c:v>51</c:v>
                </c:pt>
                <c:pt idx="1958">
                  <c:v>50.87096774193548</c:v>
                </c:pt>
                <c:pt idx="1959">
                  <c:v>50.70967741935484</c:v>
                </c:pt>
                <c:pt idx="1960">
                  <c:v>50.645161290322584</c:v>
                </c:pt>
                <c:pt idx="1961">
                  <c:v>50.645161290322584</c:v>
                </c:pt>
                <c:pt idx="1962">
                  <c:v>50.903225806451616</c:v>
                </c:pt>
                <c:pt idx="1963">
                  <c:v>51.064516129032256</c:v>
                </c:pt>
                <c:pt idx="1964">
                  <c:v>50.903225806451616</c:v>
                </c:pt>
                <c:pt idx="1965">
                  <c:v>50.774193548387096</c:v>
                </c:pt>
                <c:pt idx="1966">
                  <c:v>50.806451612903224</c:v>
                </c:pt>
                <c:pt idx="1967">
                  <c:v>50.645161290322584</c:v>
                </c:pt>
                <c:pt idx="1968">
                  <c:v>50.70967741935484</c:v>
                </c:pt>
                <c:pt idx="1969">
                  <c:v>50.806451612903224</c:v>
                </c:pt>
                <c:pt idx="1970">
                  <c:v>50.903225806451616</c:v>
                </c:pt>
                <c:pt idx="1971">
                  <c:v>51.225806451612904</c:v>
                </c:pt>
                <c:pt idx="1972">
                  <c:v>51.161290322580648</c:v>
                </c:pt>
                <c:pt idx="1973">
                  <c:v>51.387096774193552</c:v>
                </c:pt>
                <c:pt idx="1974">
                  <c:v>51.451612903225808</c:v>
                </c:pt>
                <c:pt idx="1975">
                  <c:v>51.451612903225808</c:v>
                </c:pt>
                <c:pt idx="1976">
                  <c:v>51.225806451612904</c:v>
                </c:pt>
                <c:pt idx="1977">
                  <c:v>51.29032258064516</c:v>
                </c:pt>
                <c:pt idx="1978">
                  <c:v>51.12903225806452</c:v>
                </c:pt>
                <c:pt idx="1979">
                  <c:v>51.12903225806452</c:v>
                </c:pt>
                <c:pt idx="1980">
                  <c:v>51.032258064516128</c:v>
                </c:pt>
                <c:pt idx="1981">
                  <c:v>51</c:v>
                </c:pt>
                <c:pt idx="1982">
                  <c:v>50.806451612903224</c:v>
                </c:pt>
                <c:pt idx="1983">
                  <c:v>50.967741935483872</c:v>
                </c:pt>
                <c:pt idx="1984">
                  <c:v>50.903225806451616</c:v>
                </c:pt>
                <c:pt idx="1985">
                  <c:v>50.967741935483872</c:v>
                </c:pt>
                <c:pt idx="1986">
                  <c:v>51.064516129032256</c:v>
                </c:pt>
                <c:pt idx="1987">
                  <c:v>51</c:v>
                </c:pt>
                <c:pt idx="1988">
                  <c:v>51.12903225806452</c:v>
                </c:pt>
                <c:pt idx="1989">
                  <c:v>50.967741935483872</c:v>
                </c:pt>
                <c:pt idx="1990">
                  <c:v>50.87096774193548</c:v>
                </c:pt>
                <c:pt idx="1991">
                  <c:v>50.935483870967744</c:v>
                </c:pt>
                <c:pt idx="1992">
                  <c:v>50.903225806451616</c:v>
                </c:pt>
                <c:pt idx="1993">
                  <c:v>50.677419354838712</c:v>
                </c:pt>
                <c:pt idx="1994">
                  <c:v>50.483870967741936</c:v>
                </c:pt>
                <c:pt idx="1995">
                  <c:v>50.741935483870968</c:v>
                </c:pt>
                <c:pt idx="1996">
                  <c:v>50.774193548387096</c:v>
                </c:pt>
                <c:pt idx="1997">
                  <c:v>50.548387096774192</c:v>
                </c:pt>
                <c:pt idx="1998">
                  <c:v>50.645161290322584</c:v>
                </c:pt>
                <c:pt idx="1999">
                  <c:v>50.677419354838712</c:v>
                </c:pt>
                <c:pt idx="2000">
                  <c:v>50.677419354838712</c:v>
                </c:pt>
                <c:pt idx="2001">
                  <c:v>50.741935483870968</c:v>
                </c:pt>
                <c:pt idx="2002">
                  <c:v>50.70967741935484</c:v>
                </c:pt>
                <c:pt idx="2003">
                  <c:v>50.87096774193548</c:v>
                </c:pt>
                <c:pt idx="2004">
                  <c:v>50.548387096774192</c:v>
                </c:pt>
                <c:pt idx="2005">
                  <c:v>50.258064516129032</c:v>
                </c:pt>
                <c:pt idx="2006">
                  <c:v>50.258064516129032</c:v>
                </c:pt>
                <c:pt idx="2007">
                  <c:v>50.516129032258064</c:v>
                </c:pt>
                <c:pt idx="2008">
                  <c:v>50.387096774193552</c:v>
                </c:pt>
                <c:pt idx="2009">
                  <c:v>50.58064516129032</c:v>
                </c:pt>
                <c:pt idx="2010">
                  <c:v>50.58064516129032</c:v>
                </c:pt>
                <c:pt idx="2011">
                  <c:v>50.354838709677416</c:v>
                </c:pt>
                <c:pt idx="2012">
                  <c:v>50.483870967741936</c:v>
                </c:pt>
                <c:pt idx="2013">
                  <c:v>50.58064516129032</c:v>
                </c:pt>
                <c:pt idx="2014">
                  <c:v>50.58064516129032</c:v>
                </c:pt>
                <c:pt idx="2015">
                  <c:v>50.741935483870968</c:v>
                </c:pt>
                <c:pt idx="2016">
                  <c:v>50.516129032258064</c:v>
                </c:pt>
                <c:pt idx="2017">
                  <c:v>50.483870967741936</c:v>
                </c:pt>
                <c:pt idx="2018">
                  <c:v>50.41935483870968</c:v>
                </c:pt>
                <c:pt idx="2019">
                  <c:v>50.322580645161288</c:v>
                </c:pt>
                <c:pt idx="2020">
                  <c:v>50.29032258064516</c:v>
                </c:pt>
                <c:pt idx="2021">
                  <c:v>50.258064516129032</c:v>
                </c:pt>
                <c:pt idx="2022">
                  <c:v>50.225806451612904</c:v>
                </c:pt>
                <c:pt idx="2023">
                  <c:v>50.064516129032256</c:v>
                </c:pt>
                <c:pt idx="2024">
                  <c:v>50.096774193548384</c:v>
                </c:pt>
                <c:pt idx="2025">
                  <c:v>50.354838709677416</c:v>
                </c:pt>
                <c:pt idx="2026">
                  <c:v>50.161290322580648</c:v>
                </c:pt>
                <c:pt idx="2027">
                  <c:v>50.161290322580648</c:v>
                </c:pt>
                <c:pt idx="2028">
                  <c:v>50.29032258064516</c:v>
                </c:pt>
                <c:pt idx="2029">
                  <c:v>50.12903225806452</c:v>
                </c:pt>
                <c:pt idx="2030">
                  <c:v>49.903225806451616</c:v>
                </c:pt>
                <c:pt idx="2031">
                  <c:v>49.677419354838712</c:v>
                </c:pt>
                <c:pt idx="2032">
                  <c:v>49.70967741935484</c:v>
                </c:pt>
                <c:pt idx="2033">
                  <c:v>49.548387096774192</c:v>
                </c:pt>
                <c:pt idx="2034">
                  <c:v>49.516129032258064</c:v>
                </c:pt>
                <c:pt idx="2035">
                  <c:v>49.741935483870968</c:v>
                </c:pt>
                <c:pt idx="2036">
                  <c:v>49.967741935483872</c:v>
                </c:pt>
                <c:pt idx="2037">
                  <c:v>49.838709677419352</c:v>
                </c:pt>
                <c:pt idx="2038">
                  <c:v>49.838709677419352</c:v>
                </c:pt>
                <c:pt idx="2039">
                  <c:v>49.903225806451616</c:v>
                </c:pt>
                <c:pt idx="2040">
                  <c:v>49.806451612903224</c:v>
                </c:pt>
                <c:pt idx="2041">
                  <c:v>49.806451612903224</c:v>
                </c:pt>
                <c:pt idx="2042">
                  <c:v>50</c:v>
                </c:pt>
                <c:pt idx="2043">
                  <c:v>49.838709677419352</c:v>
                </c:pt>
                <c:pt idx="2044">
                  <c:v>49.935483870967744</c:v>
                </c:pt>
                <c:pt idx="2045">
                  <c:v>49.87096774193548</c:v>
                </c:pt>
                <c:pt idx="2046">
                  <c:v>49.645161290322584</c:v>
                </c:pt>
                <c:pt idx="2047">
                  <c:v>49.806451612903224</c:v>
                </c:pt>
                <c:pt idx="2048">
                  <c:v>49.741935483870968</c:v>
                </c:pt>
                <c:pt idx="2049">
                  <c:v>49.806451612903224</c:v>
                </c:pt>
                <c:pt idx="2050">
                  <c:v>49.70967741935484</c:v>
                </c:pt>
                <c:pt idx="2051">
                  <c:v>49.806451612903224</c:v>
                </c:pt>
                <c:pt idx="2052">
                  <c:v>49.935483870967744</c:v>
                </c:pt>
                <c:pt idx="2053">
                  <c:v>49.741935483870968</c:v>
                </c:pt>
                <c:pt idx="2054">
                  <c:v>49.903225806451616</c:v>
                </c:pt>
                <c:pt idx="2055">
                  <c:v>50</c:v>
                </c:pt>
                <c:pt idx="2056">
                  <c:v>50</c:v>
                </c:pt>
                <c:pt idx="2057">
                  <c:v>49.903225806451616</c:v>
                </c:pt>
                <c:pt idx="2058">
                  <c:v>49.70967741935484</c:v>
                </c:pt>
                <c:pt idx="2059">
                  <c:v>49.70967741935484</c:v>
                </c:pt>
                <c:pt idx="2060">
                  <c:v>49.967741935483872</c:v>
                </c:pt>
                <c:pt idx="2061">
                  <c:v>50.064516129032256</c:v>
                </c:pt>
                <c:pt idx="2062">
                  <c:v>50.096774193548384</c:v>
                </c:pt>
                <c:pt idx="2063">
                  <c:v>50.096774193548384</c:v>
                </c:pt>
                <c:pt idx="2064">
                  <c:v>50.193548387096776</c:v>
                </c:pt>
                <c:pt idx="2065">
                  <c:v>50.064516129032256</c:v>
                </c:pt>
                <c:pt idx="2066">
                  <c:v>50</c:v>
                </c:pt>
                <c:pt idx="2067">
                  <c:v>49.87096774193548</c:v>
                </c:pt>
                <c:pt idx="2068">
                  <c:v>49.87096774193548</c:v>
                </c:pt>
                <c:pt idx="2069">
                  <c:v>49.70967741935484</c:v>
                </c:pt>
                <c:pt idx="2070">
                  <c:v>49.903225806451616</c:v>
                </c:pt>
                <c:pt idx="2071">
                  <c:v>49.903225806451616</c:v>
                </c:pt>
                <c:pt idx="2072">
                  <c:v>49.612903225806448</c:v>
                </c:pt>
                <c:pt idx="2073">
                  <c:v>49.548387096774192</c:v>
                </c:pt>
                <c:pt idx="2074">
                  <c:v>49.548387096774192</c:v>
                </c:pt>
                <c:pt idx="2075">
                  <c:v>49.451612903225808</c:v>
                </c:pt>
                <c:pt idx="2076">
                  <c:v>49.29032258064516</c:v>
                </c:pt>
                <c:pt idx="2077">
                  <c:v>49.548387096774192</c:v>
                </c:pt>
                <c:pt idx="2078">
                  <c:v>49.41935483870968</c:v>
                </c:pt>
                <c:pt idx="2079">
                  <c:v>49.483870967741936</c:v>
                </c:pt>
                <c:pt idx="2080">
                  <c:v>49.387096774193552</c:v>
                </c:pt>
                <c:pt idx="2081">
                  <c:v>49.41935483870968</c:v>
                </c:pt>
                <c:pt idx="2082">
                  <c:v>49.387096774193552</c:v>
                </c:pt>
                <c:pt idx="2083">
                  <c:v>49.322580645161288</c:v>
                </c:pt>
                <c:pt idx="2084">
                  <c:v>49.322580645161288</c:v>
                </c:pt>
                <c:pt idx="2085">
                  <c:v>49.12903225806452</c:v>
                </c:pt>
                <c:pt idx="2086">
                  <c:v>49.193548387096776</c:v>
                </c:pt>
                <c:pt idx="2087">
                  <c:v>49.12903225806452</c:v>
                </c:pt>
                <c:pt idx="2088">
                  <c:v>49.12903225806452</c:v>
                </c:pt>
                <c:pt idx="2089">
                  <c:v>49.193548387096776</c:v>
                </c:pt>
                <c:pt idx="2090">
                  <c:v>48.967741935483872</c:v>
                </c:pt>
                <c:pt idx="2091">
                  <c:v>48.806451612903224</c:v>
                </c:pt>
                <c:pt idx="2092">
                  <c:v>48.70967741935484</c:v>
                </c:pt>
                <c:pt idx="2093">
                  <c:v>48.87096774193548</c:v>
                </c:pt>
                <c:pt idx="2094">
                  <c:v>48.903225806451616</c:v>
                </c:pt>
                <c:pt idx="2095">
                  <c:v>48.677419354838712</c:v>
                </c:pt>
                <c:pt idx="2096">
                  <c:v>48.838709677419352</c:v>
                </c:pt>
                <c:pt idx="2097">
                  <c:v>48.741935483870968</c:v>
                </c:pt>
                <c:pt idx="2098">
                  <c:v>48.774193548387096</c:v>
                </c:pt>
                <c:pt idx="2099">
                  <c:v>48.935483870967744</c:v>
                </c:pt>
                <c:pt idx="2100">
                  <c:v>49.032258064516128</c:v>
                </c:pt>
                <c:pt idx="2101">
                  <c:v>48.741935483870968</c:v>
                </c:pt>
                <c:pt idx="2102">
                  <c:v>48.935483870967744</c:v>
                </c:pt>
                <c:pt idx="2103">
                  <c:v>49.096774193548384</c:v>
                </c:pt>
                <c:pt idx="2104">
                  <c:v>49.29032258064516</c:v>
                </c:pt>
                <c:pt idx="2105">
                  <c:v>49.516129032258064</c:v>
                </c:pt>
                <c:pt idx="2106">
                  <c:v>49.70967741935484</c:v>
                </c:pt>
                <c:pt idx="2107">
                  <c:v>49.741935483870968</c:v>
                </c:pt>
                <c:pt idx="2108">
                  <c:v>49.548387096774192</c:v>
                </c:pt>
                <c:pt idx="2109">
                  <c:v>49.741935483870968</c:v>
                </c:pt>
                <c:pt idx="2110">
                  <c:v>49.806451612903224</c:v>
                </c:pt>
                <c:pt idx="2111">
                  <c:v>49.806451612903224</c:v>
                </c:pt>
                <c:pt idx="2112">
                  <c:v>49.87096774193548</c:v>
                </c:pt>
                <c:pt idx="2113">
                  <c:v>49.87096774193548</c:v>
                </c:pt>
                <c:pt idx="2114">
                  <c:v>49.87096774193548</c:v>
                </c:pt>
                <c:pt idx="2115">
                  <c:v>49.903225806451616</c:v>
                </c:pt>
                <c:pt idx="2116">
                  <c:v>50.161290322580648</c:v>
                </c:pt>
                <c:pt idx="2117">
                  <c:v>49.87096774193548</c:v>
                </c:pt>
                <c:pt idx="2118">
                  <c:v>49.70967741935484</c:v>
                </c:pt>
                <c:pt idx="2119">
                  <c:v>49.838709677419352</c:v>
                </c:pt>
                <c:pt idx="2120">
                  <c:v>49.87096774193548</c:v>
                </c:pt>
                <c:pt idx="2121">
                  <c:v>49.87096774193548</c:v>
                </c:pt>
                <c:pt idx="2122">
                  <c:v>49.935483870967744</c:v>
                </c:pt>
                <c:pt idx="2123">
                  <c:v>50.064516129032256</c:v>
                </c:pt>
                <c:pt idx="2124">
                  <c:v>50.161290322580648</c:v>
                </c:pt>
                <c:pt idx="2125">
                  <c:v>49.903225806451616</c:v>
                </c:pt>
                <c:pt idx="2126">
                  <c:v>50.12903225806452</c:v>
                </c:pt>
                <c:pt idx="2127">
                  <c:v>50</c:v>
                </c:pt>
                <c:pt idx="2128">
                  <c:v>50.064516129032256</c:v>
                </c:pt>
                <c:pt idx="2129">
                  <c:v>50.258064516129032</c:v>
                </c:pt>
                <c:pt idx="2130">
                  <c:v>50.161290322580648</c:v>
                </c:pt>
                <c:pt idx="2131">
                  <c:v>50.12903225806452</c:v>
                </c:pt>
                <c:pt idx="2132">
                  <c:v>50.161290322580648</c:v>
                </c:pt>
                <c:pt idx="2133">
                  <c:v>49.838709677419352</c:v>
                </c:pt>
                <c:pt idx="2134">
                  <c:v>49.774193548387096</c:v>
                </c:pt>
                <c:pt idx="2135">
                  <c:v>49.451612903225808</c:v>
                </c:pt>
                <c:pt idx="2136">
                  <c:v>49.451612903225808</c:v>
                </c:pt>
                <c:pt idx="2137">
                  <c:v>49.258064516129032</c:v>
                </c:pt>
                <c:pt idx="2138">
                  <c:v>49.451612903225808</c:v>
                </c:pt>
                <c:pt idx="2139">
                  <c:v>49.548387096774192</c:v>
                </c:pt>
                <c:pt idx="2140">
                  <c:v>49.258064516129032</c:v>
                </c:pt>
                <c:pt idx="2141">
                  <c:v>49.032258064516128</c:v>
                </c:pt>
                <c:pt idx="2142">
                  <c:v>49.258064516129032</c:v>
                </c:pt>
                <c:pt idx="2143">
                  <c:v>49.225806451612904</c:v>
                </c:pt>
                <c:pt idx="2144">
                  <c:v>49.451612903225808</c:v>
                </c:pt>
                <c:pt idx="2145">
                  <c:v>49.612903225806448</c:v>
                </c:pt>
                <c:pt idx="2146">
                  <c:v>49.548387096774192</c:v>
                </c:pt>
                <c:pt idx="2147">
                  <c:v>49.322580645161288</c:v>
                </c:pt>
                <c:pt idx="2148">
                  <c:v>49.548387096774192</c:v>
                </c:pt>
                <c:pt idx="2149">
                  <c:v>49.645161290322584</c:v>
                </c:pt>
                <c:pt idx="2150">
                  <c:v>49.70967741935484</c:v>
                </c:pt>
                <c:pt idx="2151">
                  <c:v>49.58064516129032</c:v>
                </c:pt>
                <c:pt idx="2152">
                  <c:v>49.903225806451616</c:v>
                </c:pt>
                <c:pt idx="2153">
                  <c:v>49.70967741935484</c:v>
                </c:pt>
                <c:pt idx="2154">
                  <c:v>49.70967741935484</c:v>
                </c:pt>
                <c:pt idx="2155">
                  <c:v>49.645161290322584</c:v>
                </c:pt>
                <c:pt idx="2156">
                  <c:v>49.903225806451616</c:v>
                </c:pt>
                <c:pt idx="2157">
                  <c:v>49.903225806451616</c:v>
                </c:pt>
                <c:pt idx="2158">
                  <c:v>50.096774193548384</c:v>
                </c:pt>
                <c:pt idx="2159">
                  <c:v>50.258064516129032</c:v>
                </c:pt>
                <c:pt idx="2160">
                  <c:v>50.096774193548384</c:v>
                </c:pt>
                <c:pt idx="2161">
                  <c:v>50.193548387096776</c:v>
                </c:pt>
                <c:pt idx="2162">
                  <c:v>50.064516129032256</c:v>
                </c:pt>
                <c:pt idx="2163">
                  <c:v>50.322580645161288</c:v>
                </c:pt>
                <c:pt idx="2164">
                  <c:v>50.548387096774192</c:v>
                </c:pt>
                <c:pt idx="2165">
                  <c:v>50.548387096774192</c:v>
                </c:pt>
                <c:pt idx="2166">
                  <c:v>50.806451612903224</c:v>
                </c:pt>
                <c:pt idx="2167">
                  <c:v>50.645161290322584</c:v>
                </c:pt>
                <c:pt idx="2168">
                  <c:v>50.774193548387096</c:v>
                </c:pt>
                <c:pt idx="2169">
                  <c:v>50.677419354838712</c:v>
                </c:pt>
                <c:pt idx="2170">
                  <c:v>50.516129032258064</c:v>
                </c:pt>
                <c:pt idx="2171">
                  <c:v>50.645161290322584</c:v>
                </c:pt>
                <c:pt idx="2172">
                  <c:v>50.774193548387096</c:v>
                </c:pt>
                <c:pt idx="2173">
                  <c:v>50.612903225806448</c:v>
                </c:pt>
                <c:pt idx="2174">
                  <c:v>50.806451612903224</c:v>
                </c:pt>
                <c:pt idx="2175">
                  <c:v>50.838709677419352</c:v>
                </c:pt>
                <c:pt idx="2176">
                  <c:v>50.58064516129032</c:v>
                </c:pt>
                <c:pt idx="2177">
                  <c:v>50.70967741935484</c:v>
                </c:pt>
                <c:pt idx="2178">
                  <c:v>50.741935483870968</c:v>
                </c:pt>
                <c:pt idx="2179">
                  <c:v>50.548387096774192</c:v>
                </c:pt>
                <c:pt idx="2180">
                  <c:v>50.645161290322584</c:v>
                </c:pt>
                <c:pt idx="2181">
                  <c:v>50.548387096774192</c:v>
                </c:pt>
                <c:pt idx="2182">
                  <c:v>50.548387096774192</c:v>
                </c:pt>
                <c:pt idx="2183">
                  <c:v>50.548387096774192</c:v>
                </c:pt>
                <c:pt idx="2184">
                  <c:v>50.838709677419352</c:v>
                </c:pt>
                <c:pt idx="2185">
                  <c:v>51.032258064516128</c:v>
                </c:pt>
                <c:pt idx="2186">
                  <c:v>50.838709677419352</c:v>
                </c:pt>
                <c:pt idx="2187">
                  <c:v>50.774193548387096</c:v>
                </c:pt>
                <c:pt idx="2188">
                  <c:v>50.58064516129032</c:v>
                </c:pt>
                <c:pt idx="2189">
                  <c:v>50.41935483870968</c:v>
                </c:pt>
                <c:pt idx="2190">
                  <c:v>50.225806451612904</c:v>
                </c:pt>
                <c:pt idx="2191">
                  <c:v>50.387096774193552</c:v>
                </c:pt>
                <c:pt idx="2192">
                  <c:v>50.41935483870968</c:v>
                </c:pt>
                <c:pt idx="2193">
                  <c:v>50.516129032258064</c:v>
                </c:pt>
                <c:pt idx="2194">
                  <c:v>50.354838709677416</c:v>
                </c:pt>
                <c:pt idx="2195">
                  <c:v>50.322580645161288</c:v>
                </c:pt>
                <c:pt idx="2196">
                  <c:v>50.193548387096776</c:v>
                </c:pt>
                <c:pt idx="2197">
                  <c:v>50.193548387096776</c:v>
                </c:pt>
                <c:pt idx="2198">
                  <c:v>50.032258064516128</c:v>
                </c:pt>
                <c:pt idx="2199">
                  <c:v>49.935483870967744</c:v>
                </c:pt>
                <c:pt idx="2200">
                  <c:v>50.12903225806452</c:v>
                </c:pt>
                <c:pt idx="2201">
                  <c:v>50.096774193548384</c:v>
                </c:pt>
                <c:pt idx="2202">
                  <c:v>50.258064516129032</c:v>
                </c:pt>
                <c:pt idx="2203">
                  <c:v>50.064516129032256</c:v>
                </c:pt>
                <c:pt idx="2204">
                  <c:v>50</c:v>
                </c:pt>
                <c:pt idx="2205">
                  <c:v>50</c:v>
                </c:pt>
                <c:pt idx="2206">
                  <c:v>49.70967741935484</c:v>
                </c:pt>
                <c:pt idx="2207">
                  <c:v>49.967741935483872</c:v>
                </c:pt>
                <c:pt idx="2208">
                  <c:v>50.096774193548384</c:v>
                </c:pt>
                <c:pt idx="2209">
                  <c:v>50.032258064516128</c:v>
                </c:pt>
                <c:pt idx="2210">
                  <c:v>50.032258064516128</c:v>
                </c:pt>
                <c:pt idx="2211">
                  <c:v>49.903225806451616</c:v>
                </c:pt>
                <c:pt idx="2212">
                  <c:v>49.967741935483872</c:v>
                </c:pt>
                <c:pt idx="2213">
                  <c:v>50.258064516129032</c:v>
                </c:pt>
                <c:pt idx="2214">
                  <c:v>50</c:v>
                </c:pt>
                <c:pt idx="2215">
                  <c:v>49.903225806451616</c:v>
                </c:pt>
                <c:pt idx="2216">
                  <c:v>49.806451612903224</c:v>
                </c:pt>
                <c:pt idx="2217">
                  <c:v>49.935483870967744</c:v>
                </c:pt>
                <c:pt idx="2218">
                  <c:v>49.838709677419352</c:v>
                </c:pt>
                <c:pt idx="2219">
                  <c:v>50</c:v>
                </c:pt>
                <c:pt idx="2220">
                  <c:v>49.967741935483872</c:v>
                </c:pt>
                <c:pt idx="2221">
                  <c:v>50.193548387096776</c:v>
                </c:pt>
                <c:pt idx="2222">
                  <c:v>50.064516129032256</c:v>
                </c:pt>
                <c:pt idx="2223">
                  <c:v>50.12903225806452</c:v>
                </c:pt>
                <c:pt idx="2224">
                  <c:v>50.225806451612904</c:v>
                </c:pt>
                <c:pt idx="2225">
                  <c:v>50.548387096774192</c:v>
                </c:pt>
                <c:pt idx="2226">
                  <c:v>50.70967741935484</c:v>
                </c:pt>
                <c:pt idx="2227">
                  <c:v>51.064516129032256</c:v>
                </c:pt>
                <c:pt idx="2228">
                  <c:v>51.258064516129032</c:v>
                </c:pt>
                <c:pt idx="2229">
                  <c:v>51.677419354838712</c:v>
                </c:pt>
                <c:pt idx="2230">
                  <c:v>51.903225806451616</c:v>
                </c:pt>
                <c:pt idx="2231">
                  <c:v>51.87096774193548</c:v>
                </c:pt>
                <c:pt idx="2232">
                  <c:v>52.225806451612904</c:v>
                </c:pt>
                <c:pt idx="2233">
                  <c:v>52.225806451612904</c:v>
                </c:pt>
                <c:pt idx="2234">
                  <c:v>52.483870967741936</c:v>
                </c:pt>
                <c:pt idx="2235">
                  <c:v>52.70967741935484</c:v>
                </c:pt>
                <c:pt idx="2236">
                  <c:v>52.838709677419352</c:v>
                </c:pt>
                <c:pt idx="2237">
                  <c:v>53.096774193548384</c:v>
                </c:pt>
                <c:pt idx="2238">
                  <c:v>53.29032258064516</c:v>
                </c:pt>
                <c:pt idx="2239">
                  <c:v>53.41935483870968</c:v>
                </c:pt>
                <c:pt idx="2240">
                  <c:v>53.677419354838712</c:v>
                </c:pt>
                <c:pt idx="2241">
                  <c:v>54.096774193548384</c:v>
                </c:pt>
                <c:pt idx="2242">
                  <c:v>54.354838709677416</c:v>
                </c:pt>
                <c:pt idx="2243">
                  <c:v>54.58064516129032</c:v>
                </c:pt>
                <c:pt idx="2244">
                  <c:v>54.645161290322584</c:v>
                </c:pt>
                <c:pt idx="2245">
                  <c:v>55</c:v>
                </c:pt>
                <c:pt idx="2246">
                  <c:v>55.096774193548384</c:v>
                </c:pt>
                <c:pt idx="2247">
                  <c:v>55.322580645161288</c:v>
                </c:pt>
                <c:pt idx="2248">
                  <c:v>55.58064516129032</c:v>
                </c:pt>
                <c:pt idx="2249">
                  <c:v>55.935483870967744</c:v>
                </c:pt>
                <c:pt idx="2250">
                  <c:v>56.096774193548384</c:v>
                </c:pt>
                <c:pt idx="2251">
                  <c:v>56.322580645161288</c:v>
                </c:pt>
                <c:pt idx="2252">
                  <c:v>56.322580645161288</c:v>
                </c:pt>
                <c:pt idx="2253">
                  <c:v>56.451612903225808</c:v>
                </c:pt>
                <c:pt idx="2254">
                  <c:v>56.483870967741936</c:v>
                </c:pt>
                <c:pt idx="2255">
                  <c:v>56.58064516129032</c:v>
                </c:pt>
                <c:pt idx="2256">
                  <c:v>56.58064516129032</c:v>
                </c:pt>
                <c:pt idx="2257">
                  <c:v>56.677419354838712</c:v>
                </c:pt>
                <c:pt idx="2258">
                  <c:v>56.774193548387096</c:v>
                </c:pt>
                <c:pt idx="2259">
                  <c:v>56.741935483870968</c:v>
                </c:pt>
                <c:pt idx="2260">
                  <c:v>56.741935483870968</c:v>
                </c:pt>
                <c:pt idx="2261">
                  <c:v>56.70967741935484</c:v>
                </c:pt>
                <c:pt idx="2262">
                  <c:v>56.741935483870968</c:v>
                </c:pt>
                <c:pt idx="2263">
                  <c:v>56.677419354838712</c:v>
                </c:pt>
                <c:pt idx="2264">
                  <c:v>56.774193548387096</c:v>
                </c:pt>
                <c:pt idx="2265">
                  <c:v>56.935483870967744</c:v>
                </c:pt>
                <c:pt idx="2266">
                  <c:v>57.225806451612904</c:v>
                </c:pt>
                <c:pt idx="2267">
                  <c:v>57.41935483870968</c:v>
                </c:pt>
                <c:pt idx="2268">
                  <c:v>57.70967741935484</c:v>
                </c:pt>
                <c:pt idx="2269">
                  <c:v>57.774193548387096</c:v>
                </c:pt>
                <c:pt idx="2270">
                  <c:v>57.87096774193548</c:v>
                </c:pt>
                <c:pt idx="2271">
                  <c:v>58.161290322580648</c:v>
                </c:pt>
                <c:pt idx="2272">
                  <c:v>58.193548387096776</c:v>
                </c:pt>
                <c:pt idx="2273">
                  <c:v>58.41935483870968</c:v>
                </c:pt>
                <c:pt idx="2274">
                  <c:v>58.58064516129032</c:v>
                </c:pt>
                <c:pt idx="2275">
                  <c:v>56.774193548387096</c:v>
                </c:pt>
                <c:pt idx="2276">
                  <c:v>54.903225806451616</c:v>
                </c:pt>
                <c:pt idx="2277">
                  <c:v>53.161290322580648</c:v>
                </c:pt>
                <c:pt idx="2278">
                  <c:v>51.258064516129032</c:v>
                </c:pt>
                <c:pt idx="2279">
                  <c:v>49.354838709677416</c:v>
                </c:pt>
                <c:pt idx="2280">
                  <c:v>47.451612903225808</c:v>
                </c:pt>
                <c:pt idx="2281">
                  <c:v>45.645161290322584</c:v>
                </c:pt>
                <c:pt idx="2282">
                  <c:v>43.903225806451616</c:v>
                </c:pt>
                <c:pt idx="2283">
                  <c:v>42.12903225806452</c:v>
                </c:pt>
                <c:pt idx="2284">
                  <c:v>40.354838709677416</c:v>
                </c:pt>
                <c:pt idx="2285">
                  <c:v>38.483870967741936</c:v>
                </c:pt>
                <c:pt idx="2286">
                  <c:v>36.645161290322584</c:v>
                </c:pt>
                <c:pt idx="2287">
                  <c:v>34.741935483870968</c:v>
                </c:pt>
                <c:pt idx="2288">
                  <c:v>32.838709677419352</c:v>
                </c:pt>
                <c:pt idx="2289">
                  <c:v>30.93548387096774</c:v>
                </c:pt>
                <c:pt idx="2290">
                  <c:v>29.06451612903226</c:v>
                </c:pt>
                <c:pt idx="2291">
                  <c:v>28.70967741935484</c:v>
                </c:pt>
                <c:pt idx="2292">
                  <c:v>28.387096774193548</c:v>
                </c:pt>
                <c:pt idx="2293">
                  <c:v>28.225806451612904</c:v>
                </c:pt>
                <c:pt idx="2294">
                  <c:v>27.967741935483872</c:v>
                </c:pt>
                <c:pt idx="2295">
                  <c:v>27.870967741935484</c:v>
                </c:pt>
                <c:pt idx="2296">
                  <c:v>27.70967741935484</c:v>
                </c:pt>
                <c:pt idx="2297">
                  <c:v>27.258064516129032</c:v>
                </c:pt>
                <c:pt idx="2298">
                  <c:v>26.64516129032258</c:v>
                </c:pt>
                <c:pt idx="2299">
                  <c:v>26.06451612903226</c:v>
                </c:pt>
                <c:pt idx="2300">
                  <c:v>25.806451612903224</c:v>
                </c:pt>
                <c:pt idx="2301">
                  <c:v>25.387096774193548</c:v>
                </c:pt>
                <c:pt idx="2302">
                  <c:v>24.967741935483872</c:v>
                </c:pt>
                <c:pt idx="2303">
                  <c:v>24.677419354838708</c:v>
                </c:pt>
                <c:pt idx="2304">
                  <c:v>24.129032258064516</c:v>
                </c:pt>
                <c:pt idx="2305">
                  <c:v>23.870967741935484</c:v>
                </c:pt>
                <c:pt idx="2306">
                  <c:v>25.580645161290324</c:v>
                </c:pt>
                <c:pt idx="2307">
                  <c:v>27.35483870967742</c:v>
                </c:pt>
                <c:pt idx="2308">
                  <c:v>29</c:v>
                </c:pt>
                <c:pt idx="2309">
                  <c:v>30.741935483870968</c:v>
                </c:pt>
                <c:pt idx="2310">
                  <c:v>32.225806451612904</c:v>
                </c:pt>
                <c:pt idx="2311">
                  <c:v>33.87096774193548</c:v>
                </c:pt>
                <c:pt idx="2312">
                  <c:v>35.483870967741936</c:v>
                </c:pt>
                <c:pt idx="2313">
                  <c:v>37.064516129032256</c:v>
                </c:pt>
                <c:pt idx="2314">
                  <c:v>38.677419354838712</c:v>
                </c:pt>
                <c:pt idx="2315">
                  <c:v>40.29032258064516</c:v>
                </c:pt>
                <c:pt idx="2316">
                  <c:v>41.935483870967744</c:v>
                </c:pt>
                <c:pt idx="2317">
                  <c:v>43.677419354838712</c:v>
                </c:pt>
                <c:pt idx="2318">
                  <c:v>45.258064516129032</c:v>
                </c:pt>
                <c:pt idx="2319">
                  <c:v>46.903225806451616</c:v>
                </c:pt>
                <c:pt idx="2320">
                  <c:v>48.483870967741936</c:v>
                </c:pt>
                <c:pt idx="2321">
                  <c:v>50.064516129032256</c:v>
                </c:pt>
                <c:pt idx="2322">
                  <c:v>50.12903225806452</c:v>
                </c:pt>
                <c:pt idx="2323">
                  <c:v>50.41935483870968</c:v>
                </c:pt>
                <c:pt idx="2324">
                  <c:v>50.258064516129032</c:v>
                </c:pt>
                <c:pt idx="2325">
                  <c:v>50.548387096774192</c:v>
                </c:pt>
                <c:pt idx="2326">
                  <c:v>50.322580645161288</c:v>
                </c:pt>
                <c:pt idx="2327">
                  <c:v>50.12903225806452</c:v>
                </c:pt>
                <c:pt idx="2328">
                  <c:v>50.322580645161288</c:v>
                </c:pt>
                <c:pt idx="2329">
                  <c:v>50.451612903225808</c:v>
                </c:pt>
                <c:pt idx="2330">
                  <c:v>50.58064516129032</c:v>
                </c:pt>
                <c:pt idx="2331">
                  <c:v>50.516129032258064</c:v>
                </c:pt>
                <c:pt idx="2332">
                  <c:v>50.677419354838712</c:v>
                </c:pt>
                <c:pt idx="2333">
                  <c:v>50.483870967741936</c:v>
                </c:pt>
                <c:pt idx="2334">
                  <c:v>50.354838709677416</c:v>
                </c:pt>
                <c:pt idx="2335">
                  <c:v>50.548387096774192</c:v>
                </c:pt>
                <c:pt idx="2336">
                  <c:v>50.354838709677416</c:v>
                </c:pt>
                <c:pt idx="2337">
                  <c:v>50.096774193548384</c:v>
                </c:pt>
                <c:pt idx="2338">
                  <c:v>50.064516129032256</c:v>
                </c:pt>
                <c:pt idx="2339">
                  <c:v>50.032258064516128</c:v>
                </c:pt>
                <c:pt idx="2340">
                  <c:v>49.774193548387096</c:v>
                </c:pt>
                <c:pt idx="2341">
                  <c:v>50.032258064516128</c:v>
                </c:pt>
                <c:pt idx="2342">
                  <c:v>50.12903225806452</c:v>
                </c:pt>
                <c:pt idx="2343">
                  <c:v>50.258064516129032</c:v>
                </c:pt>
                <c:pt idx="2344">
                  <c:v>50.387096774193552</c:v>
                </c:pt>
                <c:pt idx="2345">
                  <c:v>50.451612903225808</c:v>
                </c:pt>
                <c:pt idx="2346">
                  <c:v>50.451612903225808</c:v>
                </c:pt>
                <c:pt idx="2347">
                  <c:v>50.354838709677416</c:v>
                </c:pt>
                <c:pt idx="2348">
                  <c:v>50.354838709677416</c:v>
                </c:pt>
                <c:pt idx="2349">
                  <c:v>50.41935483870968</c:v>
                </c:pt>
                <c:pt idx="2350">
                  <c:v>50.225806451612904</c:v>
                </c:pt>
                <c:pt idx="2351">
                  <c:v>50.322580645161288</c:v>
                </c:pt>
                <c:pt idx="2352">
                  <c:v>50.258064516129032</c:v>
                </c:pt>
                <c:pt idx="2353">
                  <c:v>50.225806451612904</c:v>
                </c:pt>
                <c:pt idx="2354">
                  <c:v>50.225806451612904</c:v>
                </c:pt>
                <c:pt idx="2355">
                  <c:v>50.354838709677416</c:v>
                </c:pt>
                <c:pt idx="2356">
                  <c:v>50.29032258064516</c:v>
                </c:pt>
                <c:pt idx="2357">
                  <c:v>50.258064516129032</c:v>
                </c:pt>
                <c:pt idx="2358">
                  <c:v>50.451612903225808</c:v>
                </c:pt>
                <c:pt idx="2359">
                  <c:v>50.193548387096776</c:v>
                </c:pt>
                <c:pt idx="2360">
                  <c:v>50.032258064516128</c:v>
                </c:pt>
                <c:pt idx="2361">
                  <c:v>49.903225806451616</c:v>
                </c:pt>
                <c:pt idx="2362">
                  <c:v>49.741935483870968</c:v>
                </c:pt>
                <c:pt idx="2363">
                  <c:v>49.516129032258064</c:v>
                </c:pt>
                <c:pt idx="2364">
                  <c:v>49.516129032258064</c:v>
                </c:pt>
                <c:pt idx="2365">
                  <c:v>49.483870967741936</c:v>
                </c:pt>
                <c:pt idx="2366">
                  <c:v>49.41935483870968</c:v>
                </c:pt>
                <c:pt idx="2367">
                  <c:v>49.58064516129032</c:v>
                </c:pt>
                <c:pt idx="2368">
                  <c:v>49.741935483870968</c:v>
                </c:pt>
                <c:pt idx="2369">
                  <c:v>49.70967741935484</c:v>
                </c:pt>
                <c:pt idx="2370">
                  <c:v>49.741935483870968</c:v>
                </c:pt>
                <c:pt idx="2371">
                  <c:v>49.806451612903224</c:v>
                </c:pt>
                <c:pt idx="2372">
                  <c:v>49.58064516129032</c:v>
                </c:pt>
                <c:pt idx="2373">
                  <c:v>49.322580645161288</c:v>
                </c:pt>
                <c:pt idx="2374">
                  <c:v>49.161290322580648</c:v>
                </c:pt>
                <c:pt idx="2375">
                  <c:v>49.096774193548384</c:v>
                </c:pt>
                <c:pt idx="2376">
                  <c:v>49.064516129032256</c:v>
                </c:pt>
                <c:pt idx="2377">
                  <c:v>49.193548387096776</c:v>
                </c:pt>
                <c:pt idx="2378">
                  <c:v>49.12903225806452</c:v>
                </c:pt>
                <c:pt idx="2379">
                  <c:v>49.032258064516128</c:v>
                </c:pt>
                <c:pt idx="2380">
                  <c:v>48.903225806451616</c:v>
                </c:pt>
                <c:pt idx="2381">
                  <c:v>49.193548387096776</c:v>
                </c:pt>
                <c:pt idx="2382">
                  <c:v>49.258064516129032</c:v>
                </c:pt>
                <c:pt idx="2383">
                  <c:v>49.451612903225808</c:v>
                </c:pt>
                <c:pt idx="2384">
                  <c:v>49.645161290322584</c:v>
                </c:pt>
                <c:pt idx="2385">
                  <c:v>49.58064516129032</c:v>
                </c:pt>
                <c:pt idx="2386">
                  <c:v>49.516129032258064</c:v>
                </c:pt>
                <c:pt idx="2387">
                  <c:v>49.451612903225808</c:v>
                </c:pt>
                <c:pt idx="2388">
                  <c:v>49.41935483870968</c:v>
                </c:pt>
                <c:pt idx="2389">
                  <c:v>49.451612903225808</c:v>
                </c:pt>
                <c:pt idx="2390">
                  <c:v>49.387096774193552</c:v>
                </c:pt>
                <c:pt idx="2391">
                  <c:v>49.516129032258064</c:v>
                </c:pt>
                <c:pt idx="2392">
                  <c:v>49.70967741935484</c:v>
                </c:pt>
                <c:pt idx="2393">
                  <c:v>49.935483870967744</c:v>
                </c:pt>
                <c:pt idx="2394">
                  <c:v>50.064516129032256</c:v>
                </c:pt>
                <c:pt idx="2395">
                  <c:v>50.064516129032256</c:v>
                </c:pt>
                <c:pt idx="2396">
                  <c:v>50.064516129032256</c:v>
                </c:pt>
                <c:pt idx="2397">
                  <c:v>50.064516129032256</c:v>
                </c:pt>
                <c:pt idx="2398">
                  <c:v>50.032258064516128</c:v>
                </c:pt>
                <c:pt idx="2399">
                  <c:v>49.935483870967744</c:v>
                </c:pt>
                <c:pt idx="2400">
                  <c:v>49.935483870967744</c:v>
                </c:pt>
                <c:pt idx="2401">
                  <c:v>50</c:v>
                </c:pt>
                <c:pt idx="2402">
                  <c:v>50.193548387096776</c:v>
                </c:pt>
                <c:pt idx="2403">
                  <c:v>50.451612903225808</c:v>
                </c:pt>
                <c:pt idx="2404">
                  <c:v>50.548387096774192</c:v>
                </c:pt>
                <c:pt idx="2405">
                  <c:v>50.451612903225808</c:v>
                </c:pt>
                <c:pt idx="2406">
                  <c:v>50.29032258064516</c:v>
                </c:pt>
                <c:pt idx="2407">
                  <c:v>50.161290322580648</c:v>
                </c:pt>
                <c:pt idx="2408">
                  <c:v>49.87096774193548</c:v>
                </c:pt>
                <c:pt idx="2409">
                  <c:v>50</c:v>
                </c:pt>
                <c:pt idx="2410">
                  <c:v>49.87096774193548</c:v>
                </c:pt>
                <c:pt idx="2411">
                  <c:v>50</c:v>
                </c:pt>
                <c:pt idx="2412">
                  <c:v>49.70967741935484</c:v>
                </c:pt>
                <c:pt idx="2413">
                  <c:v>49.41935483870968</c:v>
                </c:pt>
                <c:pt idx="2414">
                  <c:v>49.354838709677416</c:v>
                </c:pt>
                <c:pt idx="2415">
                  <c:v>49.12903225806452</c:v>
                </c:pt>
                <c:pt idx="2416">
                  <c:v>49.032258064516128</c:v>
                </c:pt>
                <c:pt idx="2417">
                  <c:v>49</c:v>
                </c:pt>
                <c:pt idx="2418">
                  <c:v>48.903225806451616</c:v>
                </c:pt>
                <c:pt idx="2419">
                  <c:v>48.967741935483872</c:v>
                </c:pt>
                <c:pt idx="2420">
                  <c:v>48.838709677419352</c:v>
                </c:pt>
                <c:pt idx="2421">
                  <c:v>48.967741935483872</c:v>
                </c:pt>
                <c:pt idx="2422">
                  <c:v>49.12903225806452</c:v>
                </c:pt>
                <c:pt idx="2423">
                  <c:v>49.06666666666667</c:v>
                </c:pt>
                <c:pt idx="2424">
                  <c:v>48.931034482758619</c:v>
                </c:pt>
                <c:pt idx="2425">
                  <c:v>48.892857142857146</c:v>
                </c:pt>
                <c:pt idx="2426">
                  <c:v>49.037037037037038</c:v>
                </c:pt>
                <c:pt idx="2427">
                  <c:v>49.153846153846153</c:v>
                </c:pt>
                <c:pt idx="2428">
                  <c:v>49.12</c:v>
                </c:pt>
                <c:pt idx="2429">
                  <c:v>49</c:v>
                </c:pt>
                <c:pt idx="2430">
                  <c:v>49.086956521739133</c:v>
                </c:pt>
                <c:pt idx="2431">
                  <c:v>48.909090909090907</c:v>
                </c:pt>
                <c:pt idx="2432">
                  <c:v>48.714285714285715</c:v>
                </c:pt>
                <c:pt idx="2433">
                  <c:v>48.45</c:v>
                </c:pt>
                <c:pt idx="2434">
                  <c:v>48.10526315789474</c:v>
                </c:pt>
                <c:pt idx="2435">
                  <c:v>48.055555555555557</c:v>
                </c:pt>
                <c:pt idx="2436">
                  <c:v>48.176470588235297</c:v>
                </c:pt>
                <c:pt idx="2437">
                  <c:v>48.3125</c:v>
                </c:pt>
                <c:pt idx="2438">
                  <c:v>48.4</c:v>
                </c:pt>
                <c:pt idx="2439">
                  <c:v>48.642857142857146</c:v>
                </c:pt>
                <c:pt idx="2440">
                  <c:v>48.53846153846154</c:v>
                </c:pt>
                <c:pt idx="2441">
                  <c:v>48.666666666666664</c:v>
                </c:pt>
                <c:pt idx="2442">
                  <c:v>48.454545454545453</c:v>
                </c:pt>
                <c:pt idx="2443">
                  <c:v>48.8</c:v>
                </c:pt>
                <c:pt idx="2444">
                  <c:v>49.222222222222221</c:v>
                </c:pt>
                <c:pt idx="2445">
                  <c:v>49</c:v>
                </c:pt>
                <c:pt idx="2446">
                  <c:v>49.285714285714285</c:v>
                </c:pt>
                <c:pt idx="2447">
                  <c:v>49.333333333333336</c:v>
                </c:pt>
                <c:pt idx="2448">
                  <c:v>50</c:v>
                </c:pt>
                <c:pt idx="2449">
                  <c:v>50.5</c:v>
                </c:pt>
                <c:pt idx="2450">
                  <c:v>51.333333333333336</c:v>
                </c:pt>
                <c:pt idx="2451">
                  <c:v>51.5</c:v>
                </c:pt>
              </c:numCache>
            </c:numRef>
          </c:val>
          <c:smooth val="0"/>
          <c:extLst>
            <c:ext xmlns:c16="http://schemas.microsoft.com/office/drawing/2014/chart" uri="{C3380CC4-5D6E-409C-BE32-E72D297353CC}">
              <c16:uniqueId val="{00000004-29A8-CF42-9633-B19AC805DF98}"/>
            </c:ext>
          </c:extLst>
        </c:ser>
        <c:ser>
          <c:idx val="6"/>
          <c:order val="6"/>
          <c:tx>
            <c:strRef>
              <c:f>'DRT Rolling Mean'!$I$1</c:f>
              <c:strCache>
                <c:ptCount val="1"/>
                <c:pt idx="0">
                  <c:v>Pump Efficiency</c:v>
                </c:pt>
              </c:strCache>
            </c:strRef>
          </c:tx>
          <c:spPr>
            <a:ln w="28575" cap="rnd">
              <a:solidFill>
                <a:schemeClr val="accent1">
                  <a:lumMod val="60000"/>
                </a:schemeClr>
              </a:solidFill>
              <a:round/>
            </a:ln>
            <a:effectLst/>
          </c:spPr>
          <c:marker>
            <c:symbol val="none"/>
          </c:marker>
          <c:cat>
            <c:numRef>
              <c:f>'DRT Rolling Mean'!$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I$2:$I$2453</c:f>
              <c:numCache>
                <c:formatCode>#,##0.00</c:formatCode>
                <c:ptCount val="2452"/>
                <c:pt idx="0">
                  <c:v>75.922580645161275</c:v>
                </c:pt>
                <c:pt idx="1">
                  <c:v>75.892082111436963</c:v>
                </c:pt>
                <c:pt idx="2">
                  <c:v>75.99061583577712</c:v>
                </c:pt>
                <c:pt idx="3">
                  <c:v>76.051612903225816</c:v>
                </c:pt>
                <c:pt idx="4">
                  <c:v>76.205278592375365</c:v>
                </c:pt>
                <c:pt idx="5">
                  <c:v>76.185337243401747</c:v>
                </c:pt>
                <c:pt idx="6">
                  <c:v>76.369501466275651</c:v>
                </c:pt>
                <c:pt idx="7">
                  <c:v>76.316129032258047</c:v>
                </c:pt>
                <c:pt idx="8">
                  <c:v>76.373020527859225</c:v>
                </c:pt>
                <c:pt idx="9">
                  <c:v>76.34134897360704</c:v>
                </c:pt>
                <c:pt idx="10">
                  <c:v>76.394134897360715</c:v>
                </c:pt>
                <c:pt idx="11">
                  <c:v>76.500879765395908</c:v>
                </c:pt>
                <c:pt idx="12">
                  <c:v>76.357184750733168</c:v>
                </c:pt>
                <c:pt idx="13">
                  <c:v>76.23929618768328</c:v>
                </c:pt>
                <c:pt idx="14">
                  <c:v>76.143695014662768</c:v>
                </c:pt>
                <c:pt idx="15">
                  <c:v>76.073313782991221</c:v>
                </c:pt>
                <c:pt idx="16">
                  <c:v>76.167155425219946</c:v>
                </c:pt>
                <c:pt idx="17">
                  <c:v>76.169501466275662</c:v>
                </c:pt>
                <c:pt idx="18">
                  <c:v>76.158357771260995</c:v>
                </c:pt>
                <c:pt idx="19">
                  <c:v>76.141348973607023</c:v>
                </c:pt>
                <c:pt idx="20">
                  <c:v>76.094428152492668</c:v>
                </c:pt>
                <c:pt idx="21">
                  <c:v>76.202932551319648</c:v>
                </c:pt>
                <c:pt idx="22">
                  <c:v>76.089149560117292</c:v>
                </c:pt>
                <c:pt idx="23">
                  <c:v>76.219354838709663</c:v>
                </c:pt>
                <c:pt idx="24">
                  <c:v>76.250439882697933</c:v>
                </c:pt>
                <c:pt idx="25">
                  <c:v>76.247507331378287</c:v>
                </c:pt>
                <c:pt idx="26">
                  <c:v>76.414662756598247</c:v>
                </c:pt>
                <c:pt idx="27">
                  <c:v>76.40351906158358</c:v>
                </c:pt>
                <c:pt idx="28">
                  <c:v>76.500293255131965</c:v>
                </c:pt>
                <c:pt idx="29">
                  <c:v>76.419941348973595</c:v>
                </c:pt>
                <c:pt idx="30">
                  <c:v>76.394134897360715</c:v>
                </c:pt>
                <c:pt idx="31">
                  <c:v>76.55542521994137</c:v>
                </c:pt>
                <c:pt idx="32">
                  <c:v>76.531378299120249</c:v>
                </c:pt>
                <c:pt idx="33">
                  <c:v>76.391202346041069</c:v>
                </c:pt>
                <c:pt idx="34">
                  <c:v>76.3777126099707</c:v>
                </c:pt>
                <c:pt idx="35">
                  <c:v>76.31319648093843</c:v>
                </c:pt>
                <c:pt idx="36">
                  <c:v>76.219354838709677</c:v>
                </c:pt>
                <c:pt idx="37">
                  <c:v>76.049853372434029</c:v>
                </c:pt>
                <c:pt idx="38">
                  <c:v>76.224633431085053</c:v>
                </c:pt>
                <c:pt idx="39">
                  <c:v>76.201173020527847</c:v>
                </c:pt>
                <c:pt idx="40">
                  <c:v>76.327272727272728</c:v>
                </c:pt>
                <c:pt idx="41">
                  <c:v>76.366568914956019</c:v>
                </c:pt>
                <c:pt idx="42">
                  <c:v>76.226979472140755</c:v>
                </c:pt>
                <c:pt idx="43">
                  <c:v>76.269794721407621</c:v>
                </c:pt>
                <c:pt idx="44">
                  <c:v>76.290322580645139</c:v>
                </c:pt>
                <c:pt idx="45">
                  <c:v>76.380058651026388</c:v>
                </c:pt>
                <c:pt idx="46">
                  <c:v>76.32903225806453</c:v>
                </c:pt>
                <c:pt idx="47">
                  <c:v>76.321994134897366</c:v>
                </c:pt>
                <c:pt idx="48">
                  <c:v>76.26686217008799</c:v>
                </c:pt>
                <c:pt idx="49">
                  <c:v>76.205278592375365</c:v>
                </c:pt>
                <c:pt idx="50">
                  <c:v>76.408211143695013</c:v>
                </c:pt>
                <c:pt idx="51">
                  <c:v>76.348973607038133</c:v>
                </c:pt>
                <c:pt idx="52">
                  <c:v>76.187096774193549</c:v>
                </c:pt>
                <c:pt idx="53">
                  <c:v>76.35953079178887</c:v>
                </c:pt>
                <c:pt idx="54">
                  <c:v>76.373020527859254</c:v>
                </c:pt>
                <c:pt idx="55">
                  <c:v>76.425219941348985</c:v>
                </c:pt>
                <c:pt idx="56">
                  <c:v>76.401173020527864</c:v>
                </c:pt>
                <c:pt idx="57">
                  <c:v>76.27976539589443</c:v>
                </c:pt>
                <c:pt idx="58">
                  <c:v>76.149560117302059</c:v>
                </c:pt>
                <c:pt idx="59">
                  <c:v>76.159530791788853</c:v>
                </c:pt>
                <c:pt idx="60">
                  <c:v>76.319061583577735</c:v>
                </c:pt>
                <c:pt idx="61">
                  <c:v>76.335483870967749</c:v>
                </c:pt>
                <c:pt idx="62">
                  <c:v>76.26686217008799</c:v>
                </c:pt>
                <c:pt idx="63">
                  <c:v>76.265102639296188</c:v>
                </c:pt>
                <c:pt idx="64">
                  <c:v>76.400586510263921</c:v>
                </c:pt>
                <c:pt idx="65">
                  <c:v>76.336656891495608</c:v>
                </c:pt>
                <c:pt idx="66">
                  <c:v>76.273313782991195</c:v>
                </c:pt>
                <c:pt idx="67">
                  <c:v>76.385337243401764</c:v>
                </c:pt>
                <c:pt idx="68">
                  <c:v>76.405865102639297</c:v>
                </c:pt>
                <c:pt idx="69">
                  <c:v>76.32903225806453</c:v>
                </c:pt>
                <c:pt idx="70">
                  <c:v>76.236950146627564</c:v>
                </c:pt>
                <c:pt idx="71">
                  <c:v>76.23284457478006</c:v>
                </c:pt>
                <c:pt idx="72">
                  <c:v>76.147214076246328</c:v>
                </c:pt>
                <c:pt idx="73">
                  <c:v>76.310850439882699</c:v>
                </c:pt>
                <c:pt idx="74">
                  <c:v>76.315542521994146</c:v>
                </c:pt>
                <c:pt idx="75">
                  <c:v>76.430498533724361</c:v>
                </c:pt>
                <c:pt idx="76">
                  <c:v>76.405865102639325</c:v>
                </c:pt>
                <c:pt idx="77">
                  <c:v>76.432258064516148</c:v>
                </c:pt>
                <c:pt idx="78">
                  <c:v>76.295601173020543</c:v>
                </c:pt>
                <c:pt idx="79">
                  <c:v>76.243401759530784</c:v>
                </c:pt>
                <c:pt idx="80">
                  <c:v>76.40351906158358</c:v>
                </c:pt>
                <c:pt idx="81">
                  <c:v>76.27976539589443</c:v>
                </c:pt>
                <c:pt idx="82">
                  <c:v>76.28328445747799</c:v>
                </c:pt>
                <c:pt idx="83">
                  <c:v>76.453372434017567</c:v>
                </c:pt>
                <c:pt idx="84">
                  <c:v>76.287976539589422</c:v>
                </c:pt>
                <c:pt idx="85">
                  <c:v>76.21818181818179</c:v>
                </c:pt>
                <c:pt idx="86">
                  <c:v>76.112023460410541</c:v>
                </c:pt>
                <c:pt idx="87">
                  <c:v>76.113782991202328</c:v>
                </c:pt>
                <c:pt idx="88">
                  <c:v>76.140762463343094</c:v>
                </c:pt>
                <c:pt idx="89">
                  <c:v>76.171847507331364</c:v>
                </c:pt>
                <c:pt idx="90">
                  <c:v>76.160117302052768</c:v>
                </c:pt>
                <c:pt idx="91">
                  <c:v>75.992375366568893</c:v>
                </c:pt>
                <c:pt idx="92">
                  <c:v>76.130791788856271</c:v>
                </c:pt>
                <c:pt idx="93">
                  <c:v>76.086803519061561</c:v>
                </c:pt>
                <c:pt idx="94">
                  <c:v>76.221114369501436</c:v>
                </c:pt>
                <c:pt idx="95">
                  <c:v>76.253958944281493</c:v>
                </c:pt>
                <c:pt idx="96">
                  <c:v>76.206451612903209</c:v>
                </c:pt>
                <c:pt idx="97">
                  <c:v>76.217595307917875</c:v>
                </c:pt>
                <c:pt idx="98">
                  <c:v>76.060410557184738</c:v>
                </c:pt>
                <c:pt idx="99">
                  <c:v>76.149560117302045</c:v>
                </c:pt>
                <c:pt idx="100">
                  <c:v>76.059237536656894</c:v>
                </c:pt>
                <c:pt idx="101">
                  <c:v>76.074486803519079</c:v>
                </c:pt>
                <c:pt idx="102">
                  <c:v>76.086217008797647</c:v>
                </c:pt>
                <c:pt idx="103">
                  <c:v>76.062756598240483</c:v>
                </c:pt>
                <c:pt idx="104">
                  <c:v>76.065689149560114</c:v>
                </c:pt>
                <c:pt idx="105">
                  <c:v>76.003519061583589</c:v>
                </c:pt>
                <c:pt idx="106">
                  <c:v>75.969501466275659</c:v>
                </c:pt>
                <c:pt idx="107">
                  <c:v>75.893841642228736</c:v>
                </c:pt>
                <c:pt idx="108">
                  <c:v>75.927272727272722</c:v>
                </c:pt>
                <c:pt idx="109">
                  <c:v>76.02463343108505</c:v>
                </c:pt>
                <c:pt idx="110">
                  <c:v>76.066862170087973</c:v>
                </c:pt>
                <c:pt idx="111">
                  <c:v>76.119648093841633</c:v>
                </c:pt>
                <c:pt idx="112">
                  <c:v>76.055131964809377</c:v>
                </c:pt>
                <c:pt idx="113">
                  <c:v>76.23401759530789</c:v>
                </c:pt>
                <c:pt idx="114">
                  <c:v>76.137829912023435</c:v>
                </c:pt>
                <c:pt idx="115">
                  <c:v>76.128445747800555</c:v>
                </c:pt>
                <c:pt idx="116">
                  <c:v>76.078592375366568</c:v>
                </c:pt>
                <c:pt idx="117">
                  <c:v>76.091495601173008</c:v>
                </c:pt>
                <c:pt idx="118">
                  <c:v>76.009970674486794</c:v>
                </c:pt>
                <c:pt idx="119">
                  <c:v>75.956011730205276</c:v>
                </c:pt>
                <c:pt idx="120">
                  <c:v>75.921994134897346</c:v>
                </c:pt>
                <c:pt idx="121">
                  <c:v>75.878005865102637</c:v>
                </c:pt>
                <c:pt idx="122">
                  <c:v>76.035777126099703</c:v>
                </c:pt>
                <c:pt idx="123">
                  <c:v>75.887390029325502</c:v>
                </c:pt>
                <c:pt idx="124">
                  <c:v>75.897360703812311</c:v>
                </c:pt>
                <c:pt idx="125">
                  <c:v>75.864516129032253</c:v>
                </c:pt>
                <c:pt idx="126">
                  <c:v>75.758357771260975</c:v>
                </c:pt>
                <c:pt idx="127">
                  <c:v>75.969501466275659</c:v>
                </c:pt>
                <c:pt idx="128">
                  <c:v>75.948973607038127</c:v>
                </c:pt>
                <c:pt idx="129">
                  <c:v>76.071554252199405</c:v>
                </c:pt>
                <c:pt idx="130">
                  <c:v>75.995307917888553</c:v>
                </c:pt>
                <c:pt idx="131">
                  <c:v>76.076832844574767</c:v>
                </c:pt>
                <c:pt idx="132">
                  <c:v>76.205865102639279</c:v>
                </c:pt>
                <c:pt idx="133">
                  <c:v>76.0815249266862</c:v>
                </c:pt>
                <c:pt idx="134">
                  <c:v>76.196480938416428</c:v>
                </c:pt>
                <c:pt idx="135">
                  <c:v>76.138416422287392</c:v>
                </c:pt>
                <c:pt idx="136">
                  <c:v>76.18651026392962</c:v>
                </c:pt>
                <c:pt idx="137">
                  <c:v>76.187683284457492</c:v>
                </c:pt>
                <c:pt idx="138">
                  <c:v>76.229325513196486</c:v>
                </c:pt>
                <c:pt idx="139">
                  <c:v>76.190029325513194</c:v>
                </c:pt>
                <c:pt idx="140">
                  <c:v>76.048093841642228</c:v>
                </c:pt>
                <c:pt idx="141">
                  <c:v>75.905571847507332</c:v>
                </c:pt>
                <c:pt idx="142">
                  <c:v>75.874486803519062</c:v>
                </c:pt>
                <c:pt idx="143">
                  <c:v>76.022287390029334</c:v>
                </c:pt>
                <c:pt idx="144">
                  <c:v>75.929618768328453</c:v>
                </c:pt>
                <c:pt idx="145">
                  <c:v>75.975953079178893</c:v>
                </c:pt>
                <c:pt idx="146">
                  <c:v>75.950733137829928</c:v>
                </c:pt>
                <c:pt idx="147">
                  <c:v>76.033431085043986</c:v>
                </c:pt>
                <c:pt idx="148">
                  <c:v>76.171847507331393</c:v>
                </c:pt>
                <c:pt idx="149">
                  <c:v>76.306158357771281</c:v>
                </c:pt>
                <c:pt idx="150">
                  <c:v>76.46217008797656</c:v>
                </c:pt>
                <c:pt idx="151">
                  <c:v>76.456304985337241</c:v>
                </c:pt>
                <c:pt idx="152">
                  <c:v>76.488563049853369</c:v>
                </c:pt>
                <c:pt idx="153">
                  <c:v>76.439882697947212</c:v>
                </c:pt>
                <c:pt idx="154">
                  <c:v>76.572434017595285</c:v>
                </c:pt>
                <c:pt idx="155">
                  <c:v>76.664516129032236</c:v>
                </c:pt>
                <c:pt idx="156">
                  <c:v>76.628739002932534</c:v>
                </c:pt>
                <c:pt idx="157">
                  <c:v>76.693255131964804</c:v>
                </c:pt>
                <c:pt idx="158">
                  <c:v>76.652785923753655</c:v>
                </c:pt>
                <c:pt idx="159">
                  <c:v>76.608797653958931</c:v>
                </c:pt>
                <c:pt idx="160">
                  <c:v>76.653958944281513</c:v>
                </c:pt>
                <c:pt idx="161">
                  <c:v>76.764809384164224</c:v>
                </c:pt>
                <c:pt idx="162">
                  <c:v>76.733137829912025</c:v>
                </c:pt>
                <c:pt idx="163">
                  <c:v>76.703812316715542</c:v>
                </c:pt>
                <c:pt idx="164">
                  <c:v>76.684457478005854</c:v>
                </c:pt>
                <c:pt idx="165">
                  <c:v>76.679765395894407</c:v>
                </c:pt>
                <c:pt idx="166">
                  <c:v>76.69325513196479</c:v>
                </c:pt>
                <c:pt idx="167">
                  <c:v>76.688563049853357</c:v>
                </c:pt>
                <c:pt idx="168">
                  <c:v>76.638709677419328</c:v>
                </c:pt>
                <c:pt idx="169">
                  <c:v>76.689149560117286</c:v>
                </c:pt>
                <c:pt idx="170">
                  <c:v>76.808211143695033</c:v>
                </c:pt>
                <c:pt idx="171">
                  <c:v>76.957184750733134</c:v>
                </c:pt>
                <c:pt idx="172">
                  <c:v>77.143108504398811</c:v>
                </c:pt>
                <c:pt idx="173">
                  <c:v>76.952492668621687</c:v>
                </c:pt>
                <c:pt idx="174">
                  <c:v>76.889736070381218</c:v>
                </c:pt>
                <c:pt idx="175">
                  <c:v>76.924926686216992</c:v>
                </c:pt>
                <c:pt idx="176">
                  <c:v>76.754838709677401</c:v>
                </c:pt>
                <c:pt idx="177">
                  <c:v>76.756011730205287</c:v>
                </c:pt>
                <c:pt idx="178">
                  <c:v>76.641642228739002</c:v>
                </c:pt>
                <c:pt idx="179">
                  <c:v>76.639296187683286</c:v>
                </c:pt>
                <c:pt idx="180">
                  <c:v>76.551319648093838</c:v>
                </c:pt>
                <c:pt idx="181">
                  <c:v>76.4258064516129</c:v>
                </c:pt>
                <c:pt idx="182">
                  <c:v>76.437536656891496</c:v>
                </c:pt>
                <c:pt idx="183">
                  <c:v>76.472727272727283</c:v>
                </c:pt>
                <c:pt idx="184">
                  <c:v>76.50322580645161</c:v>
                </c:pt>
                <c:pt idx="185">
                  <c:v>76.336070381231679</c:v>
                </c:pt>
                <c:pt idx="186">
                  <c:v>76.22346041055718</c:v>
                </c:pt>
                <c:pt idx="187">
                  <c:v>76.306158357771253</c:v>
                </c:pt>
                <c:pt idx="188">
                  <c:v>76.171260997067421</c:v>
                </c:pt>
                <c:pt idx="189">
                  <c:v>76.007624633431064</c:v>
                </c:pt>
                <c:pt idx="190">
                  <c:v>76.095601173020512</c:v>
                </c:pt>
                <c:pt idx="191">
                  <c:v>75.957771260997049</c:v>
                </c:pt>
                <c:pt idx="192">
                  <c:v>75.946627565982411</c:v>
                </c:pt>
                <c:pt idx="193">
                  <c:v>76.031671554252199</c:v>
                </c:pt>
                <c:pt idx="194">
                  <c:v>75.90674486803519</c:v>
                </c:pt>
                <c:pt idx="195">
                  <c:v>76.026392961876823</c:v>
                </c:pt>
                <c:pt idx="196">
                  <c:v>76.076246334310838</c:v>
                </c:pt>
                <c:pt idx="197">
                  <c:v>75.978299120234595</c:v>
                </c:pt>
                <c:pt idx="198">
                  <c:v>76.043401759530781</c:v>
                </c:pt>
                <c:pt idx="199">
                  <c:v>75.950146627565985</c:v>
                </c:pt>
                <c:pt idx="200">
                  <c:v>75.9841642228739</c:v>
                </c:pt>
                <c:pt idx="201">
                  <c:v>75.910263929618765</c:v>
                </c:pt>
                <c:pt idx="202">
                  <c:v>75.845161290322579</c:v>
                </c:pt>
                <c:pt idx="203">
                  <c:v>75.652199413489726</c:v>
                </c:pt>
                <c:pt idx="204">
                  <c:v>75.794134897360706</c:v>
                </c:pt>
                <c:pt idx="205">
                  <c:v>75.817008797653969</c:v>
                </c:pt>
                <c:pt idx="206">
                  <c:v>75.68328445747801</c:v>
                </c:pt>
                <c:pt idx="207">
                  <c:v>75.700879765395896</c:v>
                </c:pt>
                <c:pt idx="208">
                  <c:v>75.737243401759528</c:v>
                </c:pt>
                <c:pt idx="209">
                  <c:v>75.906158357771261</c:v>
                </c:pt>
                <c:pt idx="210">
                  <c:v>75.807624633431075</c:v>
                </c:pt>
                <c:pt idx="211">
                  <c:v>75.700293255131953</c:v>
                </c:pt>
                <c:pt idx="212">
                  <c:v>75.634604105571839</c:v>
                </c:pt>
                <c:pt idx="213">
                  <c:v>75.76715542521994</c:v>
                </c:pt>
                <c:pt idx="214">
                  <c:v>75.765982404692082</c:v>
                </c:pt>
                <c:pt idx="215">
                  <c:v>75.700879765395882</c:v>
                </c:pt>
                <c:pt idx="216">
                  <c:v>75.825219941348976</c:v>
                </c:pt>
                <c:pt idx="217">
                  <c:v>76.013489736070383</c:v>
                </c:pt>
                <c:pt idx="218">
                  <c:v>76.123753665689151</c:v>
                </c:pt>
                <c:pt idx="219">
                  <c:v>76.276246334310855</c:v>
                </c:pt>
                <c:pt idx="220">
                  <c:v>76.385337243401764</c:v>
                </c:pt>
                <c:pt idx="221">
                  <c:v>76.43753665689151</c:v>
                </c:pt>
                <c:pt idx="222">
                  <c:v>76.576539589442817</c:v>
                </c:pt>
                <c:pt idx="223">
                  <c:v>76.694428152492662</c:v>
                </c:pt>
                <c:pt idx="224">
                  <c:v>76.744281524926677</c:v>
                </c:pt>
                <c:pt idx="225">
                  <c:v>76.899120234604098</c:v>
                </c:pt>
                <c:pt idx="226">
                  <c:v>76.860997067448693</c:v>
                </c:pt>
                <c:pt idx="227">
                  <c:v>76.924926686216992</c:v>
                </c:pt>
                <c:pt idx="228">
                  <c:v>76.966568914956042</c:v>
                </c:pt>
                <c:pt idx="229">
                  <c:v>77.073900293255136</c:v>
                </c:pt>
                <c:pt idx="230">
                  <c:v>77.302639296187692</c:v>
                </c:pt>
                <c:pt idx="231">
                  <c:v>77.222287390029308</c:v>
                </c:pt>
                <c:pt idx="232">
                  <c:v>77.364222873900289</c:v>
                </c:pt>
                <c:pt idx="233">
                  <c:v>77.354252199413509</c:v>
                </c:pt>
                <c:pt idx="234">
                  <c:v>77.555425219941355</c:v>
                </c:pt>
                <c:pt idx="235">
                  <c:v>77.557184750733143</c:v>
                </c:pt>
                <c:pt idx="236">
                  <c:v>77.546041055718462</c:v>
                </c:pt>
                <c:pt idx="237">
                  <c:v>77.720821114369485</c:v>
                </c:pt>
                <c:pt idx="238">
                  <c:v>77.974193548387078</c:v>
                </c:pt>
                <c:pt idx="239">
                  <c:v>78.076832844574767</c:v>
                </c:pt>
                <c:pt idx="240">
                  <c:v>78.04398826979471</c:v>
                </c:pt>
                <c:pt idx="241">
                  <c:v>78.142521994134881</c:v>
                </c:pt>
                <c:pt idx="242">
                  <c:v>78.306158357771253</c:v>
                </c:pt>
                <c:pt idx="243">
                  <c:v>78.547800586510277</c:v>
                </c:pt>
                <c:pt idx="244">
                  <c:v>78.678592375366563</c:v>
                </c:pt>
                <c:pt idx="245">
                  <c:v>78.707331378299116</c:v>
                </c:pt>
                <c:pt idx="246">
                  <c:v>78.871554252199402</c:v>
                </c:pt>
                <c:pt idx="247">
                  <c:v>78.937243401759517</c:v>
                </c:pt>
                <c:pt idx="248">
                  <c:v>78.913782991202339</c:v>
                </c:pt>
                <c:pt idx="249">
                  <c:v>78.918475073313772</c:v>
                </c:pt>
                <c:pt idx="250">
                  <c:v>78.959530791788822</c:v>
                </c:pt>
                <c:pt idx="251">
                  <c:v>78.998826979472113</c:v>
                </c:pt>
                <c:pt idx="252">
                  <c:v>79.043988269794696</c:v>
                </c:pt>
                <c:pt idx="253">
                  <c:v>78.990029325513177</c:v>
                </c:pt>
                <c:pt idx="254">
                  <c:v>78.852785923753643</c:v>
                </c:pt>
                <c:pt idx="255">
                  <c:v>78.840469208211132</c:v>
                </c:pt>
                <c:pt idx="256">
                  <c:v>78.792375366568905</c:v>
                </c:pt>
                <c:pt idx="257">
                  <c:v>78.64692082111435</c:v>
                </c:pt>
                <c:pt idx="258">
                  <c:v>78.463929618768319</c:v>
                </c:pt>
                <c:pt idx="259">
                  <c:v>78.392961876832828</c:v>
                </c:pt>
                <c:pt idx="260">
                  <c:v>78.26686217008799</c:v>
                </c:pt>
                <c:pt idx="261">
                  <c:v>78.076832844574781</c:v>
                </c:pt>
                <c:pt idx="262">
                  <c:v>78.110263929618768</c:v>
                </c:pt>
                <c:pt idx="263">
                  <c:v>77.953079178885631</c:v>
                </c:pt>
                <c:pt idx="264">
                  <c:v>77.839296187683303</c:v>
                </c:pt>
                <c:pt idx="265">
                  <c:v>77.735483870967769</c:v>
                </c:pt>
                <c:pt idx="266">
                  <c:v>77.588269794721413</c:v>
                </c:pt>
                <c:pt idx="267">
                  <c:v>77.490322580645184</c:v>
                </c:pt>
                <c:pt idx="268">
                  <c:v>77.340175953079196</c:v>
                </c:pt>
                <c:pt idx="269">
                  <c:v>77.074486803519065</c:v>
                </c:pt>
                <c:pt idx="270">
                  <c:v>76.956598240469205</c:v>
                </c:pt>
                <c:pt idx="271">
                  <c:v>76.948973607038127</c:v>
                </c:pt>
                <c:pt idx="272">
                  <c:v>76.834017595307913</c:v>
                </c:pt>
                <c:pt idx="273">
                  <c:v>76.733137829911996</c:v>
                </c:pt>
                <c:pt idx="274">
                  <c:v>76.699120234604081</c:v>
                </c:pt>
                <c:pt idx="275">
                  <c:v>76.647507331378279</c:v>
                </c:pt>
                <c:pt idx="276">
                  <c:v>76.583577712609952</c:v>
                </c:pt>
                <c:pt idx="277">
                  <c:v>76.320821114369494</c:v>
                </c:pt>
                <c:pt idx="278">
                  <c:v>76.22346041055718</c:v>
                </c:pt>
                <c:pt idx="279">
                  <c:v>76.022873900293249</c:v>
                </c:pt>
                <c:pt idx="280">
                  <c:v>75.860997067448679</c:v>
                </c:pt>
                <c:pt idx="281">
                  <c:v>75.675659824046917</c:v>
                </c:pt>
                <c:pt idx="282">
                  <c:v>75.713196480938421</c:v>
                </c:pt>
                <c:pt idx="283">
                  <c:v>75.51260997067449</c:v>
                </c:pt>
                <c:pt idx="284">
                  <c:v>75.374780058651027</c:v>
                </c:pt>
                <c:pt idx="285">
                  <c:v>75.341935483870969</c:v>
                </c:pt>
                <c:pt idx="286">
                  <c:v>75.244574780058642</c:v>
                </c:pt>
                <c:pt idx="287">
                  <c:v>75.147214076246328</c:v>
                </c:pt>
                <c:pt idx="288">
                  <c:v>75.2457478005865</c:v>
                </c:pt>
                <c:pt idx="289">
                  <c:v>75.194721407624641</c:v>
                </c:pt>
                <c:pt idx="290">
                  <c:v>75.251612903225819</c:v>
                </c:pt>
                <c:pt idx="291">
                  <c:v>75.364222873900303</c:v>
                </c:pt>
                <c:pt idx="292">
                  <c:v>75.524926686217015</c:v>
                </c:pt>
                <c:pt idx="293">
                  <c:v>75.401759530791793</c:v>
                </c:pt>
                <c:pt idx="294">
                  <c:v>75.406451612903226</c:v>
                </c:pt>
                <c:pt idx="295">
                  <c:v>75.609970674486789</c:v>
                </c:pt>
                <c:pt idx="296">
                  <c:v>75.59999999999998</c:v>
                </c:pt>
                <c:pt idx="297">
                  <c:v>75.604105571847484</c:v>
                </c:pt>
                <c:pt idx="298">
                  <c:v>75.787096774193543</c:v>
                </c:pt>
                <c:pt idx="299">
                  <c:v>75.987096774193546</c:v>
                </c:pt>
                <c:pt idx="300">
                  <c:v>76.007038123167163</c:v>
                </c:pt>
                <c:pt idx="301">
                  <c:v>76.005865102639305</c:v>
                </c:pt>
                <c:pt idx="302">
                  <c:v>75.873900293255133</c:v>
                </c:pt>
                <c:pt idx="303">
                  <c:v>76.017595307917887</c:v>
                </c:pt>
                <c:pt idx="304">
                  <c:v>76.026392961876851</c:v>
                </c:pt>
                <c:pt idx="305">
                  <c:v>76.026392961876837</c:v>
                </c:pt>
                <c:pt idx="306">
                  <c:v>75.985923753665702</c:v>
                </c:pt>
                <c:pt idx="307">
                  <c:v>75.814662756598267</c:v>
                </c:pt>
                <c:pt idx="308">
                  <c:v>75.980645161290326</c:v>
                </c:pt>
                <c:pt idx="309">
                  <c:v>76.045747800586511</c:v>
                </c:pt>
                <c:pt idx="310">
                  <c:v>76.158944281524924</c:v>
                </c:pt>
                <c:pt idx="311">
                  <c:v>76.101466275659831</c:v>
                </c:pt>
                <c:pt idx="312">
                  <c:v>76.14897360703813</c:v>
                </c:pt>
                <c:pt idx="313">
                  <c:v>76.001173020527858</c:v>
                </c:pt>
                <c:pt idx="314">
                  <c:v>76.212316715542514</c:v>
                </c:pt>
                <c:pt idx="315">
                  <c:v>76.241642228738982</c:v>
                </c:pt>
                <c:pt idx="316">
                  <c:v>76.148387096774172</c:v>
                </c:pt>
                <c:pt idx="317">
                  <c:v>76.134310850439874</c:v>
                </c:pt>
                <c:pt idx="318">
                  <c:v>76.117302052785917</c:v>
                </c:pt>
                <c:pt idx="319">
                  <c:v>76.121994134897349</c:v>
                </c:pt>
                <c:pt idx="320">
                  <c:v>76.288563049853366</c:v>
                </c:pt>
                <c:pt idx="321">
                  <c:v>76.338416422287381</c:v>
                </c:pt>
                <c:pt idx="322">
                  <c:v>76.293841642228728</c:v>
                </c:pt>
                <c:pt idx="323">
                  <c:v>76.263929618768302</c:v>
                </c:pt>
                <c:pt idx="324">
                  <c:v>76.307917888563054</c:v>
                </c:pt>
                <c:pt idx="325">
                  <c:v>76.264516129032273</c:v>
                </c:pt>
                <c:pt idx="326">
                  <c:v>76.171260997067449</c:v>
                </c:pt>
                <c:pt idx="327">
                  <c:v>76.233431085044032</c:v>
                </c:pt>
                <c:pt idx="328">
                  <c:v>76.386510263929637</c:v>
                </c:pt>
                <c:pt idx="329">
                  <c:v>76.394134897360729</c:v>
                </c:pt>
                <c:pt idx="330">
                  <c:v>76.21114369501467</c:v>
                </c:pt>
                <c:pt idx="331">
                  <c:v>76.293255131964813</c:v>
                </c:pt>
                <c:pt idx="332">
                  <c:v>76.261583577712614</c:v>
                </c:pt>
                <c:pt idx="333">
                  <c:v>76.287390029325522</c:v>
                </c:pt>
                <c:pt idx="334">
                  <c:v>76.239882697947195</c:v>
                </c:pt>
                <c:pt idx="335">
                  <c:v>76.262756598240443</c:v>
                </c:pt>
                <c:pt idx="336">
                  <c:v>76.119648093841633</c:v>
                </c:pt>
                <c:pt idx="337">
                  <c:v>76.156011730205265</c:v>
                </c:pt>
                <c:pt idx="338">
                  <c:v>76.226979472140741</c:v>
                </c:pt>
                <c:pt idx="339">
                  <c:v>76.260997067448685</c:v>
                </c:pt>
                <c:pt idx="340">
                  <c:v>76.231085043988259</c:v>
                </c:pt>
                <c:pt idx="341">
                  <c:v>76.29208211143694</c:v>
                </c:pt>
                <c:pt idx="342">
                  <c:v>76.448093841642233</c:v>
                </c:pt>
                <c:pt idx="343">
                  <c:v>76.531378299120234</c:v>
                </c:pt>
                <c:pt idx="344">
                  <c:v>76.620527859237527</c:v>
                </c:pt>
                <c:pt idx="345">
                  <c:v>76.457478005865099</c:v>
                </c:pt>
                <c:pt idx="346">
                  <c:v>76.591788856304973</c:v>
                </c:pt>
                <c:pt idx="347">
                  <c:v>76.698533724340166</c:v>
                </c:pt>
                <c:pt idx="348">
                  <c:v>76.770674486803514</c:v>
                </c:pt>
                <c:pt idx="349">
                  <c:v>76.827565982404678</c:v>
                </c:pt>
                <c:pt idx="350">
                  <c:v>76.879178885630495</c:v>
                </c:pt>
                <c:pt idx="351">
                  <c:v>76.758357771261004</c:v>
                </c:pt>
                <c:pt idx="352">
                  <c:v>76.718475073313769</c:v>
                </c:pt>
                <c:pt idx="353">
                  <c:v>76.749560117302067</c:v>
                </c:pt>
                <c:pt idx="354">
                  <c:v>76.713196480938407</c:v>
                </c:pt>
                <c:pt idx="355">
                  <c:v>76.700879765395882</c:v>
                </c:pt>
                <c:pt idx="356">
                  <c:v>76.832258064516125</c:v>
                </c:pt>
                <c:pt idx="357">
                  <c:v>76.750733137829926</c:v>
                </c:pt>
                <c:pt idx="358">
                  <c:v>76.64926686217008</c:v>
                </c:pt>
                <c:pt idx="359">
                  <c:v>76.50615835777127</c:v>
                </c:pt>
                <c:pt idx="360">
                  <c:v>76.425219941348985</c:v>
                </c:pt>
                <c:pt idx="361">
                  <c:v>76.386510263929637</c:v>
                </c:pt>
                <c:pt idx="362">
                  <c:v>76.290909090909111</c:v>
                </c:pt>
                <c:pt idx="363">
                  <c:v>76.334897360703835</c:v>
                </c:pt>
                <c:pt idx="364">
                  <c:v>76.472140762463368</c:v>
                </c:pt>
                <c:pt idx="365">
                  <c:v>76.306158357771281</c:v>
                </c:pt>
                <c:pt idx="366">
                  <c:v>76.379472140762488</c:v>
                </c:pt>
                <c:pt idx="367">
                  <c:v>76.397653958944304</c:v>
                </c:pt>
                <c:pt idx="368">
                  <c:v>76.314956011730231</c:v>
                </c:pt>
                <c:pt idx="369">
                  <c:v>76.350733137829934</c:v>
                </c:pt>
                <c:pt idx="370">
                  <c:v>76.219354838709663</c:v>
                </c:pt>
                <c:pt idx="371">
                  <c:v>76.145454545454541</c:v>
                </c:pt>
                <c:pt idx="372">
                  <c:v>76.131964809384158</c:v>
                </c:pt>
                <c:pt idx="373">
                  <c:v>75.977126099706737</c:v>
                </c:pt>
                <c:pt idx="374">
                  <c:v>75.857478005865119</c:v>
                </c:pt>
                <c:pt idx="375">
                  <c:v>75.828739002932565</c:v>
                </c:pt>
                <c:pt idx="376">
                  <c:v>75.77888563049855</c:v>
                </c:pt>
                <c:pt idx="377">
                  <c:v>75.767741935483869</c:v>
                </c:pt>
                <c:pt idx="378">
                  <c:v>75.683870967741925</c:v>
                </c:pt>
                <c:pt idx="379">
                  <c:v>75.729032258064507</c:v>
                </c:pt>
                <c:pt idx="380">
                  <c:v>75.754252199413472</c:v>
                </c:pt>
                <c:pt idx="381">
                  <c:v>75.72023460410557</c:v>
                </c:pt>
                <c:pt idx="382">
                  <c:v>75.715542521994124</c:v>
                </c:pt>
                <c:pt idx="383">
                  <c:v>75.744281524926677</c:v>
                </c:pt>
                <c:pt idx="384">
                  <c:v>75.750733137829897</c:v>
                </c:pt>
                <c:pt idx="385">
                  <c:v>75.8</c:v>
                </c:pt>
                <c:pt idx="386">
                  <c:v>75.793548387096777</c:v>
                </c:pt>
                <c:pt idx="387">
                  <c:v>75.663343108504378</c:v>
                </c:pt>
                <c:pt idx="388">
                  <c:v>75.714369501466265</c:v>
                </c:pt>
                <c:pt idx="389">
                  <c:v>75.806451612903231</c:v>
                </c:pt>
                <c:pt idx="390">
                  <c:v>75.806451612903231</c:v>
                </c:pt>
                <c:pt idx="391">
                  <c:v>75.728445747800563</c:v>
                </c:pt>
                <c:pt idx="392">
                  <c:v>75.853372434017587</c:v>
                </c:pt>
                <c:pt idx="393">
                  <c:v>75.991788856304979</c:v>
                </c:pt>
                <c:pt idx="394">
                  <c:v>76.052199413489703</c:v>
                </c:pt>
                <c:pt idx="395">
                  <c:v>75.99061583577712</c:v>
                </c:pt>
                <c:pt idx="396">
                  <c:v>76.005278592375348</c:v>
                </c:pt>
                <c:pt idx="397">
                  <c:v>75.980058651026383</c:v>
                </c:pt>
                <c:pt idx="398">
                  <c:v>76.109677419354824</c:v>
                </c:pt>
                <c:pt idx="399">
                  <c:v>76.008211143694993</c:v>
                </c:pt>
                <c:pt idx="400">
                  <c:v>76.120821114369477</c:v>
                </c:pt>
                <c:pt idx="401">
                  <c:v>76.058064516129022</c:v>
                </c:pt>
                <c:pt idx="402">
                  <c:v>76.085043988269774</c:v>
                </c:pt>
                <c:pt idx="403">
                  <c:v>76.083284457477987</c:v>
                </c:pt>
                <c:pt idx="404">
                  <c:v>76.25102639296189</c:v>
                </c:pt>
                <c:pt idx="405">
                  <c:v>76.251612903225819</c:v>
                </c:pt>
                <c:pt idx="406">
                  <c:v>76.198826979472145</c:v>
                </c:pt>
                <c:pt idx="407">
                  <c:v>76.215835777126102</c:v>
                </c:pt>
                <c:pt idx="408">
                  <c:v>76.137243401759548</c:v>
                </c:pt>
                <c:pt idx="409">
                  <c:v>76.27331378299121</c:v>
                </c:pt>
                <c:pt idx="410">
                  <c:v>76.170674486803506</c:v>
                </c:pt>
                <c:pt idx="411">
                  <c:v>76.209970674486812</c:v>
                </c:pt>
                <c:pt idx="412">
                  <c:v>76.278592375366557</c:v>
                </c:pt>
                <c:pt idx="413">
                  <c:v>76.310263929618756</c:v>
                </c:pt>
                <c:pt idx="414">
                  <c:v>76.156598240469208</c:v>
                </c:pt>
                <c:pt idx="415">
                  <c:v>76.106744868035193</c:v>
                </c:pt>
                <c:pt idx="416">
                  <c:v>75.972434017595333</c:v>
                </c:pt>
                <c:pt idx="417">
                  <c:v>75.978885630498553</c:v>
                </c:pt>
                <c:pt idx="418">
                  <c:v>76.015249266862185</c:v>
                </c:pt>
                <c:pt idx="419">
                  <c:v>76.13958944281525</c:v>
                </c:pt>
                <c:pt idx="420">
                  <c:v>76.018181818181816</c:v>
                </c:pt>
                <c:pt idx="421">
                  <c:v>76.212316715542514</c:v>
                </c:pt>
                <c:pt idx="422">
                  <c:v>76.255131964809394</c:v>
                </c:pt>
                <c:pt idx="423">
                  <c:v>76.143108504398839</c:v>
                </c:pt>
                <c:pt idx="424">
                  <c:v>76.061583577712625</c:v>
                </c:pt>
                <c:pt idx="425">
                  <c:v>76.045161290322582</c:v>
                </c:pt>
                <c:pt idx="426">
                  <c:v>76.029912023460412</c:v>
                </c:pt>
                <c:pt idx="427">
                  <c:v>76.211730205278585</c:v>
                </c:pt>
                <c:pt idx="428">
                  <c:v>76.268621700879763</c:v>
                </c:pt>
                <c:pt idx="429">
                  <c:v>76.213489736070372</c:v>
                </c:pt>
                <c:pt idx="430">
                  <c:v>76.373607038123154</c:v>
                </c:pt>
                <c:pt idx="431">
                  <c:v>76.350146627565991</c:v>
                </c:pt>
                <c:pt idx="432">
                  <c:v>76.519648093841639</c:v>
                </c:pt>
                <c:pt idx="433">
                  <c:v>76.546627565982419</c:v>
                </c:pt>
                <c:pt idx="434">
                  <c:v>76.468035190615851</c:v>
                </c:pt>
                <c:pt idx="435">
                  <c:v>76.310263929618799</c:v>
                </c:pt>
                <c:pt idx="436">
                  <c:v>76.485630498533752</c:v>
                </c:pt>
                <c:pt idx="437">
                  <c:v>76.505571847507355</c:v>
                </c:pt>
                <c:pt idx="438">
                  <c:v>76.503812316715567</c:v>
                </c:pt>
                <c:pt idx="439">
                  <c:v>76.448680351906162</c:v>
                </c:pt>
                <c:pt idx="440">
                  <c:v>76.383577712609977</c:v>
                </c:pt>
                <c:pt idx="441">
                  <c:v>76.341935483870984</c:v>
                </c:pt>
                <c:pt idx="442">
                  <c:v>76.344868035190629</c:v>
                </c:pt>
                <c:pt idx="443">
                  <c:v>76.171260997067449</c:v>
                </c:pt>
                <c:pt idx="444">
                  <c:v>76.269208211143706</c:v>
                </c:pt>
                <c:pt idx="445">
                  <c:v>76.401759530791807</c:v>
                </c:pt>
                <c:pt idx="446">
                  <c:v>76.42815249266863</c:v>
                </c:pt>
                <c:pt idx="447">
                  <c:v>76.519648093841639</c:v>
                </c:pt>
                <c:pt idx="448">
                  <c:v>76.548973607038107</c:v>
                </c:pt>
                <c:pt idx="449">
                  <c:v>76.665689149560095</c:v>
                </c:pt>
                <c:pt idx="450">
                  <c:v>76.639296187683257</c:v>
                </c:pt>
                <c:pt idx="451">
                  <c:v>76.837536656891501</c:v>
                </c:pt>
                <c:pt idx="452">
                  <c:v>76.80117302052787</c:v>
                </c:pt>
                <c:pt idx="453">
                  <c:v>76.87565982404692</c:v>
                </c:pt>
                <c:pt idx="454">
                  <c:v>77.032844574780057</c:v>
                </c:pt>
                <c:pt idx="455">
                  <c:v>76.97536656891495</c:v>
                </c:pt>
                <c:pt idx="456">
                  <c:v>77.082697947214072</c:v>
                </c:pt>
                <c:pt idx="457">
                  <c:v>77.008211143695007</c:v>
                </c:pt>
                <c:pt idx="458">
                  <c:v>76.843401759530792</c:v>
                </c:pt>
                <c:pt idx="459">
                  <c:v>76.686803519061584</c:v>
                </c:pt>
                <c:pt idx="460">
                  <c:v>76.604692082111455</c:v>
                </c:pt>
                <c:pt idx="461">
                  <c:v>76.436950146627581</c:v>
                </c:pt>
                <c:pt idx="462">
                  <c:v>76.392375366568928</c:v>
                </c:pt>
                <c:pt idx="463">
                  <c:v>76.418181818181822</c:v>
                </c:pt>
                <c:pt idx="464">
                  <c:v>76.37536656891497</c:v>
                </c:pt>
                <c:pt idx="465">
                  <c:v>76.292668621700884</c:v>
                </c:pt>
                <c:pt idx="466">
                  <c:v>76.245161290322613</c:v>
                </c:pt>
                <c:pt idx="467">
                  <c:v>76.022287390029334</c:v>
                </c:pt>
                <c:pt idx="468">
                  <c:v>76.080351906158384</c:v>
                </c:pt>
                <c:pt idx="469">
                  <c:v>76.263929618768344</c:v>
                </c:pt>
                <c:pt idx="470">
                  <c:v>76.452199413489737</c:v>
                </c:pt>
                <c:pt idx="471">
                  <c:v>76.418181818181807</c:v>
                </c:pt>
                <c:pt idx="472">
                  <c:v>76.482697947214049</c:v>
                </c:pt>
                <c:pt idx="473">
                  <c:v>76.434017595307907</c:v>
                </c:pt>
                <c:pt idx="474">
                  <c:v>76.480938416422291</c:v>
                </c:pt>
                <c:pt idx="475">
                  <c:v>76.432258064516148</c:v>
                </c:pt>
                <c:pt idx="476">
                  <c:v>76.378885630498544</c:v>
                </c:pt>
                <c:pt idx="477">
                  <c:v>76.2950146627566</c:v>
                </c:pt>
                <c:pt idx="478">
                  <c:v>76.237536656891479</c:v>
                </c:pt>
                <c:pt idx="479">
                  <c:v>76.200586510263918</c:v>
                </c:pt>
                <c:pt idx="480">
                  <c:v>76.087390029325505</c:v>
                </c:pt>
                <c:pt idx="481">
                  <c:v>75.990615835777135</c:v>
                </c:pt>
                <c:pt idx="482">
                  <c:v>75.917302052785914</c:v>
                </c:pt>
                <c:pt idx="483">
                  <c:v>75.899706744868027</c:v>
                </c:pt>
                <c:pt idx="484">
                  <c:v>75.799999999999983</c:v>
                </c:pt>
                <c:pt idx="485">
                  <c:v>75.669794721407598</c:v>
                </c:pt>
                <c:pt idx="486">
                  <c:v>75.821700879765388</c:v>
                </c:pt>
                <c:pt idx="487">
                  <c:v>75.661583577712605</c:v>
                </c:pt>
                <c:pt idx="488">
                  <c:v>75.72727272727272</c:v>
                </c:pt>
                <c:pt idx="489">
                  <c:v>75.875073313782991</c:v>
                </c:pt>
                <c:pt idx="490">
                  <c:v>75.834604105571856</c:v>
                </c:pt>
                <c:pt idx="491">
                  <c:v>75.784750733137841</c:v>
                </c:pt>
                <c:pt idx="492">
                  <c:v>75.926686217008807</c:v>
                </c:pt>
                <c:pt idx="493">
                  <c:v>75.864516129032268</c:v>
                </c:pt>
                <c:pt idx="494">
                  <c:v>75.785923753665685</c:v>
                </c:pt>
                <c:pt idx="495">
                  <c:v>75.771847507331373</c:v>
                </c:pt>
                <c:pt idx="496">
                  <c:v>75.837536656891487</c:v>
                </c:pt>
                <c:pt idx="497">
                  <c:v>75.863929618768324</c:v>
                </c:pt>
                <c:pt idx="498">
                  <c:v>75.887390029325502</c:v>
                </c:pt>
                <c:pt idx="499">
                  <c:v>75.853958944281516</c:v>
                </c:pt>
                <c:pt idx="500">
                  <c:v>75.832258064516125</c:v>
                </c:pt>
                <c:pt idx="501">
                  <c:v>75.826392961876834</c:v>
                </c:pt>
                <c:pt idx="502">
                  <c:v>75.824046920821104</c:v>
                </c:pt>
                <c:pt idx="503">
                  <c:v>75.710850439882677</c:v>
                </c:pt>
                <c:pt idx="504">
                  <c:v>75.825806451612905</c:v>
                </c:pt>
                <c:pt idx="505">
                  <c:v>75.883284457477998</c:v>
                </c:pt>
                <c:pt idx="506">
                  <c:v>75.919061583577701</c:v>
                </c:pt>
                <c:pt idx="507">
                  <c:v>75.958357771260992</c:v>
                </c:pt>
                <c:pt idx="508">
                  <c:v>75.890909090909076</c:v>
                </c:pt>
                <c:pt idx="509">
                  <c:v>75.992961876832837</c:v>
                </c:pt>
                <c:pt idx="510">
                  <c:v>76.156598240469194</c:v>
                </c:pt>
                <c:pt idx="511">
                  <c:v>76.315542521994132</c:v>
                </c:pt>
                <c:pt idx="512">
                  <c:v>76.395894428152488</c:v>
                </c:pt>
                <c:pt idx="513">
                  <c:v>76.330791788856317</c:v>
                </c:pt>
                <c:pt idx="514">
                  <c:v>76.291495601173011</c:v>
                </c:pt>
                <c:pt idx="515">
                  <c:v>76.353665689149565</c:v>
                </c:pt>
                <c:pt idx="516">
                  <c:v>76.519061583577709</c:v>
                </c:pt>
                <c:pt idx="517">
                  <c:v>76.560703812316703</c:v>
                </c:pt>
                <c:pt idx="518">
                  <c:v>76.626979472140746</c:v>
                </c:pt>
                <c:pt idx="519">
                  <c:v>76.726686217008776</c:v>
                </c:pt>
                <c:pt idx="520">
                  <c:v>76.629912023460406</c:v>
                </c:pt>
                <c:pt idx="521">
                  <c:v>76.710850439882691</c:v>
                </c:pt>
                <c:pt idx="522">
                  <c:v>76.870381231671573</c:v>
                </c:pt>
                <c:pt idx="523">
                  <c:v>76.812316715542536</c:v>
                </c:pt>
                <c:pt idx="524">
                  <c:v>76.74780058651028</c:v>
                </c:pt>
                <c:pt idx="525">
                  <c:v>76.736656891495599</c:v>
                </c:pt>
                <c:pt idx="526">
                  <c:v>76.85630498533726</c:v>
                </c:pt>
                <c:pt idx="527">
                  <c:v>76.844574780058664</c:v>
                </c:pt>
                <c:pt idx="528">
                  <c:v>77.008211143695021</c:v>
                </c:pt>
                <c:pt idx="529">
                  <c:v>77.195894428152485</c:v>
                </c:pt>
                <c:pt idx="530">
                  <c:v>77.139002932551307</c:v>
                </c:pt>
                <c:pt idx="531">
                  <c:v>77.087976539589434</c:v>
                </c:pt>
                <c:pt idx="532">
                  <c:v>77.075659824046909</c:v>
                </c:pt>
                <c:pt idx="533">
                  <c:v>77.189442815249251</c:v>
                </c:pt>
                <c:pt idx="534">
                  <c:v>77.412316715542516</c:v>
                </c:pt>
                <c:pt idx="535">
                  <c:v>77.330791788856288</c:v>
                </c:pt>
                <c:pt idx="536">
                  <c:v>77.393548387096757</c:v>
                </c:pt>
                <c:pt idx="537">
                  <c:v>77.216422287390017</c:v>
                </c:pt>
                <c:pt idx="538">
                  <c:v>77.117302052785931</c:v>
                </c:pt>
                <c:pt idx="539">
                  <c:v>77.277419354838727</c:v>
                </c:pt>
                <c:pt idx="540">
                  <c:v>77.262170087976543</c:v>
                </c:pt>
                <c:pt idx="541">
                  <c:v>77.036950146627575</c:v>
                </c:pt>
                <c:pt idx="542">
                  <c:v>76.851612903225828</c:v>
                </c:pt>
                <c:pt idx="543">
                  <c:v>76.901466275659843</c:v>
                </c:pt>
                <c:pt idx="544">
                  <c:v>76.831671554252225</c:v>
                </c:pt>
                <c:pt idx="545">
                  <c:v>76.826392961876849</c:v>
                </c:pt>
                <c:pt idx="546">
                  <c:v>76.750146627565996</c:v>
                </c:pt>
                <c:pt idx="547">
                  <c:v>76.750146627565968</c:v>
                </c:pt>
                <c:pt idx="548">
                  <c:v>76.66510263929618</c:v>
                </c:pt>
                <c:pt idx="549">
                  <c:v>76.744868035190606</c:v>
                </c:pt>
                <c:pt idx="550">
                  <c:v>76.716715542521996</c:v>
                </c:pt>
                <c:pt idx="551">
                  <c:v>76.767741935483883</c:v>
                </c:pt>
                <c:pt idx="552">
                  <c:v>76.758944281524933</c:v>
                </c:pt>
                <c:pt idx="553">
                  <c:v>76.634604105571853</c:v>
                </c:pt>
                <c:pt idx="554">
                  <c:v>76.726686217008805</c:v>
                </c:pt>
                <c:pt idx="555">
                  <c:v>76.753079178885642</c:v>
                </c:pt>
                <c:pt idx="556">
                  <c:v>76.842228739002948</c:v>
                </c:pt>
                <c:pt idx="557">
                  <c:v>76.850439882697955</c:v>
                </c:pt>
                <c:pt idx="558">
                  <c:v>76.970674486803517</c:v>
                </c:pt>
                <c:pt idx="559">
                  <c:v>76.767155425219954</c:v>
                </c:pt>
                <c:pt idx="560">
                  <c:v>76.771847507331387</c:v>
                </c:pt>
                <c:pt idx="561">
                  <c:v>76.945454545454567</c:v>
                </c:pt>
                <c:pt idx="562">
                  <c:v>76.815249266862182</c:v>
                </c:pt>
                <c:pt idx="563">
                  <c:v>76.632258064516137</c:v>
                </c:pt>
                <c:pt idx="564">
                  <c:v>76.56187683284459</c:v>
                </c:pt>
                <c:pt idx="565">
                  <c:v>76.417595307917907</c:v>
                </c:pt>
                <c:pt idx="566">
                  <c:v>76.392375366568942</c:v>
                </c:pt>
                <c:pt idx="567">
                  <c:v>76.295014662756614</c:v>
                </c:pt>
                <c:pt idx="568">
                  <c:v>76.296187683284472</c:v>
                </c:pt>
                <c:pt idx="569">
                  <c:v>76.377126099706757</c:v>
                </c:pt>
                <c:pt idx="570">
                  <c:v>76.354838709677438</c:v>
                </c:pt>
                <c:pt idx="571">
                  <c:v>76.201173020527875</c:v>
                </c:pt>
                <c:pt idx="572">
                  <c:v>76.351906158357792</c:v>
                </c:pt>
                <c:pt idx="573">
                  <c:v>76.548973607038135</c:v>
                </c:pt>
                <c:pt idx="574">
                  <c:v>76.333137829912033</c:v>
                </c:pt>
                <c:pt idx="575">
                  <c:v>76.374780058651027</c:v>
                </c:pt>
                <c:pt idx="576">
                  <c:v>76.350733137829906</c:v>
                </c:pt>
                <c:pt idx="577">
                  <c:v>76.454545454545453</c:v>
                </c:pt>
                <c:pt idx="578">
                  <c:v>76.398240469208204</c:v>
                </c:pt>
                <c:pt idx="579">
                  <c:v>76.377126099706743</c:v>
                </c:pt>
                <c:pt idx="580">
                  <c:v>76.229325513196471</c:v>
                </c:pt>
                <c:pt idx="581">
                  <c:v>76.1642228739003</c:v>
                </c:pt>
                <c:pt idx="582">
                  <c:v>76.080351906158356</c:v>
                </c:pt>
                <c:pt idx="583">
                  <c:v>76.103812316715548</c:v>
                </c:pt>
                <c:pt idx="584">
                  <c:v>76.066862170087973</c:v>
                </c:pt>
                <c:pt idx="585">
                  <c:v>75.950146627565999</c:v>
                </c:pt>
                <c:pt idx="586">
                  <c:v>75.998240469208227</c:v>
                </c:pt>
                <c:pt idx="587">
                  <c:v>75.872727272727303</c:v>
                </c:pt>
                <c:pt idx="588">
                  <c:v>75.715542521994138</c:v>
                </c:pt>
                <c:pt idx="589">
                  <c:v>75.735483870967741</c:v>
                </c:pt>
                <c:pt idx="590">
                  <c:v>75.890909090909091</c:v>
                </c:pt>
                <c:pt idx="591">
                  <c:v>75.771847507331373</c:v>
                </c:pt>
                <c:pt idx="592">
                  <c:v>75.680938416422265</c:v>
                </c:pt>
                <c:pt idx="593">
                  <c:v>75.751906158357741</c:v>
                </c:pt>
                <c:pt idx="594">
                  <c:v>75.91319648093841</c:v>
                </c:pt>
                <c:pt idx="595">
                  <c:v>76.01935483870966</c:v>
                </c:pt>
                <c:pt idx="596">
                  <c:v>76.154252199413477</c:v>
                </c:pt>
                <c:pt idx="597">
                  <c:v>76.278592375366571</c:v>
                </c:pt>
                <c:pt idx="598">
                  <c:v>76.384750733137821</c:v>
                </c:pt>
                <c:pt idx="599">
                  <c:v>76.51847507331378</c:v>
                </c:pt>
                <c:pt idx="600">
                  <c:v>76.449853372434021</c:v>
                </c:pt>
                <c:pt idx="601">
                  <c:v>76.37888563049853</c:v>
                </c:pt>
                <c:pt idx="602">
                  <c:v>76.629325513196477</c:v>
                </c:pt>
                <c:pt idx="603">
                  <c:v>76.672727272727258</c:v>
                </c:pt>
                <c:pt idx="604">
                  <c:v>76.685043988269783</c:v>
                </c:pt>
                <c:pt idx="605">
                  <c:v>76.937243401759531</c:v>
                </c:pt>
                <c:pt idx="606">
                  <c:v>77.114369501466285</c:v>
                </c:pt>
                <c:pt idx="607">
                  <c:v>77.196480938416414</c:v>
                </c:pt>
                <c:pt idx="608">
                  <c:v>77.233431085043975</c:v>
                </c:pt>
                <c:pt idx="609">
                  <c:v>77.282111436950146</c:v>
                </c:pt>
                <c:pt idx="610">
                  <c:v>77.451612903225794</c:v>
                </c:pt>
                <c:pt idx="611">
                  <c:v>77.557771260997058</c:v>
                </c:pt>
                <c:pt idx="612">
                  <c:v>77.635190615835782</c:v>
                </c:pt>
                <c:pt idx="613">
                  <c:v>77.72668621700879</c:v>
                </c:pt>
                <c:pt idx="614">
                  <c:v>77.814662756598239</c:v>
                </c:pt>
                <c:pt idx="615">
                  <c:v>77.928445747800581</c:v>
                </c:pt>
                <c:pt idx="616">
                  <c:v>77.949560117302056</c:v>
                </c:pt>
                <c:pt idx="617">
                  <c:v>77.99120234604105</c:v>
                </c:pt>
                <c:pt idx="618">
                  <c:v>78.154838709677421</c:v>
                </c:pt>
                <c:pt idx="619">
                  <c:v>78.387683284457481</c:v>
                </c:pt>
                <c:pt idx="620">
                  <c:v>78.329618768328444</c:v>
                </c:pt>
                <c:pt idx="621">
                  <c:v>78.458064516129028</c:v>
                </c:pt>
                <c:pt idx="622">
                  <c:v>78.596480938416406</c:v>
                </c:pt>
                <c:pt idx="623">
                  <c:v>78.633431085043981</c:v>
                </c:pt>
                <c:pt idx="624">
                  <c:v>78.831085043988253</c:v>
                </c:pt>
                <c:pt idx="625">
                  <c:v>78.821114369501458</c:v>
                </c:pt>
                <c:pt idx="626">
                  <c:v>78.826979472140764</c:v>
                </c:pt>
                <c:pt idx="627">
                  <c:v>78.858651026392963</c:v>
                </c:pt>
                <c:pt idx="628">
                  <c:v>78.840469208211161</c:v>
                </c:pt>
                <c:pt idx="629">
                  <c:v>78.897947214076268</c:v>
                </c:pt>
                <c:pt idx="630">
                  <c:v>78.925513196480964</c:v>
                </c:pt>
                <c:pt idx="631">
                  <c:v>79.043401759530809</c:v>
                </c:pt>
                <c:pt idx="632">
                  <c:v>79.129032258064527</c:v>
                </c:pt>
                <c:pt idx="633">
                  <c:v>79.116715542522002</c:v>
                </c:pt>
                <c:pt idx="634">
                  <c:v>79.154252199413492</c:v>
                </c:pt>
                <c:pt idx="635">
                  <c:v>79.04398826979471</c:v>
                </c:pt>
                <c:pt idx="636">
                  <c:v>79.035777126099703</c:v>
                </c:pt>
                <c:pt idx="637">
                  <c:v>79.084457478005874</c:v>
                </c:pt>
                <c:pt idx="638">
                  <c:v>79.108504398826994</c:v>
                </c:pt>
                <c:pt idx="639">
                  <c:v>79.035777126099731</c:v>
                </c:pt>
                <c:pt idx="640">
                  <c:v>79.082111436950171</c:v>
                </c:pt>
                <c:pt idx="641">
                  <c:v>79.086217008797675</c:v>
                </c:pt>
                <c:pt idx="642">
                  <c:v>79.177712609970669</c:v>
                </c:pt>
                <c:pt idx="643">
                  <c:v>79.147800586510257</c:v>
                </c:pt>
                <c:pt idx="644">
                  <c:v>79.19530791788857</c:v>
                </c:pt>
                <c:pt idx="645">
                  <c:v>79.097947214076228</c:v>
                </c:pt>
                <c:pt idx="646">
                  <c:v>78.965395894428156</c:v>
                </c:pt>
                <c:pt idx="647">
                  <c:v>78.982991202346042</c:v>
                </c:pt>
                <c:pt idx="648">
                  <c:v>79.034604105571859</c:v>
                </c:pt>
                <c:pt idx="649">
                  <c:v>78.831671554252196</c:v>
                </c:pt>
                <c:pt idx="650">
                  <c:v>78.667448680351896</c:v>
                </c:pt>
                <c:pt idx="651">
                  <c:v>78.537829912023454</c:v>
                </c:pt>
                <c:pt idx="652">
                  <c:v>78.429325513196488</c:v>
                </c:pt>
                <c:pt idx="653">
                  <c:v>78.312609970674501</c:v>
                </c:pt>
                <c:pt idx="654">
                  <c:v>78.271554252199437</c:v>
                </c:pt>
                <c:pt idx="655">
                  <c:v>78.018181818181816</c:v>
                </c:pt>
                <c:pt idx="656">
                  <c:v>78.04633431085044</c:v>
                </c:pt>
                <c:pt idx="657">
                  <c:v>77.982404692082113</c:v>
                </c:pt>
                <c:pt idx="658">
                  <c:v>77.968328445747801</c:v>
                </c:pt>
                <c:pt idx="659">
                  <c:v>77.883870967741927</c:v>
                </c:pt>
                <c:pt idx="660">
                  <c:v>77.676246334310861</c:v>
                </c:pt>
                <c:pt idx="661">
                  <c:v>77.626392961876832</c:v>
                </c:pt>
                <c:pt idx="662">
                  <c:v>77.6392961876833</c:v>
                </c:pt>
                <c:pt idx="663">
                  <c:v>77.485630498533752</c:v>
                </c:pt>
                <c:pt idx="664">
                  <c:v>77.421114369501467</c:v>
                </c:pt>
                <c:pt idx="665">
                  <c:v>77.234604105571847</c:v>
                </c:pt>
                <c:pt idx="666">
                  <c:v>77.123167155425222</c:v>
                </c:pt>
                <c:pt idx="667">
                  <c:v>76.923167155425219</c:v>
                </c:pt>
                <c:pt idx="668">
                  <c:v>76.649266862170094</c:v>
                </c:pt>
                <c:pt idx="669">
                  <c:v>76.679178885630506</c:v>
                </c:pt>
                <c:pt idx="670">
                  <c:v>76.752492668621713</c:v>
                </c:pt>
                <c:pt idx="671">
                  <c:v>76.56129032258066</c:v>
                </c:pt>
                <c:pt idx="672">
                  <c:v>76.302639296187678</c:v>
                </c:pt>
                <c:pt idx="673">
                  <c:v>76.276246334310855</c:v>
                </c:pt>
                <c:pt idx="674">
                  <c:v>76.148973607038116</c:v>
                </c:pt>
                <c:pt idx="675">
                  <c:v>76.167155425219946</c:v>
                </c:pt>
                <c:pt idx="676">
                  <c:v>76.22111436950145</c:v>
                </c:pt>
                <c:pt idx="677">
                  <c:v>76.292082111436955</c:v>
                </c:pt>
                <c:pt idx="678">
                  <c:v>76.30439882697948</c:v>
                </c:pt>
                <c:pt idx="679">
                  <c:v>76.324926686217012</c:v>
                </c:pt>
                <c:pt idx="680">
                  <c:v>76.464516129032262</c:v>
                </c:pt>
                <c:pt idx="681">
                  <c:v>76.529618768328447</c:v>
                </c:pt>
                <c:pt idx="682">
                  <c:v>76.611143695014661</c:v>
                </c:pt>
                <c:pt idx="683">
                  <c:v>76.627565982404704</c:v>
                </c:pt>
                <c:pt idx="684">
                  <c:v>76.643401759530803</c:v>
                </c:pt>
                <c:pt idx="685">
                  <c:v>76.537829912023469</c:v>
                </c:pt>
                <c:pt idx="686">
                  <c:v>76.615249266862165</c:v>
                </c:pt>
                <c:pt idx="687">
                  <c:v>76.568328445747824</c:v>
                </c:pt>
                <c:pt idx="688">
                  <c:v>76.523167155425227</c:v>
                </c:pt>
                <c:pt idx="689">
                  <c:v>76.469794721407638</c:v>
                </c:pt>
                <c:pt idx="690">
                  <c:v>76.568328445747809</c:v>
                </c:pt>
                <c:pt idx="691">
                  <c:v>76.523167155425227</c:v>
                </c:pt>
                <c:pt idx="692">
                  <c:v>76.410557184750743</c:v>
                </c:pt>
                <c:pt idx="693">
                  <c:v>76.384164222873906</c:v>
                </c:pt>
                <c:pt idx="694">
                  <c:v>76.419354838709666</c:v>
                </c:pt>
                <c:pt idx="695">
                  <c:v>76.360117302052785</c:v>
                </c:pt>
                <c:pt idx="696">
                  <c:v>76.322580645161281</c:v>
                </c:pt>
                <c:pt idx="697">
                  <c:v>76.412903225806431</c:v>
                </c:pt>
                <c:pt idx="698">
                  <c:v>76.412316715542516</c:v>
                </c:pt>
                <c:pt idx="699">
                  <c:v>76.481524926686205</c:v>
                </c:pt>
                <c:pt idx="700">
                  <c:v>76.33900293255131</c:v>
                </c:pt>
                <c:pt idx="701">
                  <c:v>76.327859237536671</c:v>
                </c:pt>
                <c:pt idx="702">
                  <c:v>76.387683284457481</c:v>
                </c:pt>
                <c:pt idx="703">
                  <c:v>76.478592375366574</c:v>
                </c:pt>
                <c:pt idx="704">
                  <c:v>76.461583577712616</c:v>
                </c:pt>
                <c:pt idx="705">
                  <c:v>76.530205278592376</c:v>
                </c:pt>
                <c:pt idx="706">
                  <c:v>76.469208211143695</c:v>
                </c:pt>
                <c:pt idx="707">
                  <c:v>76.488563049853383</c:v>
                </c:pt>
                <c:pt idx="708">
                  <c:v>76.51495601173022</c:v>
                </c:pt>
                <c:pt idx="709">
                  <c:v>76.570087976539583</c:v>
                </c:pt>
                <c:pt idx="710">
                  <c:v>76.49970674486805</c:v>
                </c:pt>
                <c:pt idx="711">
                  <c:v>76.46041055718473</c:v>
                </c:pt>
                <c:pt idx="712">
                  <c:v>76.458651026392971</c:v>
                </c:pt>
                <c:pt idx="713">
                  <c:v>76.517302052785951</c:v>
                </c:pt>
                <c:pt idx="714">
                  <c:v>76.534897360703823</c:v>
                </c:pt>
                <c:pt idx="715">
                  <c:v>76.405278592375382</c:v>
                </c:pt>
                <c:pt idx="716">
                  <c:v>76.533137829912022</c:v>
                </c:pt>
                <c:pt idx="717">
                  <c:v>76.538416422287398</c:v>
                </c:pt>
                <c:pt idx="718">
                  <c:v>76.50322580645161</c:v>
                </c:pt>
                <c:pt idx="719">
                  <c:v>76.548973607038121</c:v>
                </c:pt>
                <c:pt idx="720">
                  <c:v>76.591202346041058</c:v>
                </c:pt>
                <c:pt idx="721">
                  <c:v>76.609970674486803</c:v>
                </c:pt>
                <c:pt idx="722">
                  <c:v>76.823460410557189</c:v>
                </c:pt>
                <c:pt idx="723">
                  <c:v>76.835777126099714</c:v>
                </c:pt>
                <c:pt idx="724">
                  <c:v>76.928445747800595</c:v>
                </c:pt>
                <c:pt idx="725">
                  <c:v>77.082697947214086</c:v>
                </c:pt>
                <c:pt idx="726">
                  <c:v>76.964809384164241</c:v>
                </c:pt>
                <c:pt idx="727">
                  <c:v>76.960117302052794</c:v>
                </c:pt>
                <c:pt idx="728">
                  <c:v>76.977126099706737</c:v>
                </c:pt>
                <c:pt idx="729">
                  <c:v>76.953079178885631</c:v>
                </c:pt>
                <c:pt idx="730">
                  <c:v>77.09032258064515</c:v>
                </c:pt>
                <c:pt idx="731">
                  <c:v>77.003519061583575</c:v>
                </c:pt>
                <c:pt idx="732">
                  <c:v>77.032844574780043</c:v>
                </c:pt>
                <c:pt idx="733">
                  <c:v>77.048680351906143</c:v>
                </c:pt>
                <c:pt idx="734">
                  <c:v>77.097947214076228</c:v>
                </c:pt>
                <c:pt idx="735">
                  <c:v>76.976539589442808</c:v>
                </c:pt>
                <c:pt idx="736">
                  <c:v>77.051612903225816</c:v>
                </c:pt>
                <c:pt idx="737">
                  <c:v>77.087976539589434</c:v>
                </c:pt>
                <c:pt idx="738">
                  <c:v>77.049853372434001</c:v>
                </c:pt>
                <c:pt idx="739">
                  <c:v>77.051612903225788</c:v>
                </c:pt>
                <c:pt idx="740">
                  <c:v>77.015835777126085</c:v>
                </c:pt>
                <c:pt idx="741">
                  <c:v>77.074486803519051</c:v>
                </c:pt>
                <c:pt idx="742">
                  <c:v>76.968328445747787</c:v>
                </c:pt>
                <c:pt idx="743">
                  <c:v>76.912609970674467</c:v>
                </c:pt>
                <c:pt idx="744">
                  <c:v>76.858651026392948</c:v>
                </c:pt>
                <c:pt idx="745">
                  <c:v>76.73958944281523</c:v>
                </c:pt>
                <c:pt idx="746">
                  <c:v>76.865689149560097</c:v>
                </c:pt>
                <c:pt idx="747">
                  <c:v>76.741348973607018</c:v>
                </c:pt>
                <c:pt idx="748">
                  <c:v>76.76187683284455</c:v>
                </c:pt>
                <c:pt idx="749">
                  <c:v>76.717302052785925</c:v>
                </c:pt>
                <c:pt idx="750">
                  <c:v>76.719648093841641</c:v>
                </c:pt>
                <c:pt idx="751">
                  <c:v>76.615835777126108</c:v>
                </c:pt>
                <c:pt idx="752">
                  <c:v>76.568914956011739</c:v>
                </c:pt>
                <c:pt idx="753">
                  <c:v>76.554252199413483</c:v>
                </c:pt>
                <c:pt idx="754">
                  <c:v>76.654545454545456</c:v>
                </c:pt>
                <c:pt idx="755">
                  <c:v>76.441642228739013</c:v>
                </c:pt>
                <c:pt idx="756">
                  <c:v>76.312609970674487</c:v>
                </c:pt>
                <c:pt idx="757">
                  <c:v>76.331378299120246</c:v>
                </c:pt>
                <c:pt idx="758">
                  <c:v>76.353665689149565</c:v>
                </c:pt>
                <c:pt idx="759">
                  <c:v>76.418768328445765</c:v>
                </c:pt>
                <c:pt idx="760">
                  <c:v>76.51495601173022</c:v>
                </c:pt>
                <c:pt idx="761">
                  <c:v>76.434017595307921</c:v>
                </c:pt>
                <c:pt idx="762">
                  <c:v>76.531964809384178</c:v>
                </c:pt>
                <c:pt idx="763">
                  <c:v>76.350146627565991</c:v>
                </c:pt>
                <c:pt idx="764">
                  <c:v>76.377712609970672</c:v>
                </c:pt>
                <c:pt idx="765">
                  <c:v>76.392375366568913</c:v>
                </c:pt>
                <c:pt idx="766">
                  <c:v>76.356011730205282</c:v>
                </c:pt>
                <c:pt idx="767">
                  <c:v>76.297947214076245</c:v>
                </c:pt>
                <c:pt idx="768">
                  <c:v>76.268621700879777</c:v>
                </c:pt>
                <c:pt idx="769">
                  <c:v>76.165982404692087</c:v>
                </c:pt>
                <c:pt idx="770">
                  <c:v>76.2299120234604</c:v>
                </c:pt>
                <c:pt idx="771">
                  <c:v>76.140175953079179</c:v>
                </c:pt>
                <c:pt idx="772">
                  <c:v>76.01290322580644</c:v>
                </c:pt>
                <c:pt idx="773">
                  <c:v>76.123167155425207</c:v>
                </c:pt>
                <c:pt idx="774">
                  <c:v>76.176539589442811</c:v>
                </c:pt>
                <c:pt idx="775">
                  <c:v>76.103225806451618</c:v>
                </c:pt>
                <c:pt idx="776">
                  <c:v>76.123167155425236</c:v>
                </c:pt>
                <c:pt idx="777">
                  <c:v>76.154838709677435</c:v>
                </c:pt>
                <c:pt idx="778">
                  <c:v>76.246920821114387</c:v>
                </c:pt>
                <c:pt idx="779">
                  <c:v>76.286217008797678</c:v>
                </c:pt>
                <c:pt idx="780">
                  <c:v>76.238709677419351</c:v>
                </c:pt>
                <c:pt idx="781">
                  <c:v>76.247507331378316</c:v>
                </c:pt>
                <c:pt idx="782">
                  <c:v>76.319061583577721</c:v>
                </c:pt>
                <c:pt idx="783">
                  <c:v>76.216422287390031</c:v>
                </c:pt>
                <c:pt idx="784">
                  <c:v>76.015249266862185</c:v>
                </c:pt>
                <c:pt idx="785">
                  <c:v>76.075073313783008</c:v>
                </c:pt>
                <c:pt idx="786">
                  <c:v>76.223460410557223</c:v>
                </c:pt>
                <c:pt idx="787">
                  <c:v>76.289149560117323</c:v>
                </c:pt>
                <c:pt idx="788">
                  <c:v>76.265102639296202</c:v>
                </c:pt>
                <c:pt idx="789">
                  <c:v>76.275659824046926</c:v>
                </c:pt>
                <c:pt idx="790">
                  <c:v>76.312023460410558</c:v>
                </c:pt>
                <c:pt idx="791">
                  <c:v>76.247507331378287</c:v>
                </c:pt>
                <c:pt idx="792">
                  <c:v>76.23929618768328</c:v>
                </c:pt>
                <c:pt idx="793">
                  <c:v>76.278592375366586</c:v>
                </c:pt>
                <c:pt idx="794">
                  <c:v>76.292082111436955</c:v>
                </c:pt>
                <c:pt idx="795">
                  <c:v>76.320821114369508</c:v>
                </c:pt>
                <c:pt idx="796">
                  <c:v>76.191202346041052</c:v>
                </c:pt>
                <c:pt idx="797">
                  <c:v>76.204105571847506</c:v>
                </c:pt>
                <c:pt idx="798">
                  <c:v>76.22346041055718</c:v>
                </c:pt>
                <c:pt idx="799">
                  <c:v>76.109677419354824</c:v>
                </c:pt>
                <c:pt idx="800">
                  <c:v>76.240469208211124</c:v>
                </c:pt>
                <c:pt idx="801">
                  <c:v>76.074486803519036</c:v>
                </c:pt>
                <c:pt idx="802">
                  <c:v>76.195894428152471</c:v>
                </c:pt>
                <c:pt idx="803">
                  <c:v>76.194721407624613</c:v>
                </c:pt>
                <c:pt idx="804">
                  <c:v>76.131964809384158</c:v>
                </c:pt>
                <c:pt idx="805">
                  <c:v>76.067448680351916</c:v>
                </c:pt>
                <c:pt idx="806">
                  <c:v>76.15894428152491</c:v>
                </c:pt>
                <c:pt idx="807">
                  <c:v>76.217008797653946</c:v>
                </c:pt>
                <c:pt idx="808">
                  <c:v>76.082111436950115</c:v>
                </c:pt>
                <c:pt idx="809">
                  <c:v>76.029912023460383</c:v>
                </c:pt>
                <c:pt idx="810">
                  <c:v>75.99472140762461</c:v>
                </c:pt>
                <c:pt idx="811">
                  <c:v>76.17829912023457</c:v>
                </c:pt>
                <c:pt idx="812">
                  <c:v>76.157771260997038</c:v>
                </c:pt>
                <c:pt idx="813">
                  <c:v>76.049853372434015</c:v>
                </c:pt>
                <c:pt idx="814">
                  <c:v>76.189442815249251</c:v>
                </c:pt>
                <c:pt idx="815">
                  <c:v>76.191788856304981</c:v>
                </c:pt>
                <c:pt idx="816">
                  <c:v>76.122580645161293</c:v>
                </c:pt>
                <c:pt idx="817">
                  <c:v>75.964809384164226</c:v>
                </c:pt>
                <c:pt idx="818">
                  <c:v>75.849853372434026</c:v>
                </c:pt>
                <c:pt idx="819">
                  <c:v>75.919061583577701</c:v>
                </c:pt>
                <c:pt idx="820">
                  <c:v>76.033431085043986</c:v>
                </c:pt>
                <c:pt idx="821">
                  <c:v>76.01290322580644</c:v>
                </c:pt>
                <c:pt idx="822">
                  <c:v>76.107331378299108</c:v>
                </c:pt>
                <c:pt idx="823">
                  <c:v>76.140175953079151</c:v>
                </c:pt>
                <c:pt idx="824">
                  <c:v>76.028739002932554</c:v>
                </c:pt>
                <c:pt idx="825">
                  <c:v>76.031671554252185</c:v>
                </c:pt>
                <c:pt idx="826">
                  <c:v>76.022873900293263</c:v>
                </c:pt>
                <c:pt idx="827">
                  <c:v>76.147214076246343</c:v>
                </c:pt>
                <c:pt idx="828">
                  <c:v>76.206451612903237</c:v>
                </c:pt>
                <c:pt idx="829">
                  <c:v>76.143108504398811</c:v>
                </c:pt>
                <c:pt idx="830">
                  <c:v>76.180645161290315</c:v>
                </c:pt>
                <c:pt idx="831">
                  <c:v>76.133137829912016</c:v>
                </c:pt>
                <c:pt idx="832">
                  <c:v>76.218768328445719</c:v>
                </c:pt>
                <c:pt idx="833">
                  <c:v>76.050439882697916</c:v>
                </c:pt>
                <c:pt idx="834">
                  <c:v>76.018768328445717</c:v>
                </c:pt>
                <c:pt idx="835">
                  <c:v>76.093255131964796</c:v>
                </c:pt>
                <c:pt idx="836">
                  <c:v>76.000586510263915</c:v>
                </c:pt>
                <c:pt idx="837">
                  <c:v>76.073313782991193</c:v>
                </c:pt>
                <c:pt idx="838">
                  <c:v>75.914956011730197</c:v>
                </c:pt>
                <c:pt idx="839">
                  <c:v>75.961876832844567</c:v>
                </c:pt>
                <c:pt idx="840">
                  <c:v>76.113196480938413</c:v>
                </c:pt>
                <c:pt idx="841">
                  <c:v>76.089736070381221</c:v>
                </c:pt>
                <c:pt idx="842">
                  <c:v>76.049853372434015</c:v>
                </c:pt>
                <c:pt idx="843">
                  <c:v>75.988856304985347</c:v>
                </c:pt>
                <c:pt idx="844">
                  <c:v>76.01173020527861</c:v>
                </c:pt>
                <c:pt idx="845">
                  <c:v>75.902639296187687</c:v>
                </c:pt>
                <c:pt idx="846">
                  <c:v>75.922580645161304</c:v>
                </c:pt>
                <c:pt idx="847">
                  <c:v>75.970674486803517</c:v>
                </c:pt>
                <c:pt idx="848">
                  <c:v>76.109090909090895</c:v>
                </c:pt>
                <c:pt idx="849">
                  <c:v>76.246920821114344</c:v>
                </c:pt>
                <c:pt idx="850">
                  <c:v>76.327859237536643</c:v>
                </c:pt>
                <c:pt idx="851">
                  <c:v>76.333724340175948</c:v>
                </c:pt>
                <c:pt idx="852">
                  <c:v>76.346627565982388</c:v>
                </c:pt>
                <c:pt idx="853">
                  <c:v>76.269794721407621</c:v>
                </c:pt>
                <c:pt idx="854">
                  <c:v>76.320821114369494</c:v>
                </c:pt>
                <c:pt idx="855">
                  <c:v>76.315542521994146</c:v>
                </c:pt>
                <c:pt idx="856">
                  <c:v>76.482697947214078</c:v>
                </c:pt>
                <c:pt idx="857">
                  <c:v>76.378299120234601</c:v>
                </c:pt>
                <c:pt idx="858">
                  <c:v>76.304398826979465</c:v>
                </c:pt>
                <c:pt idx="859">
                  <c:v>76.381231671554247</c:v>
                </c:pt>
                <c:pt idx="860">
                  <c:v>76.52258064516127</c:v>
                </c:pt>
                <c:pt idx="861">
                  <c:v>76.484457478005851</c:v>
                </c:pt>
                <c:pt idx="862">
                  <c:v>76.550146627565951</c:v>
                </c:pt>
                <c:pt idx="863">
                  <c:v>76.55366568914954</c:v>
                </c:pt>
                <c:pt idx="864">
                  <c:v>76.523753665689142</c:v>
                </c:pt>
                <c:pt idx="865">
                  <c:v>76.712609970674478</c:v>
                </c:pt>
                <c:pt idx="866">
                  <c:v>76.751319648093869</c:v>
                </c:pt>
                <c:pt idx="867">
                  <c:v>76.909090909090907</c:v>
                </c:pt>
                <c:pt idx="868">
                  <c:v>76.923167155425219</c:v>
                </c:pt>
                <c:pt idx="869">
                  <c:v>77.009384164222865</c:v>
                </c:pt>
                <c:pt idx="870">
                  <c:v>77.101466275659803</c:v>
                </c:pt>
                <c:pt idx="871">
                  <c:v>77.049266862170072</c:v>
                </c:pt>
                <c:pt idx="872">
                  <c:v>76.995894428152482</c:v>
                </c:pt>
                <c:pt idx="873">
                  <c:v>76.994721407624624</c:v>
                </c:pt>
                <c:pt idx="874">
                  <c:v>77.038123167155419</c:v>
                </c:pt>
                <c:pt idx="875">
                  <c:v>76.998240469208213</c:v>
                </c:pt>
                <c:pt idx="876">
                  <c:v>76.990615835777135</c:v>
                </c:pt>
                <c:pt idx="877">
                  <c:v>77.025219941348965</c:v>
                </c:pt>
                <c:pt idx="878">
                  <c:v>76.946627565982411</c:v>
                </c:pt>
                <c:pt idx="879">
                  <c:v>76.905571847507332</c:v>
                </c:pt>
                <c:pt idx="880">
                  <c:v>76.953665689149545</c:v>
                </c:pt>
                <c:pt idx="881">
                  <c:v>76.858651026392977</c:v>
                </c:pt>
                <c:pt idx="882">
                  <c:v>76.770674486803529</c:v>
                </c:pt>
                <c:pt idx="883">
                  <c:v>76.723753665689131</c:v>
                </c:pt>
                <c:pt idx="884">
                  <c:v>76.843988269794735</c:v>
                </c:pt>
                <c:pt idx="885">
                  <c:v>76.690322580645173</c:v>
                </c:pt>
                <c:pt idx="886">
                  <c:v>76.844574780058664</c:v>
                </c:pt>
                <c:pt idx="887">
                  <c:v>76.7542521994135</c:v>
                </c:pt>
                <c:pt idx="888">
                  <c:v>76.789442815249274</c:v>
                </c:pt>
                <c:pt idx="889">
                  <c:v>76.892082111436963</c:v>
                </c:pt>
                <c:pt idx="890">
                  <c:v>76.836363636363643</c:v>
                </c:pt>
                <c:pt idx="891">
                  <c:v>76.645161290322562</c:v>
                </c:pt>
                <c:pt idx="892">
                  <c:v>76.714369501466265</c:v>
                </c:pt>
                <c:pt idx="893">
                  <c:v>76.720234604105556</c:v>
                </c:pt>
                <c:pt idx="894">
                  <c:v>76.658064516129016</c:v>
                </c:pt>
                <c:pt idx="895">
                  <c:v>76.714956011730195</c:v>
                </c:pt>
                <c:pt idx="896">
                  <c:v>76.60293255131964</c:v>
                </c:pt>
                <c:pt idx="897">
                  <c:v>76.572434017595299</c:v>
                </c:pt>
                <c:pt idx="898">
                  <c:v>76.601173020527852</c:v>
                </c:pt>
                <c:pt idx="899">
                  <c:v>76.414076246334318</c:v>
                </c:pt>
                <c:pt idx="900">
                  <c:v>76.37888563049853</c:v>
                </c:pt>
                <c:pt idx="901">
                  <c:v>76.337243401759522</c:v>
                </c:pt>
                <c:pt idx="902">
                  <c:v>76.256891495601195</c:v>
                </c:pt>
                <c:pt idx="903">
                  <c:v>76.416422287390034</c:v>
                </c:pt>
                <c:pt idx="904">
                  <c:v>76.357184750733154</c:v>
                </c:pt>
                <c:pt idx="905">
                  <c:v>76.452785923753666</c:v>
                </c:pt>
                <c:pt idx="906">
                  <c:v>76.455131964809397</c:v>
                </c:pt>
                <c:pt idx="907">
                  <c:v>76.399413489736077</c:v>
                </c:pt>
                <c:pt idx="908">
                  <c:v>76.515542521994135</c:v>
                </c:pt>
                <c:pt idx="909">
                  <c:v>76.446920821114361</c:v>
                </c:pt>
                <c:pt idx="910">
                  <c:v>76.433431085043978</c:v>
                </c:pt>
                <c:pt idx="911">
                  <c:v>76.244574780058628</c:v>
                </c:pt>
                <c:pt idx="912">
                  <c:v>76.306158357771238</c:v>
                </c:pt>
                <c:pt idx="913">
                  <c:v>76.405278592375353</c:v>
                </c:pt>
                <c:pt idx="914">
                  <c:v>76.311436950146614</c:v>
                </c:pt>
                <c:pt idx="915">
                  <c:v>76.331964809384147</c:v>
                </c:pt>
                <c:pt idx="916">
                  <c:v>76.389442815249254</c:v>
                </c:pt>
                <c:pt idx="917">
                  <c:v>76.242228739002911</c:v>
                </c:pt>
                <c:pt idx="918">
                  <c:v>76.243988269794698</c:v>
                </c:pt>
                <c:pt idx="919">
                  <c:v>76.165395894428144</c:v>
                </c:pt>
                <c:pt idx="920">
                  <c:v>76.039296187683291</c:v>
                </c:pt>
                <c:pt idx="921">
                  <c:v>75.967155425219943</c:v>
                </c:pt>
                <c:pt idx="922">
                  <c:v>76.143695014662754</c:v>
                </c:pt>
                <c:pt idx="923">
                  <c:v>76.135483870967732</c:v>
                </c:pt>
                <c:pt idx="924">
                  <c:v>76.012316715542511</c:v>
                </c:pt>
                <c:pt idx="925">
                  <c:v>76.113196480938399</c:v>
                </c:pt>
                <c:pt idx="926">
                  <c:v>76.265102639296188</c:v>
                </c:pt>
                <c:pt idx="927">
                  <c:v>76.273900293255153</c:v>
                </c:pt>
                <c:pt idx="928">
                  <c:v>76.30381231671555</c:v>
                </c:pt>
                <c:pt idx="929">
                  <c:v>76.141935483870981</c:v>
                </c:pt>
                <c:pt idx="930">
                  <c:v>76.202346041055705</c:v>
                </c:pt>
                <c:pt idx="931">
                  <c:v>76.264516129032259</c:v>
                </c:pt>
                <c:pt idx="932">
                  <c:v>76.187096774193535</c:v>
                </c:pt>
                <c:pt idx="933">
                  <c:v>76.136656891495591</c:v>
                </c:pt>
                <c:pt idx="934">
                  <c:v>76.022873900293234</c:v>
                </c:pt>
                <c:pt idx="935">
                  <c:v>76.062756598240455</c:v>
                </c:pt>
                <c:pt idx="936">
                  <c:v>75.853958944281516</c:v>
                </c:pt>
                <c:pt idx="937">
                  <c:v>75.876246334310835</c:v>
                </c:pt>
                <c:pt idx="938">
                  <c:v>76.035777126099688</c:v>
                </c:pt>
                <c:pt idx="939">
                  <c:v>75.96011730205278</c:v>
                </c:pt>
                <c:pt idx="940">
                  <c:v>75.99120234604105</c:v>
                </c:pt>
                <c:pt idx="941">
                  <c:v>75.956011730205262</c:v>
                </c:pt>
                <c:pt idx="942">
                  <c:v>76.021114369501447</c:v>
                </c:pt>
                <c:pt idx="943">
                  <c:v>76.055131964809362</c:v>
                </c:pt>
                <c:pt idx="944">
                  <c:v>75.987096774193517</c:v>
                </c:pt>
                <c:pt idx="945">
                  <c:v>76.049853372433986</c:v>
                </c:pt>
                <c:pt idx="946">
                  <c:v>76.058651026392951</c:v>
                </c:pt>
                <c:pt idx="947">
                  <c:v>76.017008797653958</c:v>
                </c:pt>
                <c:pt idx="948">
                  <c:v>76.094428152492668</c:v>
                </c:pt>
                <c:pt idx="949">
                  <c:v>76.144281524926683</c:v>
                </c:pt>
                <c:pt idx="950">
                  <c:v>76.311436950146643</c:v>
                </c:pt>
                <c:pt idx="951">
                  <c:v>76.32903225806453</c:v>
                </c:pt>
                <c:pt idx="952">
                  <c:v>76.415835777126105</c:v>
                </c:pt>
                <c:pt idx="953">
                  <c:v>76.390029325513211</c:v>
                </c:pt>
                <c:pt idx="954">
                  <c:v>76.297360703812345</c:v>
                </c:pt>
                <c:pt idx="955">
                  <c:v>76.444574780058659</c:v>
                </c:pt>
                <c:pt idx="956">
                  <c:v>76.368328445747807</c:v>
                </c:pt>
                <c:pt idx="957">
                  <c:v>76.17067448680352</c:v>
                </c:pt>
                <c:pt idx="958">
                  <c:v>76.228152492668613</c:v>
                </c:pt>
                <c:pt idx="959">
                  <c:v>76.242815249266854</c:v>
                </c:pt>
                <c:pt idx="960">
                  <c:v>76.241055718475067</c:v>
                </c:pt>
                <c:pt idx="961">
                  <c:v>76.375953079178899</c:v>
                </c:pt>
                <c:pt idx="962">
                  <c:v>76.270967741935493</c:v>
                </c:pt>
                <c:pt idx="963">
                  <c:v>76.408211143695027</c:v>
                </c:pt>
                <c:pt idx="964">
                  <c:v>76.527272727272745</c:v>
                </c:pt>
                <c:pt idx="965">
                  <c:v>76.572434017595313</c:v>
                </c:pt>
                <c:pt idx="966">
                  <c:v>76.466862170087978</c:v>
                </c:pt>
                <c:pt idx="967">
                  <c:v>76.460410557184758</c:v>
                </c:pt>
                <c:pt idx="968">
                  <c:v>76.593548387096774</c:v>
                </c:pt>
                <c:pt idx="969">
                  <c:v>76.509090909090915</c:v>
                </c:pt>
                <c:pt idx="970">
                  <c:v>76.554252199413497</c:v>
                </c:pt>
                <c:pt idx="971">
                  <c:v>76.690909090909088</c:v>
                </c:pt>
                <c:pt idx="972">
                  <c:v>76.703812316715542</c:v>
                </c:pt>
                <c:pt idx="973">
                  <c:v>76.679765395894435</c:v>
                </c:pt>
                <c:pt idx="974">
                  <c:v>76.738416422287386</c:v>
                </c:pt>
                <c:pt idx="975">
                  <c:v>76.7049853372434</c:v>
                </c:pt>
                <c:pt idx="976">
                  <c:v>76.662170087976548</c:v>
                </c:pt>
                <c:pt idx="977">
                  <c:v>76.5741935483871</c:v>
                </c:pt>
                <c:pt idx="978">
                  <c:v>76.591788856304987</c:v>
                </c:pt>
                <c:pt idx="979">
                  <c:v>76.675659824046917</c:v>
                </c:pt>
                <c:pt idx="980">
                  <c:v>76.675659824046932</c:v>
                </c:pt>
                <c:pt idx="981">
                  <c:v>76.602932551319654</c:v>
                </c:pt>
                <c:pt idx="982">
                  <c:v>76.562463343108504</c:v>
                </c:pt>
                <c:pt idx="983">
                  <c:v>76.453958944281524</c:v>
                </c:pt>
                <c:pt idx="984">
                  <c:v>76.399413489736062</c:v>
                </c:pt>
                <c:pt idx="985">
                  <c:v>76.460997067448673</c:v>
                </c:pt>
                <c:pt idx="986">
                  <c:v>76.292668621700884</c:v>
                </c:pt>
                <c:pt idx="987">
                  <c:v>76.340762463343097</c:v>
                </c:pt>
                <c:pt idx="988">
                  <c:v>76.517302052785908</c:v>
                </c:pt>
                <c:pt idx="989">
                  <c:v>76.476832844574787</c:v>
                </c:pt>
                <c:pt idx="990">
                  <c:v>76.287976539589451</c:v>
                </c:pt>
                <c:pt idx="991">
                  <c:v>76.493255131964816</c:v>
                </c:pt>
                <c:pt idx="992">
                  <c:v>76.354252199413494</c:v>
                </c:pt>
                <c:pt idx="993">
                  <c:v>76.478592375366588</c:v>
                </c:pt>
                <c:pt idx="994">
                  <c:v>76.458064516129028</c:v>
                </c:pt>
                <c:pt idx="995">
                  <c:v>76.358357771260998</c:v>
                </c:pt>
                <c:pt idx="996">
                  <c:v>76.243401759530784</c:v>
                </c:pt>
                <c:pt idx="997">
                  <c:v>76.300293255131976</c:v>
                </c:pt>
                <c:pt idx="998">
                  <c:v>76.429912023460403</c:v>
                </c:pt>
                <c:pt idx="999">
                  <c:v>76.343695014662771</c:v>
                </c:pt>
                <c:pt idx="1000">
                  <c:v>76.320821114369522</c:v>
                </c:pt>
                <c:pt idx="1001">
                  <c:v>76.221114369501464</c:v>
                </c:pt>
                <c:pt idx="1002">
                  <c:v>76.235190615835762</c:v>
                </c:pt>
                <c:pt idx="1003">
                  <c:v>76.255131964809365</c:v>
                </c:pt>
                <c:pt idx="1004">
                  <c:v>76.192375366568896</c:v>
                </c:pt>
                <c:pt idx="1005">
                  <c:v>76.139589442815236</c:v>
                </c:pt>
                <c:pt idx="1006">
                  <c:v>76.145454545454541</c:v>
                </c:pt>
                <c:pt idx="1007">
                  <c:v>76.179472140762456</c:v>
                </c:pt>
                <c:pt idx="1008">
                  <c:v>76.278005865102656</c:v>
                </c:pt>
                <c:pt idx="1009">
                  <c:v>76.326686217008813</c:v>
                </c:pt>
                <c:pt idx="1010">
                  <c:v>76.234604105571847</c:v>
                </c:pt>
                <c:pt idx="1011">
                  <c:v>76.253958944281536</c:v>
                </c:pt>
                <c:pt idx="1012">
                  <c:v>76.252199413489748</c:v>
                </c:pt>
                <c:pt idx="1013">
                  <c:v>76.435777126099694</c:v>
                </c:pt>
                <c:pt idx="1014">
                  <c:v>76.599413489736065</c:v>
                </c:pt>
                <c:pt idx="1015">
                  <c:v>76.580058651026405</c:v>
                </c:pt>
                <c:pt idx="1016">
                  <c:v>76.634604105571853</c:v>
                </c:pt>
                <c:pt idx="1017">
                  <c:v>76.695601173020535</c:v>
                </c:pt>
                <c:pt idx="1018">
                  <c:v>76.808211143695004</c:v>
                </c:pt>
                <c:pt idx="1019">
                  <c:v>76.638123167155413</c:v>
                </c:pt>
                <c:pt idx="1020">
                  <c:v>76.545454545454533</c:v>
                </c:pt>
                <c:pt idx="1021">
                  <c:v>76.533137829912022</c:v>
                </c:pt>
                <c:pt idx="1022">
                  <c:v>76.490909090909085</c:v>
                </c:pt>
                <c:pt idx="1023">
                  <c:v>76.579472140762462</c:v>
                </c:pt>
                <c:pt idx="1024">
                  <c:v>76.541935483870944</c:v>
                </c:pt>
                <c:pt idx="1025">
                  <c:v>76.545454545454533</c:v>
                </c:pt>
                <c:pt idx="1026">
                  <c:v>76.511436950146617</c:v>
                </c:pt>
                <c:pt idx="1027">
                  <c:v>76.575366568914944</c:v>
                </c:pt>
                <c:pt idx="1028">
                  <c:v>76.539589442815242</c:v>
                </c:pt>
                <c:pt idx="1029">
                  <c:v>76.543695014662745</c:v>
                </c:pt>
                <c:pt idx="1030">
                  <c:v>76.448093841642219</c:v>
                </c:pt>
                <c:pt idx="1031">
                  <c:v>76.434017595307921</c:v>
                </c:pt>
                <c:pt idx="1032">
                  <c:v>76.400586510263921</c:v>
                </c:pt>
                <c:pt idx="1033">
                  <c:v>76.413489736070389</c:v>
                </c:pt>
                <c:pt idx="1034">
                  <c:v>76.350146627565991</c:v>
                </c:pt>
                <c:pt idx="1035">
                  <c:v>76.45102639296185</c:v>
                </c:pt>
                <c:pt idx="1036">
                  <c:v>76.382991202346034</c:v>
                </c:pt>
                <c:pt idx="1037">
                  <c:v>76.36363636363636</c:v>
                </c:pt>
                <c:pt idx="1038">
                  <c:v>76.339589442815253</c:v>
                </c:pt>
                <c:pt idx="1039">
                  <c:v>76.235777126099691</c:v>
                </c:pt>
                <c:pt idx="1040">
                  <c:v>76.224633431085024</c:v>
                </c:pt>
                <c:pt idx="1041">
                  <c:v>76.306744868035196</c:v>
                </c:pt>
                <c:pt idx="1042">
                  <c:v>76.314369501466288</c:v>
                </c:pt>
                <c:pt idx="1043">
                  <c:v>76.411143695014673</c:v>
                </c:pt>
                <c:pt idx="1044">
                  <c:v>76.321407624633437</c:v>
                </c:pt>
                <c:pt idx="1045">
                  <c:v>76.2950146627566</c:v>
                </c:pt>
                <c:pt idx="1046">
                  <c:v>76.433431085043992</c:v>
                </c:pt>
                <c:pt idx="1047">
                  <c:v>76.46568914956012</c:v>
                </c:pt>
                <c:pt idx="1048">
                  <c:v>76.569501466275668</c:v>
                </c:pt>
                <c:pt idx="1049">
                  <c:v>76.516129032258064</c:v>
                </c:pt>
                <c:pt idx="1050">
                  <c:v>76.645161290322577</c:v>
                </c:pt>
                <c:pt idx="1051">
                  <c:v>76.794134897360706</c:v>
                </c:pt>
                <c:pt idx="1052">
                  <c:v>77.022287390029319</c:v>
                </c:pt>
                <c:pt idx="1053">
                  <c:v>76.964222873900283</c:v>
                </c:pt>
                <c:pt idx="1054">
                  <c:v>77.049266862170072</c:v>
                </c:pt>
                <c:pt idx="1055">
                  <c:v>77.182404692082088</c:v>
                </c:pt>
                <c:pt idx="1056">
                  <c:v>77.219941348973592</c:v>
                </c:pt>
                <c:pt idx="1057">
                  <c:v>77.39472140762463</c:v>
                </c:pt>
                <c:pt idx="1058">
                  <c:v>77.44105571847507</c:v>
                </c:pt>
                <c:pt idx="1059">
                  <c:v>77.615249266862151</c:v>
                </c:pt>
                <c:pt idx="1060">
                  <c:v>77.763049853372408</c:v>
                </c:pt>
                <c:pt idx="1061">
                  <c:v>77.996480938416411</c:v>
                </c:pt>
                <c:pt idx="1062">
                  <c:v>78.048093841642213</c:v>
                </c:pt>
                <c:pt idx="1063">
                  <c:v>78.157184750733123</c:v>
                </c:pt>
                <c:pt idx="1064">
                  <c:v>78.137829912023449</c:v>
                </c:pt>
                <c:pt idx="1065">
                  <c:v>78.236950146627549</c:v>
                </c:pt>
                <c:pt idx="1066">
                  <c:v>78.296187683284458</c:v>
                </c:pt>
                <c:pt idx="1067">
                  <c:v>78.417595307917878</c:v>
                </c:pt>
                <c:pt idx="1068">
                  <c:v>78.602932551319626</c:v>
                </c:pt>
                <c:pt idx="1069">
                  <c:v>78.744281524926677</c:v>
                </c:pt>
                <c:pt idx="1070">
                  <c:v>78.770674486803529</c:v>
                </c:pt>
                <c:pt idx="1071">
                  <c:v>78.812316715542536</c:v>
                </c:pt>
                <c:pt idx="1072">
                  <c:v>78.858064516129033</c:v>
                </c:pt>
                <c:pt idx="1073">
                  <c:v>78.931964809384155</c:v>
                </c:pt>
                <c:pt idx="1074">
                  <c:v>78.835190615835756</c:v>
                </c:pt>
                <c:pt idx="1075">
                  <c:v>78.917888563049843</c:v>
                </c:pt>
                <c:pt idx="1076">
                  <c:v>78.907331378299105</c:v>
                </c:pt>
                <c:pt idx="1077">
                  <c:v>78.871554252199402</c:v>
                </c:pt>
                <c:pt idx="1078">
                  <c:v>78.992375366568908</c:v>
                </c:pt>
                <c:pt idx="1079">
                  <c:v>78.937829912023446</c:v>
                </c:pt>
                <c:pt idx="1080">
                  <c:v>78.995307917888567</c:v>
                </c:pt>
                <c:pt idx="1081">
                  <c:v>79.068035190615817</c:v>
                </c:pt>
                <c:pt idx="1082">
                  <c:v>79.077419354838696</c:v>
                </c:pt>
                <c:pt idx="1083">
                  <c:v>78.945454545454538</c:v>
                </c:pt>
                <c:pt idx="1084">
                  <c:v>78.990029325513191</c:v>
                </c:pt>
                <c:pt idx="1085">
                  <c:v>78.861583577712608</c:v>
                </c:pt>
                <c:pt idx="1086">
                  <c:v>78.758357771260975</c:v>
                </c:pt>
                <c:pt idx="1087">
                  <c:v>78.672727272727244</c:v>
                </c:pt>
                <c:pt idx="1088">
                  <c:v>78.520821114369483</c:v>
                </c:pt>
                <c:pt idx="1089">
                  <c:v>78.404692082111424</c:v>
                </c:pt>
                <c:pt idx="1090">
                  <c:v>78.22756598240467</c:v>
                </c:pt>
                <c:pt idx="1091">
                  <c:v>77.985923753665688</c:v>
                </c:pt>
                <c:pt idx="1092">
                  <c:v>77.736656891495585</c:v>
                </c:pt>
                <c:pt idx="1093">
                  <c:v>77.735483870967727</c:v>
                </c:pt>
                <c:pt idx="1094">
                  <c:v>77.647507331378293</c:v>
                </c:pt>
                <c:pt idx="1095">
                  <c:v>77.466862170087978</c:v>
                </c:pt>
                <c:pt idx="1096">
                  <c:v>77.364222873900303</c:v>
                </c:pt>
                <c:pt idx="1097">
                  <c:v>77.199999999999989</c:v>
                </c:pt>
                <c:pt idx="1098">
                  <c:v>77.140762463343094</c:v>
                </c:pt>
                <c:pt idx="1099">
                  <c:v>77.003519061583575</c:v>
                </c:pt>
                <c:pt idx="1100">
                  <c:v>76.827565982404678</c:v>
                </c:pt>
                <c:pt idx="1101">
                  <c:v>76.788856304985316</c:v>
                </c:pt>
                <c:pt idx="1102">
                  <c:v>76.821114369501473</c:v>
                </c:pt>
                <c:pt idx="1103">
                  <c:v>76.6715542521994</c:v>
                </c:pt>
                <c:pt idx="1104">
                  <c:v>76.42815249266863</c:v>
                </c:pt>
                <c:pt idx="1105">
                  <c:v>76.39061583577714</c:v>
                </c:pt>
                <c:pt idx="1106">
                  <c:v>76.314956011730217</c:v>
                </c:pt>
                <c:pt idx="1107">
                  <c:v>76.171847507331378</c:v>
                </c:pt>
                <c:pt idx="1108">
                  <c:v>76.078005865102654</c:v>
                </c:pt>
                <c:pt idx="1109">
                  <c:v>75.920234604105573</c:v>
                </c:pt>
                <c:pt idx="1110">
                  <c:v>75.793548387096791</c:v>
                </c:pt>
                <c:pt idx="1111">
                  <c:v>75.574780058651029</c:v>
                </c:pt>
                <c:pt idx="1112">
                  <c:v>75.393548387096786</c:v>
                </c:pt>
                <c:pt idx="1113">
                  <c:v>75.21759530791789</c:v>
                </c:pt>
                <c:pt idx="1114">
                  <c:v>75.27565982404694</c:v>
                </c:pt>
                <c:pt idx="1115">
                  <c:v>75.334310850439891</c:v>
                </c:pt>
                <c:pt idx="1116">
                  <c:v>75.323167155425239</c:v>
                </c:pt>
                <c:pt idx="1117">
                  <c:v>75.382404692082119</c:v>
                </c:pt>
                <c:pt idx="1118">
                  <c:v>75.312023460410558</c:v>
                </c:pt>
                <c:pt idx="1119">
                  <c:v>75.372434017595296</c:v>
                </c:pt>
                <c:pt idx="1120">
                  <c:v>75.370087976539594</c:v>
                </c:pt>
                <c:pt idx="1121">
                  <c:v>75.544281524926689</c:v>
                </c:pt>
                <c:pt idx="1122">
                  <c:v>75.721994134897344</c:v>
                </c:pt>
                <c:pt idx="1123">
                  <c:v>75.907331378299119</c:v>
                </c:pt>
                <c:pt idx="1124">
                  <c:v>75.872727272727275</c:v>
                </c:pt>
                <c:pt idx="1125">
                  <c:v>75.963636363636368</c:v>
                </c:pt>
                <c:pt idx="1126">
                  <c:v>76.041055718475079</c:v>
                </c:pt>
                <c:pt idx="1127">
                  <c:v>76.07741935483871</c:v>
                </c:pt>
                <c:pt idx="1128">
                  <c:v>76.107917888563051</c:v>
                </c:pt>
                <c:pt idx="1129">
                  <c:v>76.104398826979477</c:v>
                </c:pt>
                <c:pt idx="1130">
                  <c:v>76.151906158357775</c:v>
                </c:pt>
                <c:pt idx="1131">
                  <c:v>76.225806451612911</c:v>
                </c:pt>
                <c:pt idx="1132">
                  <c:v>76.149560117302045</c:v>
                </c:pt>
                <c:pt idx="1133">
                  <c:v>75.954252199413489</c:v>
                </c:pt>
                <c:pt idx="1134">
                  <c:v>76.06217008797654</c:v>
                </c:pt>
                <c:pt idx="1135">
                  <c:v>76.141935483870967</c:v>
                </c:pt>
                <c:pt idx="1136">
                  <c:v>76.19941348973606</c:v>
                </c:pt>
                <c:pt idx="1137">
                  <c:v>76.191788856304981</c:v>
                </c:pt>
                <c:pt idx="1138">
                  <c:v>76.351319648093863</c:v>
                </c:pt>
                <c:pt idx="1139">
                  <c:v>76.306158357771267</c:v>
                </c:pt>
                <c:pt idx="1140">
                  <c:v>76.339589442815267</c:v>
                </c:pt>
                <c:pt idx="1141">
                  <c:v>76.398240469208218</c:v>
                </c:pt>
                <c:pt idx="1142">
                  <c:v>76.492668621700872</c:v>
                </c:pt>
                <c:pt idx="1143">
                  <c:v>76.666862170087967</c:v>
                </c:pt>
                <c:pt idx="1144">
                  <c:v>76.660410557184733</c:v>
                </c:pt>
                <c:pt idx="1145">
                  <c:v>76.595307917888576</c:v>
                </c:pt>
                <c:pt idx="1146">
                  <c:v>76.493255131964816</c:v>
                </c:pt>
                <c:pt idx="1147">
                  <c:v>76.401173020527864</c:v>
                </c:pt>
                <c:pt idx="1148">
                  <c:v>76.222287390029322</c:v>
                </c:pt>
                <c:pt idx="1149">
                  <c:v>76.376539589442828</c:v>
                </c:pt>
                <c:pt idx="1150">
                  <c:v>76.497947214076248</c:v>
                </c:pt>
                <c:pt idx="1151">
                  <c:v>76.497360703812319</c:v>
                </c:pt>
                <c:pt idx="1152">
                  <c:v>76.384750733137821</c:v>
                </c:pt>
                <c:pt idx="1153">
                  <c:v>76.177126099706726</c:v>
                </c:pt>
                <c:pt idx="1154">
                  <c:v>76</c:v>
                </c:pt>
                <c:pt idx="1155">
                  <c:v>76.072140762463334</c:v>
                </c:pt>
                <c:pt idx="1156">
                  <c:v>76.121407624633406</c:v>
                </c:pt>
                <c:pt idx="1157">
                  <c:v>76.054545454545433</c:v>
                </c:pt>
                <c:pt idx="1158">
                  <c:v>76.173020527859208</c:v>
                </c:pt>
                <c:pt idx="1159">
                  <c:v>76.194134897360669</c:v>
                </c:pt>
                <c:pt idx="1160">
                  <c:v>76.218181818181804</c:v>
                </c:pt>
                <c:pt idx="1161">
                  <c:v>76.295601173020529</c:v>
                </c:pt>
                <c:pt idx="1162">
                  <c:v>76.198240469208216</c:v>
                </c:pt>
                <c:pt idx="1163">
                  <c:v>76.373020527859268</c:v>
                </c:pt>
                <c:pt idx="1164">
                  <c:v>76.533724340175965</c:v>
                </c:pt>
                <c:pt idx="1165">
                  <c:v>76.417008797653978</c:v>
                </c:pt>
                <c:pt idx="1166">
                  <c:v>76.487976539589454</c:v>
                </c:pt>
                <c:pt idx="1167">
                  <c:v>76.435190615835779</c:v>
                </c:pt>
                <c:pt idx="1168">
                  <c:v>76.30029325513199</c:v>
                </c:pt>
                <c:pt idx="1169">
                  <c:v>76.168328445747804</c:v>
                </c:pt>
                <c:pt idx="1170">
                  <c:v>76.333724340175962</c:v>
                </c:pt>
                <c:pt idx="1171">
                  <c:v>76.365395894428161</c:v>
                </c:pt>
                <c:pt idx="1172">
                  <c:v>76.373020527859254</c:v>
                </c:pt>
                <c:pt idx="1173">
                  <c:v>76.2950146627566</c:v>
                </c:pt>
                <c:pt idx="1174">
                  <c:v>76.263343108504415</c:v>
                </c:pt>
                <c:pt idx="1175">
                  <c:v>76.432258064516134</c:v>
                </c:pt>
                <c:pt idx="1176">
                  <c:v>76.443401759530801</c:v>
                </c:pt>
                <c:pt idx="1177">
                  <c:v>76.354838709677423</c:v>
                </c:pt>
                <c:pt idx="1178">
                  <c:v>76.52785923753666</c:v>
                </c:pt>
                <c:pt idx="1179">
                  <c:v>76.51847507331378</c:v>
                </c:pt>
                <c:pt idx="1180">
                  <c:v>76.519648093841639</c:v>
                </c:pt>
                <c:pt idx="1181">
                  <c:v>76.405278592375382</c:v>
                </c:pt>
                <c:pt idx="1182">
                  <c:v>76.513196480938404</c:v>
                </c:pt>
                <c:pt idx="1183">
                  <c:v>76.438123167155425</c:v>
                </c:pt>
                <c:pt idx="1184">
                  <c:v>76.614662756598221</c:v>
                </c:pt>
                <c:pt idx="1185">
                  <c:v>76.634604105571839</c:v>
                </c:pt>
                <c:pt idx="1186">
                  <c:v>76.49677419354839</c:v>
                </c:pt>
                <c:pt idx="1187">
                  <c:v>76.510263929618787</c:v>
                </c:pt>
                <c:pt idx="1188">
                  <c:v>76.514369501466291</c:v>
                </c:pt>
                <c:pt idx="1189">
                  <c:v>76.443988269794744</c:v>
                </c:pt>
                <c:pt idx="1190">
                  <c:v>76.549560117302079</c:v>
                </c:pt>
                <c:pt idx="1191">
                  <c:v>76.466862170088007</c:v>
                </c:pt>
                <c:pt idx="1192">
                  <c:v>76.470381231671581</c:v>
                </c:pt>
                <c:pt idx="1193">
                  <c:v>76.604692082111455</c:v>
                </c:pt>
                <c:pt idx="1194">
                  <c:v>76.524340175953085</c:v>
                </c:pt>
                <c:pt idx="1195">
                  <c:v>76.49970674486805</c:v>
                </c:pt>
                <c:pt idx="1196">
                  <c:v>76.663929618768321</c:v>
                </c:pt>
                <c:pt idx="1197">
                  <c:v>76.492082111436972</c:v>
                </c:pt>
                <c:pt idx="1198">
                  <c:v>76.497360703812333</c:v>
                </c:pt>
                <c:pt idx="1199">
                  <c:v>76.663929618768336</c:v>
                </c:pt>
                <c:pt idx="1200">
                  <c:v>76.775366568914961</c:v>
                </c:pt>
                <c:pt idx="1201">
                  <c:v>76.713782991202336</c:v>
                </c:pt>
                <c:pt idx="1202">
                  <c:v>76.581231671554249</c:v>
                </c:pt>
                <c:pt idx="1203">
                  <c:v>76.59999999999998</c:v>
                </c:pt>
                <c:pt idx="1204">
                  <c:v>76.575366568914959</c:v>
                </c:pt>
                <c:pt idx="1205">
                  <c:v>76.601759530791782</c:v>
                </c:pt>
                <c:pt idx="1206">
                  <c:v>76.594721407624618</c:v>
                </c:pt>
                <c:pt idx="1207">
                  <c:v>76.509090909090901</c:v>
                </c:pt>
                <c:pt idx="1208">
                  <c:v>76.606451612903214</c:v>
                </c:pt>
                <c:pt idx="1209">
                  <c:v>76.443988269794716</c:v>
                </c:pt>
                <c:pt idx="1210">
                  <c:v>76.608797653958931</c:v>
                </c:pt>
                <c:pt idx="1211">
                  <c:v>76.564222873900306</c:v>
                </c:pt>
                <c:pt idx="1212">
                  <c:v>76.636950146627569</c:v>
                </c:pt>
                <c:pt idx="1213">
                  <c:v>76.599999999999994</c:v>
                </c:pt>
                <c:pt idx="1214">
                  <c:v>76.645747800586491</c:v>
                </c:pt>
                <c:pt idx="1215">
                  <c:v>76.564809384164207</c:v>
                </c:pt>
                <c:pt idx="1216">
                  <c:v>76.547800586510249</c:v>
                </c:pt>
                <c:pt idx="1217">
                  <c:v>76.614662756598236</c:v>
                </c:pt>
                <c:pt idx="1218">
                  <c:v>76.427565982404701</c:v>
                </c:pt>
                <c:pt idx="1219">
                  <c:v>76.566568914956008</c:v>
                </c:pt>
                <c:pt idx="1220">
                  <c:v>76.551319648093838</c:v>
                </c:pt>
                <c:pt idx="1221">
                  <c:v>76.418181818181807</c:v>
                </c:pt>
                <c:pt idx="1222">
                  <c:v>76.496774193548376</c:v>
                </c:pt>
                <c:pt idx="1223">
                  <c:v>76.372434017595296</c:v>
                </c:pt>
                <c:pt idx="1224">
                  <c:v>76.245161290322557</c:v>
                </c:pt>
                <c:pt idx="1225">
                  <c:v>76.158944281524896</c:v>
                </c:pt>
                <c:pt idx="1226">
                  <c:v>76.197067448680343</c:v>
                </c:pt>
                <c:pt idx="1227">
                  <c:v>76.189442815249251</c:v>
                </c:pt>
                <c:pt idx="1228">
                  <c:v>76.226979472140755</c:v>
                </c:pt>
                <c:pt idx="1229">
                  <c:v>76.238123167155422</c:v>
                </c:pt>
                <c:pt idx="1230">
                  <c:v>76.09677419354837</c:v>
                </c:pt>
                <c:pt idx="1231">
                  <c:v>76.133137829912016</c:v>
                </c:pt>
                <c:pt idx="1232">
                  <c:v>76.079178885630498</c:v>
                </c:pt>
                <c:pt idx="1233">
                  <c:v>76.251612903225819</c:v>
                </c:pt>
                <c:pt idx="1234">
                  <c:v>76.353079178885636</c:v>
                </c:pt>
                <c:pt idx="1235">
                  <c:v>76.622873900293257</c:v>
                </c:pt>
                <c:pt idx="1236">
                  <c:v>76.618181818181796</c:v>
                </c:pt>
                <c:pt idx="1237">
                  <c:v>76.696774193548364</c:v>
                </c:pt>
                <c:pt idx="1238">
                  <c:v>76.921407624633432</c:v>
                </c:pt>
                <c:pt idx="1239">
                  <c:v>76.98826979472139</c:v>
                </c:pt>
                <c:pt idx="1240">
                  <c:v>77.089736070381207</c:v>
                </c:pt>
                <c:pt idx="1241">
                  <c:v>77.04398826979471</c:v>
                </c:pt>
                <c:pt idx="1242">
                  <c:v>77.030498533724327</c:v>
                </c:pt>
                <c:pt idx="1243">
                  <c:v>77.134310850439874</c:v>
                </c:pt>
                <c:pt idx="1244">
                  <c:v>77.234017595307918</c:v>
                </c:pt>
                <c:pt idx="1245">
                  <c:v>77.297947214076245</c:v>
                </c:pt>
                <c:pt idx="1246">
                  <c:v>77.4258064516129</c:v>
                </c:pt>
                <c:pt idx="1247">
                  <c:v>77.512609970674475</c:v>
                </c:pt>
                <c:pt idx="1248">
                  <c:v>77.550733137829894</c:v>
                </c:pt>
                <c:pt idx="1249">
                  <c:v>77.807038123167146</c:v>
                </c:pt>
                <c:pt idx="1250">
                  <c:v>77.787096774193529</c:v>
                </c:pt>
                <c:pt idx="1251">
                  <c:v>77.90674486803519</c:v>
                </c:pt>
                <c:pt idx="1252">
                  <c:v>78.147214076246328</c:v>
                </c:pt>
                <c:pt idx="1253">
                  <c:v>78.088563049853377</c:v>
                </c:pt>
                <c:pt idx="1254">
                  <c:v>78.204105571847506</c:v>
                </c:pt>
                <c:pt idx="1255">
                  <c:v>78.350733137829906</c:v>
                </c:pt>
                <c:pt idx="1256">
                  <c:v>78.460410557184744</c:v>
                </c:pt>
                <c:pt idx="1257">
                  <c:v>78.502639296187667</c:v>
                </c:pt>
                <c:pt idx="1258">
                  <c:v>78.56539589442815</c:v>
                </c:pt>
                <c:pt idx="1259">
                  <c:v>78.762463343108507</c:v>
                </c:pt>
                <c:pt idx="1260">
                  <c:v>78.848680351906168</c:v>
                </c:pt>
                <c:pt idx="1261">
                  <c:v>79.07096774193549</c:v>
                </c:pt>
                <c:pt idx="1262">
                  <c:v>79.116129032258044</c:v>
                </c:pt>
                <c:pt idx="1263">
                  <c:v>79.232258064516131</c:v>
                </c:pt>
                <c:pt idx="1264">
                  <c:v>79.258064516129039</c:v>
                </c:pt>
                <c:pt idx="1265">
                  <c:v>79.170087976539591</c:v>
                </c:pt>
                <c:pt idx="1266">
                  <c:v>79.189442815249265</c:v>
                </c:pt>
                <c:pt idx="1267">
                  <c:v>79.262756598240486</c:v>
                </c:pt>
                <c:pt idx="1268">
                  <c:v>79.207038123167166</c:v>
                </c:pt>
                <c:pt idx="1269">
                  <c:v>79.231085043988273</c:v>
                </c:pt>
                <c:pt idx="1270">
                  <c:v>79.195307917888556</c:v>
                </c:pt>
                <c:pt idx="1271">
                  <c:v>79.268621700879777</c:v>
                </c:pt>
                <c:pt idx="1272">
                  <c:v>79.361290322580643</c:v>
                </c:pt>
                <c:pt idx="1273">
                  <c:v>79.455131964809382</c:v>
                </c:pt>
                <c:pt idx="1274">
                  <c:v>79.448680351906148</c:v>
                </c:pt>
                <c:pt idx="1275">
                  <c:v>79.38181818181819</c:v>
                </c:pt>
                <c:pt idx="1276">
                  <c:v>79.238709677419337</c:v>
                </c:pt>
                <c:pt idx="1277">
                  <c:v>79.048093841642213</c:v>
                </c:pt>
                <c:pt idx="1278">
                  <c:v>78.969501466275645</c:v>
                </c:pt>
                <c:pt idx="1279">
                  <c:v>78.862170087976523</c:v>
                </c:pt>
                <c:pt idx="1280">
                  <c:v>78.737829912023443</c:v>
                </c:pt>
                <c:pt idx="1281">
                  <c:v>78.595307917888547</c:v>
                </c:pt>
                <c:pt idx="1282">
                  <c:v>78.442815249266857</c:v>
                </c:pt>
                <c:pt idx="1283">
                  <c:v>78.371260997067466</c:v>
                </c:pt>
                <c:pt idx="1284">
                  <c:v>78.342521994134913</c:v>
                </c:pt>
                <c:pt idx="1285">
                  <c:v>78.282697947214089</c:v>
                </c:pt>
                <c:pt idx="1286">
                  <c:v>78.251026392961862</c:v>
                </c:pt>
                <c:pt idx="1287">
                  <c:v>78.165982404692073</c:v>
                </c:pt>
                <c:pt idx="1288">
                  <c:v>78.050439882697944</c:v>
                </c:pt>
                <c:pt idx="1289">
                  <c:v>77.966568914956028</c:v>
                </c:pt>
                <c:pt idx="1290">
                  <c:v>77.925513196480949</c:v>
                </c:pt>
                <c:pt idx="1291">
                  <c:v>77.867448680351913</c:v>
                </c:pt>
                <c:pt idx="1292">
                  <c:v>77.744281524926677</c:v>
                </c:pt>
                <c:pt idx="1293">
                  <c:v>77.55601173020527</c:v>
                </c:pt>
                <c:pt idx="1294">
                  <c:v>77.471554252199411</c:v>
                </c:pt>
                <c:pt idx="1295">
                  <c:v>77.383577712609963</c:v>
                </c:pt>
                <c:pt idx="1296">
                  <c:v>77.263929618768302</c:v>
                </c:pt>
                <c:pt idx="1297">
                  <c:v>76.992961876832837</c:v>
                </c:pt>
                <c:pt idx="1298">
                  <c:v>76.889736070381232</c:v>
                </c:pt>
                <c:pt idx="1299">
                  <c:v>76.680938416422279</c:v>
                </c:pt>
                <c:pt idx="1300">
                  <c:v>76.432258064516134</c:v>
                </c:pt>
                <c:pt idx="1301">
                  <c:v>76.281524926686217</c:v>
                </c:pt>
                <c:pt idx="1302">
                  <c:v>76.294428152492671</c:v>
                </c:pt>
                <c:pt idx="1303">
                  <c:v>76.148973607038116</c:v>
                </c:pt>
                <c:pt idx="1304">
                  <c:v>75.943108504398822</c:v>
                </c:pt>
                <c:pt idx="1305">
                  <c:v>75.797653958944281</c:v>
                </c:pt>
                <c:pt idx="1306">
                  <c:v>75.87859237536658</c:v>
                </c:pt>
                <c:pt idx="1307">
                  <c:v>76.018768328445759</c:v>
                </c:pt>
                <c:pt idx="1308">
                  <c:v>76.191202346041052</c:v>
                </c:pt>
                <c:pt idx="1309">
                  <c:v>76.305571847507323</c:v>
                </c:pt>
                <c:pt idx="1310">
                  <c:v>76.486217008797666</c:v>
                </c:pt>
                <c:pt idx="1311">
                  <c:v>76.510263929618759</c:v>
                </c:pt>
                <c:pt idx="1312">
                  <c:v>76.575953079178888</c:v>
                </c:pt>
                <c:pt idx="1313">
                  <c:v>76.578885630498533</c:v>
                </c:pt>
                <c:pt idx="1314">
                  <c:v>76.614076246334307</c:v>
                </c:pt>
                <c:pt idx="1315">
                  <c:v>76.683870967741925</c:v>
                </c:pt>
                <c:pt idx="1316">
                  <c:v>76.584164222873909</c:v>
                </c:pt>
                <c:pt idx="1317">
                  <c:v>76.515542521994135</c:v>
                </c:pt>
                <c:pt idx="1318">
                  <c:v>76.629912023460406</c:v>
                </c:pt>
                <c:pt idx="1319">
                  <c:v>76.712023460410563</c:v>
                </c:pt>
                <c:pt idx="1320">
                  <c:v>76.578885630498547</c:v>
                </c:pt>
                <c:pt idx="1321">
                  <c:v>76.457478005865113</c:v>
                </c:pt>
                <c:pt idx="1322">
                  <c:v>76.469208211143695</c:v>
                </c:pt>
                <c:pt idx="1323">
                  <c:v>76.35073313782992</c:v>
                </c:pt>
                <c:pt idx="1324">
                  <c:v>76.462756598240475</c:v>
                </c:pt>
                <c:pt idx="1325">
                  <c:v>76.451026392961879</c:v>
                </c:pt>
                <c:pt idx="1326">
                  <c:v>76.348973607038133</c:v>
                </c:pt>
                <c:pt idx="1327">
                  <c:v>76.469794721407638</c:v>
                </c:pt>
                <c:pt idx="1328">
                  <c:v>76.49032258064517</c:v>
                </c:pt>
                <c:pt idx="1329">
                  <c:v>76.539002932551313</c:v>
                </c:pt>
                <c:pt idx="1330">
                  <c:v>76.761876832844592</c:v>
                </c:pt>
                <c:pt idx="1331">
                  <c:v>76.761290322580649</c:v>
                </c:pt>
                <c:pt idx="1332">
                  <c:v>76.846334310850438</c:v>
                </c:pt>
                <c:pt idx="1333">
                  <c:v>76.861583577712608</c:v>
                </c:pt>
                <c:pt idx="1334">
                  <c:v>76.898533724340169</c:v>
                </c:pt>
                <c:pt idx="1335">
                  <c:v>76.950146627565957</c:v>
                </c:pt>
                <c:pt idx="1336">
                  <c:v>76.99706744868034</c:v>
                </c:pt>
                <c:pt idx="1337">
                  <c:v>76.886803519061573</c:v>
                </c:pt>
                <c:pt idx="1338">
                  <c:v>76.902639296187672</c:v>
                </c:pt>
                <c:pt idx="1339">
                  <c:v>76.692668621700861</c:v>
                </c:pt>
                <c:pt idx="1340">
                  <c:v>76.730791788856294</c:v>
                </c:pt>
                <c:pt idx="1341">
                  <c:v>76.529032258064504</c:v>
                </c:pt>
                <c:pt idx="1342">
                  <c:v>76.587683284457469</c:v>
                </c:pt>
                <c:pt idx="1343">
                  <c:v>76.536070381231667</c:v>
                </c:pt>
                <c:pt idx="1344">
                  <c:v>76.68035190615835</c:v>
                </c:pt>
                <c:pt idx="1345">
                  <c:v>76.60293255131964</c:v>
                </c:pt>
                <c:pt idx="1346">
                  <c:v>76.524340175953071</c:v>
                </c:pt>
                <c:pt idx="1347">
                  <c:v>76.637536656891513</c:v>
                </c:pt>
                <c:pt idx="1348">
                  <c:v>76.60175953079181</c:v>
                </c:pt>
                <c:pt idx="1349">
                  <c:v>76.504398826979511</c:v>
                </c:pt>
                <c:pt idx="1350">
                  <c:v>76.366568914956034</c:v>
                </c:pt>
                <c:pt idx="1351">
                  <c:v>76.472140762463354</c:v>
                </c:pt>
                <c:pt idx="1352">
                  <c:v>76.60293255131964</c:v>
                </c:pt>
                <c:pt idx="1353">
                  <c:v>76.487976539589425</c:v>
                </c:pt>
                <c:pt idx="1354">
                  <c:v>76.662170087976534</c:v>
                </c:pt>
                <c:pt idx="1355">
                  <c:v>76.72668621700879</c:v>
                </c:pt>
                <c:pt idx="1356">
                  <c:v>76.779472140762479</c:v>
                </c:pt>
                <c:pt idx="1357">
                  <c:v>76.797067448680366</c:v>
                </c:pt>
                <c:pt idx="1358">
                  <c:v>76.849266862170097</c:v>
                </c:pt>
                <c:pt idx="1359">
                  <c:v>76.965982404692085</c:v>
                </c:pt>
                <c:pt idx="1360">
                  <c:v>76.808797653958948</c:v>
                </c:pt>
                <c:pt idx="1361">
                  <c:v>76.79824046920821</c:v>
                </c:pt>
                <c:pt idx="1362">
                  <c:v>76.923753665689148</c:v>
                </c:pt>
                <c:pt idx="1363">
                  <c:v>77.007624633431078</c:v>
                </c:pt>
                <c:pt idx="1364">
                  <c:v>76.920234604105588</c:v>
                </c:pt>
                <c:pt idx="1365">
                  <c:v>77.004105571847518</c:v>
                </c:pt>
                <c:pt idx="1366">
                  <c:v>77.125513196480938</c:v>
                </c:pt>
                <c:pt idx="1367">
                  <c:v>77.171847507331378</c:v>
                </c:pt>
                <c:pt idx="1368">
                  <c:v>77.134897360703818</c:v>
                </c:pt>
                <c:pt idx="1369">
                  <c:v>77.139002932551321</c:v>
                </c:pt>
                <c:pt idx="1370">
                  <c:v>77.311436950146643</c:v>
                </c:pt>
                <c:pt idx="1371">
                  <c:v>77.141935483870967</c:v>
                </c:pt>
                <c:pt idx="1372">
                  <c:v>77.325513196480955</c:v>
                </c:pt>
                <c:pt idx="1373">
                  <c:v>77.181818181818187</c:v>
                </c:pt>
                <c:pt idx="1374">
                  <c:v>77.259237536656912</c:v>
                </c:pt>
                <c:pt idx="1375">
                  <c:v>77.196480938416414</c:v>
                </c:pt>
                <c:pt idx="1376">
                  <c:v>77.050439882697944</c:v>
                </c:pt>
                <c:pt idx="1377">
                  <c:v>76.994134897360695</c:v>
                </c:pt>
                <c:pt idx="1378">
                  <c:v>76.995894428152482</c:v>
                </c:pt>
                <c:pt idx="1379">
                  <c:v>76.94721407624634</c:v>
                </c:pt>
                <c:pt idx="1380">
                  <c:v>76.909090909090921</c:v>
                </c:pt>
                <c:pt idx="1381">
                  <c:v>76.921994134897361</c:v>
                </c:pt>
                <c:pt idx="1382">
                  <c:v>76.961290322580652</c:v>
                </c:pt>
                <c:pt idx="1383">
                  <c:v>76.892668621700864</c:v>
                </c:pt>
                <c:pt idx="1384">
                  <c:v>77.069794721407632</c:v>
                </c:pt>
                <c:pt idx="1385">
                  <c:v>76.945454545454552</c:v>
                </c:pt>
                <c:pt idx="1386">
                  <c:v>76.736656891495628</c:v>
                </c:pt>
                <c:pt idx="1387">
                  <c:v>76.761290322580663</c:v>
                </c:pt>
                <c:pt idx="1388">
                  <c:v>76.773020527859245</c:v>
                </c:pt>
                <c:pt idx="1389">
                  <c:v>76.748387096774209</c:v>
                </c:pt>
                <c:pt idx="1390">
                  <c:v>76.790615835777132</c:v>
                </c:pt>
                <c:pt idx="1391">
                  <c:v>76.745454545454535</c:v>
                </c:pt>
                <c:pt idx="1392">
                  <c:v>76.597653958944278</c:v>
                </c:pt>
                <c:pt idx="1393">
                  <c:v>76.5407624633431</c:v>
                </c:pt>
                <c:pt idx="1394">
                  <c:v>76.466862170087978</c:v>
                </c:pt>
                <c:pt idx="1395">
                  <c:v>76.330791788856303</c:v>
                </c:pt>
                <c:pt idx="1396">
                  <c:v>76.262756598240472</c:v>
                </c:pt>
                <c:pt idx="1397">
                  <c:v>76.116129032258073</c:v>
                </c:pt>
                <c:pt idx="1398">
                  <c:v>76.06862170087976</c:v>
                </c:pt>
                <c:pt idx="1399">
                  <c:v>76.21173020527857</c:v>
                </c:pt>
                <c:pt idx="1400">
                  <c:v>76.217008797653932</c:v>
                </c:pt>
                <c:pt idx="1401">
                  <c:v>76.160117302052768</c:v>
                </c:pt>
                <c:pt idx="1402">
                  <c:v>76.189442815249265</c:v>
                </c:pt>
                <c:pt idx="1403">
                  <c:v>76.049853372434015</c:v>
                </c:pt>
                <c:pt idx="1404">
                  <c:v>76.144868035190612</c:v>
                </c:pt>
                <c:pt idx="1405">
                  <c:v>76.112023460410555</c:v>
                </c:pt>
                <c:pt idx="1406">
                  <c:v>75.994721407624638</c:v>
                </c:pt>
                <c:pt idx="1407">
                  <c:v>76.073900293255136</c:v>
                </c:pt>
                <c:pt idx="1408">
                  <c:v>76.230498533724344</c:v>
                </c:pt>
                <c:pt idx="1409">
                  <c:v>76.231085043988273</c:v>
                </c:pt>
                <c:pt idx="1410">
                  <c:v>76.222873900293266</c:v>
                </c:pt>
                <c:pt idx="1411">
                  <c:v>76.257478005865138</c:v>
                </c:pt>
                <c:pt idx="1412">
                  <c:v>76.31319648093843</c:v>
                </c:pt>
                <c:pt idx="1413">
                  <c:v>76.272140762463366</c:v>
                </c:pt>
                <c:pt idx="1414">
                  <c:v>76.205278592375365</c:v>
                </c:pt>
                <c:pt idx="1415">
                  <c:v>76.163636363636371</c:v>
                </c:pt>
                <c:pt idx="1416">
                  <c:v>76.272140762463351</c:v>
                </c:pt>
                <c:pt idx="1417">
                  <c:v>76.476246334310858</c:v>
                </c:pt>
                <c:pt idx="1418">
                  <c:v>76.476832844574773</c:v>
                </c:pt>
                <c:pt idx="1419">
                  <c:v>76.486803519061581</c:v>
                </c:pt>
                <c:pt idx="1420">
                  <c:v>76.339589442815239</c:v>
                </c:pt>
                <c:pt idx="1421">
                  <c:v>76.343108504398828</c:v>
                </c:pt>
                <c:pt idx="1422">
                  <c:v>76.517888563049851</c:v>
                </c:pt>
                <c:pt idx="1423">
                  <c:v>76.55249266862171</c:v>
                </c:pt>
                <c:pt idx="1424">
                  <c:v>76.565982404692079</c:v>
                </c:pt>
                <c:pt idx="1425">
                  <c:v>76.506744868035184</c:v>
                </c:pt>
                <c:pt idx="1426">
                  <c:v>76.531964809384164</c:v>
                </c:pt>
                <c:pt idx="1427">
                  <c:v>76.513782991202319</c:v>
                </c:pt>
                <c:pt idx="1428">
                  <c:v>76.466275659824049</c:v>
                </c:pt>
                <c:pt idx="1429">
                  <c:v>76.467448680351893</c:v>
                </c:pt>
                <c:pt idx="1430">
                  <c:v>76.473313782991212</c:v>
                </c:pt>
                <c:pt idx="1431">
                  <c:v>76.431671554252205</c:v>
                </c:pt>
                <c:pt idx="1432">
                  <c:v>76.504985337243411</c:v>
                </c:pt>
                <c:pt idx="1433">
                  <c:v>76.486803519061596</c:v>
                </c:pt>
                <c:pt idx="1434">
                  <c:v>76.526099706744859</c:v>
                </c:pt>
                <c:pt idx="1435">
                  <c:v>76.535483870967724</c:v>
                </c:pt>
                <c:pt idx="1436">
                  <c:v>76.505571847507326</c:v>
                </c:pt>
                <c:pt idx="1437">
                  <c:v>76.629325513196477</c:v>
                </c:pt>
                <c:pt idx="1438">
                  <c:v>76.706744868035187</c:v>
                </c:pt>
                <c:pt idx="1439">
                  <c:v>76.614076246334321</c:v>
                </c:pt>
                <c:pt idx="1440">
                  <c:v>76.600000000000009</c:v>
                </c:pt>
                <c:pt idx="1441">
                  <c:v>76.764809384164252</c:v>
                </c:pt>
                <c:pt idx="1442">
                  <c:v>76.838123167155445</c:v>
                </c:pt>
                <c:pt idx="1443">
                  <c:v>76.749560117302067</c:v>
                </c:pt>
                <c:pt idx="1444">
                  <c:v>76.634604105571853</c:v>
                </c:pt>
                <c:pt idx="1445">
                  <c:v>76.611143695014661</c:v>
                </c:pt>
                <c:pt idx="1446">
                  <c:v>76.666862170087967</c:v>
                </c:pt>
                <c:pt idx="1447">
                  <c:v>76.581818181818178</c:v>
                </c:pt>
                <c:pt idx="1448">
                  <c:v>76.543695014662745</c:v>
                </c:pt>
                <c:pt idx="1449">
                  <c:v>76.48797653958944</c:v>
                </c:pt>
                <c:pt idx="1450">
                  <c:v>76.386510263929623</c:v>
                </c:pt>
                <c:pt idx="1451">
                  <c:v>76.498533724340177</c:v>
                </c:pt>
                <c:pt idx="1452">
                  <c:v>76.391202346041041</c:v>
                </c:pt>
                <c:pt idx="1453">
                  <c:v>76.262756598240472</c:v>
                </c:pt>
                <c:pt idx="1454">
                  <c:v>76.316129032258061</c:v>
                </c:pt>
                <c:pt idx="1455">
                  <c:v>76.335483870967735</c:v>
                </c:pt>
                <c:pt idx="1456">
                  <c:v>76.387096774193537</c:v>
                </c:pt>
                <c:pt idx="1457">
                  <c:v>76.371847507331367</c:v>
                </c:pt>
                <c:pt idx="1458">
                  <c:v>76.41642228739002</c:v>
                </c:pt>
                <c:pt idx="1459">
                  <c:v>76.581231671554249</c:v>
                </c:pt>
                <c:pt idx="1460">
                  <c:v>76.509090909090915</c:v>
                </c:pt>
                <c:pt idx="1461">
                  <c:v>76.354252199413509</c:v>
                </c:pt>
                <c:pt idx="1462">
                  <c:v>76.307917888563068</c:v>
                </c:pt>
                <c:pt idx="1463">
                  <c:v>76.316129032258075</c:v>
                </c:pt>
                <c:pt idx="1464">
                  <c:v>76.462170087976546</c:v>
                </c:pt>
                <c:pt idx="1465">
                  <c:v>76.387683284457481</c:v>
                </c:pt>
                <c:pt idx="1466">
                  <c:v>76.358357771261012</c:v>
                </c:pt>
                <c:pt idx="1467">
                  <c:v>76.327272727272742</c:v>
                </c:pt>
                <c:pt idx="1468">
                  <c:v>76.205278592375365</c:v>
                </c:pt>
                <c:pt idx="1469">
                  <c:v>76.106158357771264</c:v>
                </c:pt>
                <c:pt idx="1470">
                  <c:v>76.166568914956017</c:v>
                </c:pt>
                <c:pt idx="1471">
                  <c:v>76.146627565982413</c:v>
                </c:pt>
                <c:pt idx="1472">
                  <c:v>76.067448680351916</c:v>
                </c:pt>
                <c:pt idx="1473">
                  <c:v>75.982404692082127</c:v>
                </c:pt>
                <c:pt idx="1474">
                  <c:v>76.13607038123169</c:v>
                </c:pt>
                <c:pt idx="1475">
                  <c:v>76.204105571847506</c:v>
                </c:pt>
                <c:pt idx="1476">
                  <c:v>76.21466275659823</c:v>
                </c:pt>
                <c:pt idx="1477">
                  <c:v>75.990029325513191</c:v>
                </c:pt>
                <c:pt idx="1478">
                  <c:v>75.954252199413489</c:v>
                </c:pt>
                <c:pt idx="1479">
                  <c:v>75.919648093841644</c:v>
                </c:pt>
                <c:pt idx="1480">
                  <c:v>75.906158357771261</c:v>
                </c:pt>
                <c:pt idx="1481">
                  <c:v>76.113782991202342</c:v>
                </c:pt>
                <c:pt idx="1482">
                  <c:v>76</c:v>
                </c:pt>
                <c:pt idx="1483">
                  <c:v>76.004692082111433</c:v>
                </c:pt>
                <c:pt idx="1484">
                  <c:v>76.171260997067449</c:v>
                </c:pt>
                <c:pt idx="1485">
                  <c:v>76.013489736070369</c:v>
                </c:pt>
                <c:pt idx="1486">
                  <c:v>75.984750733137815</c:v>
                </c:pt>
                <c:pt idx="1487">
                  <c:v>76.076246334310838</c:v>
                </c:pt>
                <c:pt idx="1488">
                  <c:v>76.171260997067435</c:v>
                </c:pt>
                <c:pt idx="1489">
                  <c:v>76.199999999999989</c:v>
                </c:pt>
                <c:pt idx="1490">
                  <c:v>76.074486803519051</c:v>
                </c:pt>
                <c:pt idx="1491">
                  <c:v>76.182991202346031</c:v>
                </c:pt>
                <c:pt idx="1492">
                  <c:v>76.289149560117295</c:v>
                </c:pt>
                <c:pt idx="1493">
                  <c:v>76.294428152492671</c:v>
                </c:pt>
                <c:pt idx="1494">
                  <c:v>76.252785923753649</c:v>
                </c:pt>
                <c:pt idx="1495">
                  <c:v>76.195894428152471</c:v>
                </c:pt>
                <c:pt idx="1496">
                  <c:v>76.404105571847509</c:v>
                </c:pt>
                <c:pt idx="1497">
                  <c:v>76.268035190615834</c:v>
                </c:pt>
                <c:pt idx="1498">
                  <c:v>76.307331378299111</c:v>
                </c:pt>
                <c:pt idx="1499">
                  <c:v>76.482697947214078</c:v>
                </c:pt>
                <c:pt idx="1500">
                  <c:v>76.458651026392957</c:v>
                </c:pt>
                <c:pt idx="1501">
                  <c:v>76.435777126099694</c:v>
                </c:pt>
                <c:pt idx="1502">
                  <c:v>76.408797653958942</c:v>
                </c:pt>
                <c:pt idx="1503">
                  <c:v>76.448680351906162</c:v>
                </c:pt>
                <c:pt idx="1504">
                  <c:v>76.409384164222871</c:v>
                </c:pt>
                <c:pt idx="1505">
                  <c:v>76.280351906158373</c:v>
                </c:pt>
                <c:pt idx="1506">
                  <c:v>76.2299120234604</c:v>
                </c:pt>
                <c:pt idx="1507">
                  <c:v>76.266862170087975</c:v>
                </c:pt>
                <c:pt idx="1508">
                  <c:v>76.405278592375367</c:v>
                </c:pt>
                <c:pt idx="1509">
                  <c:v>76.383577712609963</c:v>
                </c:pt>
                <c:pt idx="1510">
                  <c:v>76.233431085043975</c:v>
                </c:pt>
                <c:pt idx="1511">
                  <c:v>76.248093841642245</c:v>
                </c:pt>
                <c:pt idx="1512">
                  <c:v>76.116129032258087</c:v>
                </c:pt>
                <c:pt idx="1513">
                  <c:v>76.089149560117335</c:v>
                </c:pt>
                <c:pt idx="1514">
                  <c:v>76.134897360703832</c:v>
                </c:pt>
                <c:pt idx="1515">
                  <c:v>75.999413489736071</c:v>
                </c:pt>
                <c:pt idx="1516">
                  <c:v>76.128445747800583</c:v>
                </c:pt>
                <c:pt idx="1517">
                  <c:v>76.109677419354838</c:v>
                </c:pt>
                <c:pt idx="1518">
                  <c:v>76.038709677419348</c:v>
                </c:pt>
                <c:pt idx="1519">
                  <c:v>76.069208211143689</c:v>
                </c:pt>
                <c:pt idx="1520">
                  <c:v>76.052199413489717</c:v>
                </c:pt>
                <c:pt idx="1521">
                  <c:v>76.09032258064515</c:v>
                </c:pt>
                <c:pt idx="1522">
                  <c:v>75.989442815249262</c:v>
                </c:pt>
                <c:pt idx="1523">
                  <c:v>75.930205278592368</c:v>
                </c:pt>
                <c:pt idx="1524">
                  <c:v>75.897947214076225</c:v>
                </c:pt>
                <c:pt idx="1525">
                  <c:v>75.896774193548382</c:v>
                </c:pt>
                <c:pt idx="1526">
                  <c:v>75.817595307917898</c:v>
                </c:pt>
                <c:pt idx="1527">
                  <c:v>75.796480938416437</c:v>
                </c:pt>
                <c:pt idx="1528">
                  <c:v>75.959530791788865</c:v>
                </c:pt>
                <c:pt idx="1529">
                  <c:v>75.964222873900312</c:v>
                </c:pt>
                <c:pt idx="1530">
                  <c:v>75.868035190615842</c:v>
                </c:pt>
                <c:pt idx="1531">
                  <c:v>76.058651026392965</c:v>
                </c:pt>
                <c:pt idx="1532">
                  <c:v>76.033431085044</c:v>
                </c:pt>
                <c:pt idx="1533">
                  <c:v>76.051612903225816</c:v>
                </c:pt>
                <c:pt idx="1534">
                  <c:v>76.061583577712625</c:v>
                </c:pt>
                <c:pt idx="1535">
                  <c:v>76.080938416422299</c:v>
                </c:pt>
                <c:pt idx="1536">
                  <c:v>76.079178885630512</c:v>
                </c:pt>
                <c:pt idx="1537">
                  <c:v>76.169501466275676</c:v>
                </c:pt>
                <c:pt idx="1538">
                  <c:v>76.286217008797678</c:v>
                </c:pt>
                <c:pt idx="1539">
                  <c:v>76.231671554252202</c:v>
                </c:pt>
                <c:pt idx="1540">
                  <c:v>76.286217008797664</c:v>
                </c:pt>
                <c:pt idx="1541">
                  <c:v>76.363636363636374</c:v>
                </c:pt>
                <c:pt idx="1542">
                  <c:v>76.288563049853366</c:v>
                </c:pt>
                <c:pt idx="1543">
                  <c:v>76.41642228739002</c:v>
                </c:pt>
                <c:pt idx="1544">
                  <c:v>76.616422287390009</c:v>
                </c:pt>
                <c:pt idx="1545">
                  <c:v>76.685630498533712</c:v>
                </c:pt>
                <c:pt idx="1546">
                  <c:v>76.780058651026394</c:v>
                </c:pt>
                <c:pt idx="1547">
                  <c:v>76.824046920821118</c:v>
                </c:pt>
                <c:pt idx="1548">
                  <c:v>76.802932551319657</c:v>
                </c:pt>
                <c:pt idx="1549">
                  <c:v>76.715542521994124</c:v>
                </c:pt>
                <c:pt idx="1550">
                  <c:v>76.688563049853357</c:v>
                </c:pt>
                <c:pt idx="1551">
                  <c:v>76.687390029325513</c:v>
                </c:pt>
                <c:pt idx="1552">
                  <c:v>76.757771260997075</c:v>
                </c:pt>
                <c:pt idx="1553">
                  <c:v>76.849266862170097</c:v>
                </c:pt>
                <c:pt idx="1554">
                  <c:v>76.812903225806465</c:v>
                </c:pt>
                <c:pt idx="1555">
                  <c:v>76.812316715542522</c:v>
                </c:pt>
                <c:pt idx="1556">
                  <c:v>76.734310850439883</c:v>
                </c:pt>
                <c:pt idx="1557">
                  <c:v>76.872140762463346</c:v>
                </c:pt>
                <c:pt idx="1558">
                  <c:v>76.779472140762479</c:v>
                </c:pt>
                <c:pt idx="1559">
                  <c:v>76.797067448680352</c:v>
                </c:pt>
                <c:pt idx="1560">
                  <c:v>76.829325513196494</c:v>
                </c:pt>
                <c:pt idx="1561">
                  <c:v>76.796480938416437</c:v>
                </c:pt>
                <c:pt idx="1562">
                  <c:v>76.778299120234621</c:v>
                </c:pt>
                <c:pt idx="1563">
                  <c:v>76.812903225806451</c:v>
                </c:pt>
                <c:pt idx="1564">
                  <c:v>76.723753665689145</c:v>
                </c:pt>
                <c:pt idx="1565">
                  <c:v>76.636363636363626</c:v>
                </c:pt>
                <c:pt idx="1566">
                  <c:v>76.693841642228733</c:v>
                </c:pt>
                <c:pt idx="1567">
                  <c:v>76.82521994134899</c:v>
                </c:pt>
                <c:pt idx="1568">
                  <c:v>76.718475073313783</c:v>
                </c:pt>
                <c:pt idx="1569">
                  <c:v>76.525513196480944</c:v>
                </c:pt>
                <c:pt idx="1570">
                  <c:v>76.651026392961896</c:v>
                </c:pt>
                <c:pt idx="1571">
                  <c:v>76.588856304985342</c:v>
                </c:pt>
                <c:pt idx="1572">
                  <c:v>76.727272727272734</c:v>
                </c:pt>
                <c:pt idx="1573">
                  <c:v>76.7049853372434</c:v>
                </c:pt>
                <c:pt idx="1574">
                  <c:v>76.643988269794733</c:v>
                </c:pt>
                <c:pt idx="1575">
                  <c:v>76.446920821114389</c:v>
                </c:pt>
                <c:pt idx="1576">
                  <c:v>76.405278592375367</c:v>
                </c:pt>
                <c:pt idx="1577">
                  <c:v>76.290322580645167</c:v>
                </c:pt>
                <c:pt idx="1578">
                  <c:v>76.327272727272728</c:v>
                </c:pt>
                <c:pt idx="1579">
                  <c:v>76.289736070381238</c:v>
                </c:pt>
                <c:pt idx="1580">
                  <c:v>76.260997067448685</c:v>
                </c:pt>
                <c:pt idx="1581">
                  <c:v>76.15249266862169</c:v>
                </c:pt>
                <c:pt idx="1582">
                  <c:v>76.197653958944272</c:v>
                </c:pt>
                <c:pt idx="1583">
                  <c:v>76.1964809384164</c:v>
                </c:pt>
                <c:pt idx="1584">
                  <c:v>76.008211143694993</c:v>
                </c:pt>
                <c:pt idx="1585">
                  <c:v>75.967741935483872</c:v>
                </c:pt>
                <c:pt idx="1586">
                  <c:v>75.97829912023461</c:v>
                </c:pt>
                <c:pt idx="1587">
                  <c:v>75.938416422287375</c:v>
                </c:pt>
                <c:pt idx="1588">
                  <c:v>75.967741935483858</c:v>
                </c:pt>
                <c:pt idx="1589">
                  <c:v>76.075073313782966</c:v>
                </c:pt>
                <c:pt idx="1590">
                  <c:v>76.105571847507292</c:v>
                </c:pt>
                <c:pt idx="1591">
                  <c:v>76.110263929618739</c:v>
                </c:pt>
                <c:pt idx="1592">
                  <c:v>76.134310850439874</c:v>
                </c:pt>
                <c:pt idx="1593">
                  <c:v>75.992961876832851</c:v>
                </c:pt>
                <c:pt idx="1594">
                  <c:v>76.068621700879774</c:v>
                </c:pt>
                <c:pt idx="1595">
                  <c:v>76.024633431085064</c:v>
                </c:pt>
                <c:pt idx="1596">
                  <c:v>76.062170087976554</c:v>
                </c:pt>
                <c:pt idx="1597">
                  <c:v>76.127272727272739</c:v>
                </c:pt>
                <c:pt idx="1598">
                  <c:v>76.12140762463342</c:v>
                </c:pt>
                <c:pt idx="1599">
                  <c:v>76.276832844574784</c:v>
                </c:pt>
                <c:pt idx="1600">
                  <c:v>76.247507331378316</c:v>
                </c:pt>
                <c:pt idx="1601">
                  <c:v>76.182404692082102</c:v>
                </c:pt>
                <c:pt idx="1602">
                  <c:v>76.237536656891493</c:v>
                </c:pt>
                <c:pt idx="1603">
                  <c:v>76.239882697947195</c:v>
                </c:pt>
                <c:pt idx="1604">
                  <c:v>76.238709677419322</c:v>
                </c:pt>
                <c:pt idx="1605">
                  <c:v>76.125513196480924</c:v>
                </c:pt>
                <c:pt idx="1606">
                  <c:v>76.146041055718456</c:v>
                </c:pt>
                <c:pt idx="1607">
                  <c:v>76</c:v>
                </c:pt>
                <c:pt idx="1608">
                  <c:v>76.070381231671547</c:v>
                </c:pt>
                <c:pt idx="1609">
                  <c:v>75.89149560117302</c:v>
                </c:pt>
                <c:pt idx="1610">
                  <c:v>76.053372434017575</c:v>
                </c:pt>
                <c:pt idx="1611">
                  <c:v>76.091495601173023</c:v>
                </c:pt>
                <c:pt idx="1612">
                  <c:v>76.319061583577707</c:v>
                </c:pt>
                <c:pt idx="1613">
                  <c:v>76.153665689149548</c:v>
                </c:pt>
                <c:pt idx="1614">
                  <c:v>76.1806451612903</c:v>
                </c:pt>
                <c:pt idx="1615">
                  <c:v>76.327859237536643</c:v>
                </c:pt>
                <c:pt idx="1616">
                  <c:v>76.412903225806431</c:v>
                </c:pt>
                <c:pt idx="1617">
                  <c:v>76.528445747800561</c:v>
                </c:pt>
                <c:pt idx="1618">
                  <c:v>76.687390029325485</c:v>
                </c:pt>
                <c:pt idx="1619">
                  <c:v>76.694428152492648</c:v>
                </c:pt>
                <c:pt idx="1620">
                  <c:v>76.671554252199385</c:v>
                </c:pt>
                <c:pt idx="1621">
                  <c:v>76.586510263929611</c:v>
                </c:pt>
                <c:pt idx="1622">
                  <c:v>76.68680351906157</c:v>
                </c:pt>
                <c:pt idx="1623">
                  <c:v>76.707917888563045</c:v>
                </c:pt>
                <c:pt idx="1624">
                  <c:v>76.852199413489743</c:v>
                </c:pt>
                <c:pt idx="1625">
                  <c:v>76.730791788856294</c:v>
                </c:pt>
                <c:pt idx="1626">
                  <c:v>76.750733137829926</c:v>
                </c:pt>
                <c:pt idx="1627">
                  <c:v>76.72668621700879</c:v>
                </c:pt>
                <c:pt idx="1628">
                  <c:v>76.649853372434023</c:v>
                </c:pt>
                <c:pt idx="1629">
                  <c:v>76.586510263929625</c:v>
                </c:pt>
                <c:pt idx="1630">
                  <c:v>76.575366568914959</c:v>
                </c:pt>
                <c:pt idx="1631">
                  <c:v>76.748387096774209</c:v>
                </c:pt>
                <c:pt idx="1632">
                  <c:v>76.7700879765396</c:v>
                </c:pt>
                <c:pt idx="1633">
                  <c:v>76.843401759530821</c:v>
                </c:pt>
                <c:pt idx="1634">
                  <c:v>76.835777126099728</c:v>
                </c:pt>
                <c:pt idx="1635">
                  <c:v>76.974193548387106</c:v>
                </c:pt>
                <c:pt idx="1636">
                  <c:v>77.084457478005874</c:v>
                </c:pt>
                <c:pt idx="1637">
                  <c:v>77.115542521994158</c:v>
                </c:pt>
                <c:pt idx="1638">
                  <c:v>77.256304985337266</c:v>
                </c:pt>
                <c:pt idx="1639">
                  <c:v>77.291495601173025</c:v>
                </c:pt>
                <c:pt idx="1640">
                  <c:v>77.348973607038133</c:v>
                </c:pt>
                <c:pt idx="1641">
                  <c:v>77.187096774193549</c:v>
                </c:pt>
                <c:pt idx="1642">
                  <c:v>77.291495601173025</c:v>
                </c:pt>
                <c:pt idx="1643">
                  <c:v>77.084457478005874</c:v>
                </c:pt>
                <c:pt idx="1644">
                  <c:v>77.187683284457492</c:v>
                </c:pt>
                <c:pt idx="1645">
                  <c:v>77.020527859237546</c:v>
                </c:pt>
                <c:pt idx="1646">
                  <c:v>76.945454545454567</c:v>
                </c:pt>
                <c:pt idx="1647">
                  <c:v>76.959530791788865</c:v>
                </c:pt>
                <c:pt idx="1648">
                  <c:v>76.848093841642239</c:v>
                </c:pt>
                <c:pt idx="1649">
                  <c:v>76.854545454545459</c:v>
                </c:pt>
                <c:pt idx="1650">
                  <c:v>76.779472140762479</c:v>
                </c:pt>
                <c:pt idx="1651">
                  <c:v>76.779472140762479</c:v>
                </c:pt>
                <c:pt idx="1652">
                  <c:v>76.738416422287415</c:v>
                </c:pt>
                <c:pt idx="1653">
                  <c:v>76.707917888563045</c:v>
                </c:pt>
                <c:pt idx="1654">
                  <c:v>76.686217008797627</c:v>
                </c:pt>
                <c:pt idx="1655">
                  <c:v>76.69970674486801</c:v>
                </c:pt>
                <c:pt idx="1656">
                  <c:v>76.670967741935456</c:v>
                </c:pt>
                <c:pt idx="1657">
                  <c:v>76.843988269794721</c:v>
                </c:pt>
                <c:pt idx="1658">
                  <c:v>76.809384164222863</c:v>
                </c:pt>
                <c:pt idx="1659">
                  <c:v>76.867448680351913</c:v>
                </c:pt>
                <c:pt idx="1660">
                  <c:v>76.908504398826992</c:v>
                </c:pt>
                <c:pt idx="1661">
                  <c:v>76.919648093841658</c:v>
                </c:pt>
                <c:pt idx="1662">
                  <c:v>76.840469208211175</c:v>
                </c:pt>
                <c:pt idx="1663">
                  <c:v>76.767155425219968</c:v>
                </c:pt>
                <c:pt idx="1664">
                  <c:v>76.741935483870989</c:v>
                </c:pt>
                <c:pt idx="1665">
                  <c:v>76.717302052785925</c:v>
                </c:pt>
                <c:pt idx="1666">
                  <c:v>76.62756598240469</c:v>
                </c:pt>
                <c:pt idx="1667">
                  <c:v>76.507917888563043</c:v>
                </c:pt>
                <c:pt idx="1668">
                  <c:v>76.526099706744859</c:v>
                </c:pt>
                <c:pt idx="1669">
                  <c:v>76.486803519061581</c:v>
                </c:pt>
                <c:pt idx="1670">
                  <c:v>76.407038123167155</c:v>
                </c:pt>
                <c:pt idx="1671">
                  <c:v>76.380058651026403</c:v>
                </c:pt>
                <c:pt idx="1672">
                  <c:v>76.490322580645156</c:v>
                </c:pt>
                <c:pt idx="1673">
                  <c:v>76.343695014662771</c:v>
                </c:pt>
                <c:pt idx="1674">
                  <c:v>76.44105571847507</c:v>
                </c:pt>
                <c:pt idx="1675">
                  <c:v>76.354838709677423</c:v>
                </c:pt>
                <c:pt idx="1676">
                  <c:v>76.494428152492674</c:v>
                </c:pt>
                <c:pt idx="1677">
                  <c:v>76.448093841642233</c:v>
                </c:pt>
                <c:pt idx="1678">
                  <c:v>76.519648093841639</c:v>
                </c:pt>
                <c:pt idx="1679">
                  <c:v>76.612316715542519</c:v>
                </c:pt>
                <c:pt idx="1680">
                  <c:v>76.621114369501456</c:v>
                </c:pt>
                <c:pt idx="1681">
                  <c:v>76.530205278592362</c:v>
                </c:pt>
                <c:pt idx="1682">
                  <c:v>76.500879765395894</c:v>
                </c:pt>
                <c:pt idx="1683">
                  <c:v>76.495014662756603</c:v>
                </c:pt>
                <c:pt idx="1684">
                  <c:v>76.557184750733143</c:v>
                </c:pt>
                <c:pt idx="1685">
                  <c:v>76.659824046920818</c:v>
                </c:pt>
                <c:pt idx="1686">
                  <c:v>76.494428152492674</c:v>
                </c:pt>
                <c:pt idx="1687">
                  <c:v>76.632844574780066</c:v>
                </c:pt>
                <c:pt idx="1688">
                  <c:v>76.445161290322588</c:v>
                </c:pt>
                <c:pt idx="1689">
                  <c:v>76.602932551319654</c:v>
                </c:pt>
                <c:pt idx="1690">
                  <c:v>76.557184750733143</c:v>
                </c:pt>
                <c:pt idx="1691">
                  <c:v>76.494428152492659</c:v>
                </c:pt>
                <c:pt idx="1692">
                  <c:v>76.500879765395894</c:v>
                </c:pt>
                <c:pt idx="1693">
                  <c:v>76.41407624633429</c:v>
                </c:pt>
                <c:pt idx="1694">
                  <c:v>76.356011730205282</c:v>
                </c:pt>
                <c:pt idx="1695">
                  <c:v>76.254545454545436</c:v>
                </c:pt>
                <c:pt idx="1696">
                  <c:v>76.212903225806443</c:v>
                </c:pt>
                <c:pt idx="1697">
                  <c:v>76.176539589442811</c:v>
                </c:pt>
                <c:pt idx="1698">
                  <c:v>76.234017595307918</c:v>
                </c:pt>
                <c:pt idx="1699">
                  <c:v>76.442815249266857</c:v>
                </c:pt>
                <c:pt idx="1700">
                  <c:v>76.450439882697935</c:v>
                </c:pt>
                <c:pt idx="1701">
                  <c:v>76.495601173020532</c:v>
                </c:pt>
                <c:pt idx="1702">
                  <c:v>76.683870967741925</c:v>
                </c:pt>
                <c:pt idx="1703">
                  <c:v>76.784164222873898</c:v>
                </c:pt>
                <c:pt idx="1704">
                  <c:v>76.998240469208199</c:v>
                </c:pt>
                <c:pt idx="1705">
                  <c:v>77.116715542521973</c:v>
                </c:pt>
                <c:pt idx="1706">
                  <c:v>77.181818181818159</c:v>
                </c:pt>
                <c:pt idx="1707">
                  <c:v>77.295014662756586</c:v>
                </c:pt>
                <c:pt idx="1708">
                  <c:v>77.499706744868021</c:v>
                </c:pt>
                <c:pt idx="1709">
                  <c:v>77.594134897360703</c:v>
                </c:pt>
                <c:pt idx="1710">
                  <c:v>77.556011730205284</c:v>
                </c:pt>
                <c:pt idx="1711">
                  <c:v>77.619354838709683</c:v>
                </c:pt>
                <c:pt idx="1712">
                  <c:v>77.830498533724338</c:v>
                </c:pt>
                <c:pt idx="1713">
                  <c:v>77.919648093841644</c:v>
                </c:pt>
                <c:pt idx="1714">
                  <c:v>77.991788856304993</c:v>
                </c:pt>
                <c:pt idx="1715">
                  <c:v>77.921994134897375</c:v>
                </c:pt>
                <c:pt idx="1716">
                  <c:v>77.866275659824055</c:v>
                </c:pt>
                <c:pt idx="1717">
                  <c:v>78.044574780058653</c:v>
                </c:pt>
                <c:pt idx="1718">
                  <c:v>78.059237536656894</c:v>
                </c:pt>
                <c:pt idx="1719">
                  <c:v>78.242815249266854</c:v>
                </c:pt>
                <c:pt idx="1720">
                  <c:v>78.299120234604118</c:v>
                </c:pt>
                <c:pt idx="1721">
                  <c:v>78.354252199413494</c:v>
                </c:pt>
                <c:pt idx="1722">
                  <c:v>78.546041055718476</c:v>
                </c:pt>
                <c:pt idx="1723">
                  <c:v>78.48797653958944</c:v>
                </c:pt>
                <c:pt idx="1724">
                  <c:v>78.739002932551315</c:v>
                </c:pt>
                <c:pt idx="1725">
                  <c:v>78.91319648093841</c:v>
                </c:pt>
                <c:pt idx="1726">
                  <c:v>79.167741935483861</c:v>
                </c:pt>
                <c:pt idx="1727">
                  <c:v>79.290909090909082</c:v>
                </c:pt>
                <c:pt idx="1728">
                  <c:v>79.473900293255127</c:v>
                </c:pt>
                <c:pt idx="1729">
                  <c:v>79.570674486803512</c:v>
                </c:pt>
                <c:pt idx="1730">
                  <c:v>79.55601173020527</c:v>
                </c:pt>
                <c:pt idx="1731">
                  <c:v>79.572434017595327</c:v>
                </c:pt>
                <c:pt idx="1732">
                  <c:v>79.620527859237555</c:v>
                </c:pt>
                <c:pt idx="1733">
                  <c:v>79.488563049853397</c:v>
                </c:pt>
                <c:pt idx="1734">
                  <c:v>79.475073313783</c:v>
                </c:pt>
                <c:pt idx="1735">
                  <c:v>79.435777126099723</c:v>
                </c:pt>
                <c:pt idx="1736">
                  <c:v>79.446920821114389</c:v>
                </c:pt>
                <c:pt idx="1737">
                  <c:v>79.544281524926703</c:v>
                </c:pt>
                <c:pt idx="1738">
                  <c:v>79.428739002932559</c:v>
                </c:pt>
                <c:pt idx="1739">
                  <c:v>79.325513196480941</c:v>
                </c:pt>
                <c:pt idx="1740">
                  <c:v>79.187683284457478</c:v>
                </c:pt>
                <c:pt idx="1741">
                  <c:v>79.316129032258075</c:v>
                </c:pt>
                <c:pt idx="1742">
                  <c:v>79.153665689149562</c:v>
                </c:pt>
                <c:pt idx="1743">
                  <c:v>78.913196480938424</c:v>
                </c:pt>
                <c:pt idx="1744">
                  <c:v>78.857478005865104</c:v>
                </c:pt>
                <c:pt idx="1745">
                  <c:v>78.890909090909105</c:v>
                </c:pt>
                <c:pt idx="1746">
                  <c:v>78.936070381231687</c:v>
                </c:pt>
                <c:pt idx="1747">
                  <c:v>78.85630498533726</c:v>
                </c:pt>
                <c:pt idx="1748">
                  <c:v>78.82580645161292</c:v>
                </c:pt>
                <c:pt idx="1749">
                  <c:v>78.674486803519059</c:v>
                </c:pt>
                <c:pt idx="1750">
                  <c:v>78.622873900293257</c:v>
                </c:pt>
                <c:pt idx="1751">
                  <c:v>78.584164222873895</c:v>
                </c:pt>
                <c:pt idx="1752">
                  <c:v>78.45689149560117</c:v>
                </c:pt>
                <c:pt idx="1753">
                  <c:v>78.1800586510264</c:v>
                </c:pt>
                <c:pt idx="1754">
                  <c:v>78.091495601173023</c:v>
                </c:pt>
                <c:pt idx="1755">
                  <c:v>77.965982404692085</c:v>
                </c:pt>
                <c:pt idx="1756">
                  <c:v>77.941348973607035</c:v>
                </c:pt>
                <c:pt idx="1757">
                  <c:v>77.793548387096777</c:v>
                </c:pt>
                <c:pt idx="1758">
                  <c:v>77.707917888563045</c:v>
                </c:pt>
                <c:pt idx="1759">
                  <c:v>77.676246334310846</c:v>
                </c:pt>
                <c:pt idx="1760">
                  <c:v>77.50967741935483</c:v>
                </c:pt>
                <c:pt idx="1761">
                  <c:v>77.242228739002925</c:v>
                </c:pt>
                <c:pt idx="1762">
                  <c:v>77.238709677419351</c:v>
                </c:pt>
                <c:pt idx="1763">
                  <c:v>77.109677419354838</c:v>
                </c:pt>
                <c:pt idx="1764">
                  <c:v>77.187096774193563</c:v>
                </c:pt>
                <c:pt idx="1765">
                  <c:v>77.087976539589462</c:v>
                </c:pt>
                <c:pt idx="1766">
                  <c:v>77.022873900293277</c:v>
                </c:pt>
                <c:pt idx="1767">
                  <c:v>76.981231671554269</c:v>
                </c:pt>
                <c:pt idx="1768">
                  <c:v>76.93782991202346</c:v>
                </c:pt>
                <c:pt idx="1769">
                  <c:v>76.805865102639302</c:v>
                </c:pt>
                <c:pt idx="1770">
                  <c:v>76.672727272727258</c:v>
                </c:pt>
                <c:pt idx="1771">
                  <c:v>76.551906158357767</c:v>
                </c:pt>
                <c:pt idx="1772">
                  <c:v>76.347214076246345</c:v>
                </c:pt>
                <c:pt idx="1773">
                  <c:v>76.262170087976557</c:v>
                </c:pt>
                <c:pt idx="1774">
                  <c:v>76.364222873900303</c:v>
                </c:pt>
                <c:pt idx="1775">
                  <c:v>76.314956011730217</c:v>
                </c:pt>
                <c:pt idx="1776">
                  <c:v>76.30439882697948</c:v>
                </c:pt>
                <c:pt idx="1777">
                  <c:v>76.217595307917875</c:v>
                </c:pt>
                <c:pt idx="1778">
                  <c:v>76.300293255131962</c:v>
                </c:pt>
                <c:pt idx="1779">
                  <c:v>76.183577712609974</c:v>
                </c:pt>
                <c:pt idx="1780">
                  <c:v>76.191202346041052</c:v>
                </c:pt>
                <c:pt idx="1781">
                  <c:v>76.10850439882698</c:v>
                </c:pt>
                <c:pt idx="1782">
                  <c:v>75.896187683284481</c:v>
                </c:pt>
                <c:pt idx="1783">
                  <c:v>76.002346041055716</c:v>
                </c:pt>
                <c:pt idx="1784">
                  <c:v>76.054545454545462</c:v>
                </c:pt>
                <c:pt idx="1785">
                  <c:v>76.059237536656894</c:v>
                </c:pt>
                <c:pt idx="1786">
                  <c:v>75.961876832844567</c:v>
                </c:pt>
                <c:pt idx="1787">
                  <c:v>75.864516129032268</c:v>
                </c:pt>
                <c:pt idx="1788">
                  <c:v>75.801173020527855</c:v>
                </c:pt>
                <c:pt idx="1789">
                  <c:v>75.77595307917889</c:v>
                </c:pt>
                <c:pt idx="1790">
                  <c:v>75.598240469208207</c:v>
                </c:pt>
                <c:pt idx="1791">
                  <c:v>75.790029325513217</c:v>
                </c:pt>
                <c:pt idx="1792">
                  <c:v>75.943695014662779</c:v>
                </c:pt>
                <c:pt idx="1793">
                  <c:v>75.975953079178908</c:v>
                </c:pt>
                <c:pt idx="1794">
                  <c:v>76.051612903225816</c:v>
                </c:pt>
                <c:pt idx="1795">
                  <c:v>75.888563049853389</c:v>
                </c:pt>
                <c:pt idx="1796">
                  <c:v>75.889149560117318</c:v>
                </c:pt>
                <c:pt idx="1797">
                  <c:v>75.907917888563048</c:v>
                </c:pt>
                <c:pt idx="1798">
                  <c:v>75.834604105571856</c:v>
                </c:pt>
                <c:pt idx="1799">
                  <c:v>75.687390029325513</c:v>
                </c:pt>
                <c:pt idx="1800">
                  <c:v>75.675073313782988</c:v>
                </c:pt>
                <c:pt idx="1801">
                  <c:v>75.783577712609983</c:v>
                </c:pt>
                <c:pt idx="1802">
                  <c:v>75.805865102639331</c:v>
                </c:pt>
                <c:pt idx="1803">
                  <c:v>75.983577712609986</c:v>
                </c:pt>
                <c:pt idx="1804">
                  <c:v>76.139002932551321</c:v>
                </c:pt>
                <c:pt idx="1805">
                  <c:v>76.160117302052768</c:v>
                </c:pt>
                <c:pt idx="1806">
                  <c:v>76.136656891495576</c:v>
                </c:pt>
                <c:pt idx="1807">
                  <c:v>76.184164222873889</c:v>
                </c:pt>
                <c:pt idx="1808">
                  <c:v>76.146627565982399</c:v>
                </c:pt>
                <c:pt idx="1809">
                  <c:v>76.051026392961887</c:v>
                </c:pt>
                <c:pt idx="1810">
                  <c:v>75.95894428152495</c:v>
                </c:pt>
                <c:pt idx="1811">
                  <c:v>75.939002932551332</c:v>
                </c:pt>
                <c:pt idx="1812">
                  <c:v>75.886803519061601</c:v>
                </c:pt>
                <c:pt idx="1813">
                  <c:v>75.961876832844581</c:v>
                </c:pt>
                <c:pt idx="1814">
                  <c:v>76.008797653958936</c:v>
                </c:pt>
                <c:pt idx="1815">
                  <c:v>76.095014662756583</c:v>
                </c:pt>
                <c:pt idx="1816">
                  <c:v>76.034017595307901</c:v>
                </c:pt>
                <c:pt idx="1817">
                  <c:v>76.089149560117292</c:v>
                </c:pt>
                <c:pt idx="1818">
                  <c:v>76.235190615835776</c:v>
                </c:pt>
                <c:pt idx="1819">
                  <c:v>76.387683284457481</c:v>
                </c:pt>
                <c:pt idx="1820">
                  <c:v>76.309090909090912</c:v>
                </c:pt>
                <c:pt idx="1821">
                  <c:v>76.445747800586503</c:v>
                </c:pt>
                <c:pt idx="1822">
                  <c:v>76.43225806451612</c:v>
                </c:pt>
                <c:pt idx="1823">
                  <c:v>76.377712609970672</c:v>
                </c:pt>
                <c:pt idx="1824">
                  <c:v>76.209384164222882</c:v>
                </c:pt>
                <c:pt idx="1825">
                  <c:v>76.161290322580641</c:v>
                </c:pt>
                <c:pt idx="1826">
                  <c:v>76.203519061583577</c:v>
                </c:pt>
                <c:pt idx="1827">
                  <c:v>76.188856304985336</c:v>
                </c:pt>
                <c:pt idx="1828">
                  <c:v>76.054545454545462</c:v>
                </c:pt>
                <c:pt idx="1829">
                  <c:v>76.118475073313789</c:v>
                </c:pt>
                <c:pt idx="1830">
                  <c:v>76.087976539589462</c:v>
                </c:pt>
                <c:pt idx="1831">
                  <c:v>76.196480938416428</c:v>
                </c:pt>
                <c:pt idx="1832">
                  <c:v>76.09325513196481</c:v>
                </c:pt>
                <c:pt idx="1833">
                  <c:v>76.153665689149562</c:v>
                </c:pt>
                <c:pt idx="1834">
                  <c:v>75.939589442815247</c:v>
                </c:pt>
                <c:pt idx="1835">
                  <c:v>75.794134897360706</c:v>
                </c:pt>
                <c:pt idx="1836">
                  <c:v>75.673900293255116</c:v>
                </c:pt>
                <c:pt idx="1837">
                  <c:v>75.697360703812308</c:v>
                </c:pt>
                <c:pt idx="1838">
                  <c:v>75.480351906158347</c:v>
                </c:pt>
                <c:pt idx="1839">
                  <c:v>75.415249266862162</c:v>
                </c:pt>
                <c:pt idx="1840">
                  <c:v>75.37536656891497</c:v>
                </c:pt>
                <c:pt idx="1841">
                  <c:v>75.479178885630503</c:v>
                </c:pt>
                <c:pt idx="1842">
                  <c:v>75.48739002932551</c:v>
                </c:pt>
                <c:pt idx="1843">
                  <c:v>75.59648093841642</c:v>
                </c:pt>
                <c:pt idx="1844">
                  <c:v>75.613489736070363</c:v>
                </c:pt>
                <c:pt idx="1845">
                  <c:v>75.582991202346037</c:v>
                </c:pt>
                <c:pt idx="1846">
                  <c:v>75.651612903225796</c:v>
                </c:pt>
                <c:pt idx="1847">
                  <c:v>75.818768328445756</c:v>
                </c:pt>
                <c:pt idx="1848">
                  <c:v>75.721994134897344</c:v>
                </c:pt>
                <c:pt idx="1849">
                  <c:v>75.58709677419354</c:v>
                </c:pt>
                <c:pt idx="1850">
                  <c:v>75.562463343108504</c:v>
                </c:pt>
                <c:pt idx="1851">
                  <c:v>75.628152492668619</c:v>
                </c:pt>
                <c:pt idx="1852">
                  <c:v>75.535483870967738</c:v>
                </c:pt>
                <c:pt idx="1853">
                  <c:v>75.399413489736077</c:v>
                </c:pt>
                <c:pt idx="1854">
                  <c:v>75.401759530791793</c:v>
                </c:pt>
                <c:pt idx="1855">
                  <c:v>75.438709677419382</c:v>
                </c:pt>
                <c:pt idx="1856">
                  <c:v>75.358944281524941</c:v>
                </c:pt>
                <c:pt idx="1857">
                  <c:v>75.485043988269808</c:v>
                </c:pt>
                <c:pt idx="1858">
                  <c:v>75.501466275659837</c:v>
                </c:pt>
                <c:pt idx="1859">
                  <c:v>75.667448680351924</c:v>
                </c:pt>
                <c:pt idx="1860">
                  <c:v>75.505571847507355</c:v>
                </c:pt>
                <c:pt idx="1861">
                  <c:v>75.587683284457498</c:v>
                </c:pt>
                <c:pt idx="1862">
                  <c:v>75.644574780058662</c:v>
                </c:pt>
                <c:pt idx="1863">
                  <c:v>75.840469208211161</c:v>
                </c:pt>
                <c:pt idx="1864">
                  <c:v>75.802932551319657</c:v>
                </c:pt>
                <c:pt idx="1865">
                  <c:v>75.882111436950154</c:v>
                </c:pt>
                <c:pt idx="1866">
                  <c:v>75.98064516129034</c:v>
                </c:pt>
                <c:pt idx="1867">
                  <c:v>75.957771260997077</c:v>
                </c:pt>
                <c:pt idx="1868">
                  <c:v>75.99882697947217</c:v>
                </c:pt>
                <c:pt idx="1869">
                  <c:v>76.196480938416428</c:v>
                </c:pt>
                <c:pt idx="1870">
                  <c:v>76.341935483870984</c:v>
                </c:pt>
                <c:pt idx="1871">
                  <c:v>76.475073313783</c:v>
                </c:pt>
                <c:pt idx="1872">
                  <c:v>76.506744868035199</c:v>
                </c:pt>
                <c:pt idx="1873">
                  <c:v>76.661583577712605</c:v>
                </c:pt>
                <c:pt idx="1874">
                  <c:v>76.689736070381215</c:v>
                </c:pt>
                <c:pt idx="1875">
                  <c:v>76.652785923753655</c:v>
                </c:pt>
                <c:pt idx="1876">
                  <c:v>76.683284457477995</c:v>
                </c:pt>
                <c:pt idx="1877">
                  <c:v>76.584750733137824</c:v>
                </c:pt>
                <c:pt idx="1878">
                  <c:v>76.582991202346037</c:v>
                </c:pt>
                <c:pt idx="1879">
                  <c:v>76.691495601173017</c:v>
                </c:pt>
                <c:pt idx="1880">
                  <c:v>76.641642228739002</c:v>
                </c:pt>
                <c:pt idx="1881">
                  <c:v>76.495014662756589</c:v>
                </c:pt>
                <c:pt idx="1882">
                  <c:v>76.416422287390034</c:v>
                </c:pt>
                <c:pt idx="1883">
                  <c:v>76.39706744868036</c:v>
                </c:pt>
                <c:pt idx="1884">
                  <c:v>76.394721407624644</c:v>
                </c:pt>
                <c:pt idx="1885">
                  <c:v>76.400586510263935</c:v>
                </c:pt>
                <c:pt idx="1886">
                  <c:v>76.363049853372445</c:v>
                </c:pt>
                <c:pt idx="1887">
                  <c:v>76.521407624633426</c:v>
                </c:pt>
                <c:pt idx="1888">
                  <c:v>76.52258064516127</c:v>
                </c:pt>
                <c:pt idx="1889">
                  <c:v>76.570674486803512</c:v>
                </c:pt>
                <c:pt idx="1890">
                  <c:v>76.527859237536646</c:v>
                </c:pt>
                <c:pt idx="1891">
                  <c:v>76.678005865102634</c:v>
                </c:pt>
                <c:pt idx="1892">
                  <c:v>76.778299120234607</c:v>
                </c:pt>
                <c:pt idx="1893">
                  <c:v>76.764809384164224</c:v>
                </c:pt>
                <c:pt idx="1894">
                  <c:v>76.758944281524933</c:v>
                </c:pt>
                <c:pt idx="1895">
                  <c:v>76.976539589442808</c:v>
                </c:pt>
                <c:pt idx="1896">
                  <c:v>77.024633431085036</c:v>
                </c:pt>
                <c:pt idx="1897">
                  <c:v>77.029912023460398</c:v>
                </c:pt>
                <c:pt idx="1898">
                  <c:v>77.240469208211138</c:v>
                </c:pt>
                <c:pt idx="1899">
                  <c:v>77.327272727272742</c:v>
                </c:pt>
                <c:pt idx="1900">
                  <c:v>77.330791788856317</c:v>
                </c:pt>
                <c:pt idx="1901">
                  <c:v>77.402932551319637</c:v>
                </c:pt>
                <c:pt idx="1902">
                  <c:v>77.452199413489737</c:v>
                </c:pt>
                <c:pt idx="1903">
                  <c:v>77.497360703812319</c:v>
                </c:pt>
                <c:pt idx="1904">
                  <c:v>77.427565982404673</c:v>
                </c:pt>
                <c:pt idx="1905">
                  <c:v>77.571847507331356</c:v>
                </c:pt>
                <c:pt idx="1906">
                  <c:v>77.692082111436946</c:v>
                </c:pt>
                <c:pt idx="1907">
                  <c:v>77.700293255131953</c:v>
                </c:pt>
                <c:pt idx="1908">
                  <c:v>77.873900293255133</c:v>
                </c:pt>
                <c:pt idx="1909">
                  <c:v>77.913196480938424</c:v>
                </c:pt>
                <c:pt idx="1910">
                  <c:v>78.076832844574781</c:v>
                </c:pt>
                <c:pt idx="1911">
                  <c:v>78.309090909090912</c:v>
                </c:pt>
                <c:pt idx="1912">
                  <c:v>78.540175953079185</c:v>
                </c:pt>
                <c:pt idx="1913">
                  <c:v>78.647507331378293</c:v>
                </c:pt>
                <c:pt idx="1914">
                  <c:v>78.695014662756591</c:v>
                </c:pt>
                <c:pt idx="1915">
                  <c:v>78.827565982404678</c:v>
                </c:pt>
                <c:pt idx="1916">
                  <c:v>79.008797653958922</c:v>
                </c:pt>
                <c:pt idx="1917">
                  <c:v>79.164809384164201</c:v>
                </c:pt>
                <c:pt idx="1918">
                  <c:v>79.278592375366557</c:v>
                </c:pt>
                <c:pt idx="1919">
                  <c:v>79.252199413489706</c:v>
                </c:pt>
                <c:pt idx="1920">
                  <c:v>79.312609970674472</c:v>
                </c:pt>
                <c:pt idx="1921">
                  <c:v>79.46334310850439</c:v>
                </c:pt>
                <c:pt idx="1922">
                  <c:v>79.446920821114361</c:v>
                </c:pt>
                <c:pt idx="1923">
                  <c:v>79.541935483870972</c:v>
                </c:pt>
                <c:pt idx="1924">
                  <c:v>79.493255131964816</c:v>
                </c:pt>
                <c:pt idx="1925">
                  <c:v>79.475659824046929</c:v>
                </c:pt>
                <c:pt idx="1926">
                  <c:v>79.436950146627581</c:v>
                </c:pt>
                <c:pt idx="1927">
                  <c:v>79.550733137829923</c:v>
                </c:pt>
                <c:pt idx="1928">
                  <c:v>79.649853372434038</c:v>
                </c:pt>
                <c:pt idx="1929">
                  <c:v>79.601173020527852</c:v>
                </c:pt>
                <c:pt idx="1930">
                  <c:v>79.439882697947212</c:v>
                </c:pt>
                <c:pt idx="1931">
                  <c:v>79.337243401759537</c:v>
                </c:pt>
                <c:pt idx="1932">
                  <c:v>79.193548387096783</c:v>
                </c:pt>
                <c:pt idx="1933">
                  <c:v>79.193548387096769</c:v>
                </c:pt>
                <c:pt idx="1934">
                  <c:v>79.009384164222894</c:v>
                </c:pt>
                <c:pt idx="1935">
                  <c:v>79.072727272727292</c:v>
                </c:pt>
                <c:pt idx="1936">
                  <c:v>78.892668621700892</c:v>
                </c:pt>
                <c:pt idx="1937">
                  <c:v>78.770087976539585</c:v>
                </c:pt>
                <c:pt idx="1938">
                  <c:v>78.612316715542505</c:v>
                </c:pt>
                <c:pt idx="1939">
                  <c:v>78.411730205278587</c:v>
                </c:pt>
                <c:pt idx="1940">
                  <c:v>78.295014662756586</c:v>
                </c:pt>
                <c:pt idx="1941">
                  <c:v>78.167741935483861</c:v>
                </c:pt>
                <c:pt idx="1942">
                  <c:v>78.110850439882682</c:v>
                </c:pt>
                <c:pt idx="1943">
                  <c:v>77.848093841642211</c:v>
                </c:pt>
                <c:pt idx="1944">
                  <c:v>77.817595307917856</c:v>
                </c:pt>
                <c:pt idx="1945">
                  <c:v>77.845747800586494</c:v>
                </c:pt>
                <c:pt idx="1946">
                  <c:v>77.797067448680338</c:v>
                </c:pt>
                <c:pt idx="1947">
                  <c:v>77.534897360703809</c:v>
                </c:pt>
                <c:pt idx="1948">
                  <c:v>77.387096774193552</c:v>
                </c:pt>
                <c:pt idx="1949">
                  <c:v>77.123753665689151</c:v>
                </c:pt>
                <c:pt idx="1950">
                  <c:v>77.170087976539577</c:v>
                </c:pt>
                <c:pt idx="1951">
                  <c:v>77.056891495601178</c:v>
                </c:pt>
                <c:pt idx="1952">
                  <c:v>76.955425219941347</c:v>
                </c:pt>
                <c:pt idx="1953">
                  <c:v>76.813489736070366</c:v>
                </c:pt>
                <c:pt idx="1954">
                  <c:v>76.57829912023459</c:v>
                </c:pt>
                <c:pt idx="1955">
                  <c:v>76.668035190615811</c:v>
                </c:pt>
                <c:pt idx="1956">
                  <c:v>76.603519061583555</c:v>
                </c:pt>
                <c:pt idx="1957">
                  <c:v>76.585923753665668</c:v>
                </c:pt>
                <c:pt idx="1958">
                  <c:v>76.476246334310844</c:v>
                </c:pt>
                <c:pt idx="1959">
                  <c:v>76.367155425219948</c:v>
                </c:pt>
                <c:pt idx="1960">
                  <c:v>76.396480938416431</c:v>
                </c:pt>
                <c:pt idx="1961">
                  <c:v>76.316715542522005</c:v>
                </c:pt>
                <c:pt idx="1962">
                  <c:v>76.240469208211138</c:v>
                </c:pt>
                <c:pt idx="1963">
                  <c:v>76.262170087976557</c:v>
                </c:pt>
                <c:pt idx="1964">
                  <c:v>76.217008797653961</c:v>
                </c:pt>
                <c:pt idx="1965">
                  <c:v>76.215249266862173</c:v>
                </c:pt>
                <c:pt idx="1966">
                  <c:v>76.209970674486812</c:v>
                </c:pt>
                <c:pt idx="1967">
                  <c:v>76.128445747800598</c:v>
                </c:pt>
                <c:pt idx="1968">
                  <c:v>76.285630498533749</c:v>
                </c:pt>
                <c:pt idx="1969">
                  <c:v>76.358357771260998</c:v>
                </c:pt>
                <c:pt idx="1970">
                  <c:v>76.409384164222871</c:v>
                </c:pt>
                <c:pt idx="1971">
                  <c:v>76.329032258064515</c:v>
                </c:pt>
                <c:pt idx="1972">
                  <c:v>76.225806451612883</c:v>
                </c:pt>
                <c:pt idx="1973">
                  <c:v>76.015835777126085</c:v>
                </c:pt>
                <c:pt idx="1974">
                  <c:v>76.107917888563037</c:v>
                </c:pt>
                <c:pt idx="1975">
                  <c:v>76.004692082111433</c:v>
                </c:pt>
                <c:pt idx="1976">
                  <c:v>75.912609970674495</c:v>
                </c:pt>
                <c:pt idx="1977">
                  <c:v>75.87859237536658</c:v>
                </c:pt>
                <c:pt idx="1978">
                  <c:v>75.936656891495616</c:v>
                </c:pt>
                <c:pt idx="1979">
                  <c:v>76.069794721407632</c:v>
                </c:pt>
                <c:pt idx="1980">
                  <c:v>76.144281524926697</c:v>
                </c:pt>
                <c:pt idx="1981">
                  <c:v>76.018181818181816</c:v>
                </c:pt>
                <c:pt idx="1982">
                  <c:v>76.00293255131966</c:v>
                </c:pt>
                <c:pt idx="1983">
                  <c:v>75.964222873900297</c:v>
                </c:pt>
                <c:pt idx="1984">
                  <c:v>76.156598240469208</c:v>
                </c:pt>
                <c:pt idx="1985">
                  <c:v>76.290909090909111</c:v>
                </c:pt>
                <c:pt idx="1986">
                  <c:v>76.146627565982413</c:v>
                </c:pt>
                <c:pt idx="1987">
                  <c:v>76.090322580645164</c:v>
                </c:pt>
                <c:pt idx="1988">
                  <c:v>76.064516129032256</c:v>
                </c:pt>
                <c:pt idx="1989">
                  <c:v>76.087976539589448</c:v>
                </c:pt>
                <c:pt idx="1990">
                  <c:v>76.039882697947192</c:v>
                </c:pt>
                <c:pt idx="1991">
                  <c:v>76.026979472140752</c:v>
                </c:pt>
                <c:pt idx="1992">
                  <c:v>76.008211143695007</c:v>
                </c:pt>
                <c:pt idx="1993">
                  <c:v>75.977126099706751</c:v>
                </c:pt>
                <c:pt idx="1994">
                  <c:v>76.017595307917887</c:v>
                </c:pt>
                <c:pt idx="1995">
                  <c:v>75.927272727272722</c:v>
                </c:pt>
                <c:pt idx="1996">
                  <c:v>75.933724340175957</c:v>
                </c:pt>
                <c:pt idx="1997">
                  <c:v>75.779472140762465</c:v>
                </c:pt>
                <c:pt idx="1998">
                  <c:v>75.787096774193543</c:v>
                </c:pt>
                <c:pt idx="1999">
                  <c:v>75.64574780058652</c:v>
                </c:pt>
                <c:pt idx="2000">
                  <c:v>75.573020527859242</c:v>
                </c:pt>
                <c:pt idx="2001">
                  <c:v>75.595307917888576</c:v>
                </c:pt>
                <c:pt idx="2002">
                  <c:v>75.613489736070377</c:v>
                </c:pt>
                <c:pt idx="2003">
                  <c:v>75.794134897360692</c:v>
                </c:pt>
                <c:pt idx="2004">
                  <c:v>75.825219941348976</c:v>
                </c:pt>
                <c:pt idx="2005">
                  <c:v>75.858064516129033</c:v>
                </c:pt>
                <c:pt idx="2006">
                  <c:v>75.902639296187687</c:v>
                </c:pt>
                <c:pt idx="2007">
                  <c:v>75.878005865102651</c:v>
                </c:pt>
                <c:pt idx="2008">
                  <c:v>75.829325513196494</c:v>
                </c:pt>
                <c:pt idx="2009">
                  <c:v>75.858651026392977</c:v>
                </c:pt>
                <c:pt idx="2010">
                  <c:v>75.808211143695019</c:v>
                </c:pt>
                <c:pt idx="2011">
                  <c:v>75.724926686216989</c:v>
                </c:pt>
                <c:pt idx="2012">
                  <c:v>75.717302052785911</c:v>
                </c:pt>
                <c:pt idx="2013">
                  <c:v>75.643988269794718</c:v>
                </c:pt>
                <c:pt idx="2014">
                  <c:v>75.531964809384164</c:v>
                </c:pt>
                <c:pt idx="2015">
                  <c:v>75.421114369501481</c:v>
                </c:pt>
                <c:pt idx="2016">
                  <c:v>75.427565982404701</c:v>
                </c:pt>
                <c:pt idx="2017">
                  <c:v>75.382404692082119</c:v>
                </c:pt>
                <c:pt idx="2018">
                  <c:v>75.425806451612914</c:v>
                </c:pt>
                <c:pt idx="2019">
                  <c:v>75.343695014662771</c:v>
                </c:pt>
                <c:pt idx="2020">
                  <c:v>75.189442815249265</c:v>
                </c:pt>
                <c:pt idx="2021">
                  <c:v>75.30146627565982</c:v>
                </c:pt>
                <c:pt idx="2022">
                  <c:v>75.249266862170074</c:v>
                </c:pt>
                <c:pt idx="2023">
                  <c:v>75.390615835777126</c:v>
                </c:pt>
                <c:pt idx="2024">
                  <c:v>75.575366568914959</c:v>
                </c:pt>
                <c:pt idx="2025">
                  <c:v>75.563049853372419</c:v>
                </c:pt>
                <c:pt idx="2026">
                  <c:v>75.587683284457469</c:v>
                </c:pt>
                <c:pt idx="2027">
                  <c:v>75.697360703812308</c:v>
                </c:pt>
                <c:pt idx="2028">
                  <c:v>75.6557184750733</c:v>
                </c:pt>
                <c:pt idx="2029">
                  <c:v>75.7542521994135</c:v>
                </c:pt>
                <c:pt idx="2030">
                  <c:v>75.898533724340169</c:v>
                </c:pt>
                <c:pt idx="2031">
                  <c:v>75.904985337243389</c:v>
                </c:pt>
                <c:pt idx="2032">
                  <c:v>75.873313782991175</c:v>
                </c:pt>
                <c:pt idx="2033">
                  <c:v>75.967155425219914</c:v>
                </c:pt>
                <c:pt idx="2034">
                  <c:v>75.91319648093841</c:v>
                </c:pt>
                <c:pt idx="2035">
                  <c:v>75.943108504398822</c:v>
                </c:pt>
                <c:pt idx="2036">
                  <c:v>75.805865102639302</c:v>
                </c:pt>
                <c:pt idx="2037">
                  <c:v>75.946041055718467</c:v>
                </c:pt>
                <c:pt idx="2038">
                  <c:v>76.103225806451604</c:v>
                </c:pt>
                <c:pt idx="2039">
                  <c:v>76.202932551319634</c:v>
                </c:pt>
                <c:pt idx="2040">
                  <c:v>76.136070381231661</c:v>
                </c:pt>
                <c:pt idx="2041">
                  <c:v>76.160117302052782</c:v>
                </c:pt>
                <c:pt idx="2042">
                  <c:v>76.315542521994132</c:v>
                </c:pt>
                <c:pt idx="2043">
                  <c:v>76.429325513196488</c:v>
                </c:pt>
                <c:pt idx="2044">
                  <c:v>76.391202346041069</c:v>
                </c:pt>
                <c:pt idx="2045">
                  <c:v>76.393548387096786</c:v>
                </c:pt>
                <c:pt idx="2046">
                  <c:v>76.385923753665708</c:v>
                </c:pt>
                <c:pt idx="2047">
                  <c:v>76.212903225806457</c:v>
                </c:pt>
                <c:pt idx="2048">
                  <c:v>76.417595307917892</c:v>
                </c:pt>
                <c:pt idx="2049">
                  <c:v>76.484457478005865</c:v>
                </c:pt>
                <c:pt idx="2050">
                  <c:v>76.580645161290292</c:v>
                </c:pt>
                <c:pt idx="2051">
                  <c:v>76.794721407624621</c:v>
                </c:pt>
                <c:pt idx="2052">
                  <c:v>76.778885630498536</c:v>
                </c:pt>
                <c:pt idx="2053">
                  <c:v>76.738416422287372</c:v>
                </c:pt>
                <c:pt idx="2054">
                  <c:v>76.795307917888564</c:v>
                </c:pt>
                <c:pt idx="2055">
                  <c:v>76.784164222873898</c:v>
                </c:pt>
                <c:pt idx="2056">
                  <c:v>76.794721407624635</c:v>
                </c:pt>
                <c:pt idx="2057">
                  <c:v>76.907331378299119</c:v>
                </c:pt>
                <c:pt idx="2058">
                  <c:v>76.948387096774198</c:v>
                </c:pt>
                <c:pt idx="2059">
                  <c:v>77.012903225806454</c:v>
                </c:pt>
                <c:pt idx="2060">
                  <c:v>77.035777126099703</c:v>
                </c:pt>
                <c:pt idx="2061">
                  <c:v>76.846920821114367</c:v>
                </c:pt>
                <c:pt idx="2062">
                  <c:v>77.008797653958936</c:v>
                </c:pt>
                <c:pt idx="2063">
                  <c:v>77.039882697947206</c:v>
                </c:pt>
                <c:pt idx="2064">
                  <c:v>77.125513196480924</c:v>
                </c:pt>
                <c:pt idx="2065">
                  <c:v>77.130205278592356</c:v>
                </c:pt>
                <c:pt idx="2066">
                  <c:v>77.129618768328427</c:v>
                </c:pt>
                <c:pt idx="2067">
                  <c:v>77.2950146627566</c:v>
                </c:pt>
                <c:pt idx="2068">
                  <c:v>77.148387096774186</c:v>
                </c:pt>
                <c:pt idx="2069">
                  <c:v>77.187096774193549</c:v>
                </c:pt>
                <c:pt idx="2070">
                  <c:v>77.113782991202356</c:v>
                </c:pt>
                <c:pt idx="2071">
                  <c:v>77.075659824046909</c:v>
                </c:pt>
                <c:pt idx="2072">
                  <c:v>77.048680351906171</c:v>
                </c:pt>
                <c:pt idx="2073">
                  <c:v>77.05865102639298</c:v>
                </c:pt>
                <c:pt idx="2074">
                  <c:v>77.060997067448682</c:v>
                </c:pt>
                <c:pt idx="2075">
                  <c:v>77.209384164222868</c:v>
                </c:pt>
                <c:pt idx="2076">
                  <c:v>77.317302052785934</c:v>
                </c:pt>
                <c:pt idx="2077">
                  <c:v>77.273313782991195</c:v>
                </c:pt>
                <c:pt idx="2078">
                  <c:v>77.48739002932551</c:v>
                </c:pt>
                <c:pt idx="2079">
                  <c:v>77.465102639296177</c:v>
                </c:pt>
                <c:pt idx="2080">
                  <c:v>77.517888563049851</c:v>
                </c:pt>
                <c:pt idx="2081">
                  <c:v>77.513782991202348</c:v>
                </c:pt>
                <c:pt idx="2082">
                  <c:v>77.330791788856317</c:v>
                </c:pt>
                <c:pt idx="2083">
                  <c:v>77.176539589442825</c:v>
                </c:pt>
                <c:pt idx="2084">
                  <c:v>77.240469208211138</c:v>
                </c:pt>
                <c:pt idx="2085">
                  <c:v>77.054545454545448</c:v>
                </c:pt>
                <c:pt idx="2086">
                  <c:v>76.980645161290326</c:v>
                </c:pt>
                <c:pt idx="2087">
                  <c:v>76.977126099706737</c:v>
                </c:pt>
                <c:pt idx="2088">
                  <c:v>76.861583577712594</c:v>
                </c:pt>
                <c:pt idx="2089">
                  <c:v>76.897360703812296</c:v>
                </c:pt>
                <c:pt idx="2090">
                  <c:v>77.059824046920824</c:v>
                </c:pt>
                <c:pt idx="2091">
                  <c:v>76.968328445747801</c:v>
                </c:pt>
                <c:pt idx="2092">
                  <c:v>77.026979472140752</c:v>
                </c:pt>
                <c:pt idx="2093">
                  <c:v>76.943108504398822</c:v>
                </c:pt>
                <c:pt idx="2094">
                  <c:v>76.902639296187672</c:v>
                </c:pt>
                <c:pt idx="2095">
                  <c:v>76.795894428152508</c:v>
                </c:pt>
                <c:pt idx="2096">
                  <c:v>76.836363636363657</c:v>
                </c:pt>
                <c:pt idx="2097">
                  <c:v>76.858651026392977</c:v>
                </c:pt>
                <c:pt idx="2098">
                  <c:v>76.693255131964804</c:v>
                </c:pt>
                <c:pt idx="2099">
                  <c:v>76.794721407624635</c:v>
                </c:pt>
                <c:pt idx="2100">
                  <c:v>76.688563049853357</c:v>
                </c:pt>
                <c:pt idx="2101">
                  <c:v>76.76832844574777</c:v>
                </c:pt>
                <c:pt idx="2102">
                  <c:v>76.826979472140764</c:v>
                </c:pt>
                <c:pt idx="2103">
                  <c:v>76.805865102639288</c:v>
                </c:pt>
                <c:pt idx="2104">
                  <c:v>76.751319648093826</c:v>
                </c:pt>
                <c:pt idx="2105">
                  <c:v>76.602932551319626</c:v>
                </c:pt>
                <c:pt idx="2106">
                  <c:v>76.610557184750718</c:v>
                </c:pt>
                <c:pt idx="2107">
                  <c:v>76.523753665689128</c:v>
                </c:pt>
                <c:pt idx="2108">
                  <c:v>76.568328445747781</c:v>
                </c:pt>
                <c:pt idx="2109">
                  <c:v>76.52903225806449</c:v>
                </c:pt>
                <c:pt idx="2110">
                  <c:v>76.442228739002928</c:v>
                </c:pt>
                <c:pt idx="2111">
                  <c:v>76.436950146627566</c:v>
                </c:pt>
                <c:pt idx="2112">
                  <c:v>76.35073313782992</c:v>
                </c:pt>
                <c:pt idx="2113">
                  <c:v>76.519648093841653</c:v>
                </c:pt>
                <c:pt idx="2114">
                  <c:v>76.693841642228733</c:v>
                </c:pt>
                <c:pt idx="2115">
                  <c:v>76.544281524926689</c:v>
                </c:pt>
                <c:pt idx="2116">
                  <c:v>76.594721407624633</c:v>
                </c:pt>
                <c:pt idx="2117">
                  <c:v>76.679765395894421</c:v>
                </c:pt>
                <c:pt idx="2118">
                  <c:v>76.619941348973597</c:v>
                </c:pt>
                <c:pt idx="2119">
                  <c:v>76.65865102639296</c:v>
                </c:pt>
                <c:pt idx="2120">
                  <c:v>76.563636363636363</c:v>
                </c:pt>
                <c:pt idx="2121">
                  <c:v>76.45689149560117</c:v>
                </c:pt>
                <c:pt idx="2122">
                  <c:v>76.511436950146631</c:v>
                </c:pt>
                <c:pt idx="2123">
                  <c:v>76.638123167155427</c:v>
                </c:pt>
                <c:pt idx="2124">
                  <c:v>76.597067448680363</c:v>
                </c:pt>
                <c:pt idx="2125">
                  <c:v>76.636363636363654</c:v>
                </c:pt>
                <c:pt idx="2126">
                  <c:v>76.748973607038153</c:v>
                </c:pt>
                <c:pt idx="2127">
                  <c:v>76.652785923753683</c:v>
                </c:pt>
                <c:pt idx="2128">
                  <c:v>76.609384164222902</c:v>
                </c:pt>
                <c:pt idx="2129">
                  <c:v>76.824633431085076</c:v>
                </c:pt>
                <c:pt idx="2130">
                  <c:v>76.782991202346068</c:v>
                </c:pt>
                <c:pt idx="2131">
                  <c:v>76.736656891495599</c:v>
                </c:pt>
                <c:pt idx="2132">
                  <c:v>76.646920821114378</c:v>
                </c:pt>
                <c:pt idx="2133">
                  <c:v>76.67390029325513</c:v>
                </c:pt>
                <c:pt idx="2134">
                  <c:v>76.725513196480932</c:v>
                </c:pt>
                <c:pt idx="2135">
                  <c:v>76.753665689149571</c:v>
                </c:pt>
                <c:pt idx="2136">
                  <c:v>76.724340175953074</c:v>
                </c:pt>
                <c:pt idx="2137">
                  <c:v>76.757771260997089</c:v>
                </c:pt>
                <c:pt idx="2138">
                  <c:v>76.879765395894424</c:v>
                </c:pt>
                <c:pt idx="2139">
                  <c:v>76.832258064516125</c:v>
                </c:pt>
                <c:pt idx="2140">
                  <c:v>76.678592375366577</c:v>
                </c:pt>
                <c:pt idx="2141">
                  <c:v>76.594134897360689</c:v>
                </c:pt>
                <c:pt idx="2142">
                  <c:v>76.558357771261001</c:v>
                </c:pt>
                <c:pt idx="2143">
                  <c:v>76.646334310850435</c:v>
                </c:pt>
                <c:pt idx="2144">
                  <c:v>76.60293255131964</c:v>
                </c:pt>
                <c:pt idx="2145">
                  <c:v>76.506158357771255</c:v>
                </c:pt>
                <c:pt idx="2146">
                  <c:v>76.711436950146634</c:v>
                </c:pt>
                <c:pt idx="2147">
                  <c:v>76.661583577712605</c:v>
                </c:pt>
                <c:pt idx="2148">
                  <c:v>76.560703812316717</c:v>
                </c:pt>
                <c:pt idx="2149">
                  <c:v>76.715542521994138</c:v>
                </c:pt>
                <c:pt idx="2150">
                  <c:v>76.700293255131967</c:v>
                </c:pt>
                <c:pt idx="2151">
                  <c:v>76.727859237536649</c:v>
                </c:pt>
                <c:pt idx="2152">
                  <c:v>76.659824046920818</c:v>
                </c:pt>
                <c:pt idx="2153">
                  <c:v>76.759530791788862</c:v>
                </c:pt>
                <c:pt idx="2154">
                  <c:v>76.743108504398819</c:v>
                </c:pt>
                <c:pt idx="2155">
                  <c:v>76.886803519061601</c:v>
                </c:pt>
                <c:pt idx="2156">
                  <c:v>76.837536656891515</c:v>
                </c:pt>
                <c:pt idx="2157">
                  <c:v>76.734310850439883</c:v>
                </c:pt>
                <c:pt idx="2158">
                  <c:v>76.709677419354819</c:v>
                </c:pt>
                <c:pt idx="2159">
                  <c:v>76.863343108504395</c:v>
                </c:pt>
                <c:pt idx="2160">
                  <c:v>76.808797653958933</c:v>
                </c:pt>
                <c:pt idx="2161">
                  <c:v>76.734310850439854</c:v>
                </c:pt>
                <c:pt idx="2162">
                  <c:v>76.697947214076223</c:v>
                </c:pt>
                <c:pt idx="2163">
                  <c:v>76.860997067448665</c:v>
                </c:pt>
                <c:pt idx="2164">
                  <c:v>76.883284457478013</c:v>
                </c:pt>
                <c:pt idx="2165">
                  <c:v>76.832844574780054</c:v>
                </c:pt>
                <c:pt idx="2166">
                  <c:v>76.730791788856294</c:v>
                </c:pt>
                <c:pt idx="2167">
                  <c:v>76.738416422287386</c:v>
                </c:pt>
                <c:pt idx="2168">
                  <c:v>76.680938416422293</c:v>
                </c:pt>
                <c:pt idx="2169">
                  <c:v>76.663343108504392</c:v>
                </c:pt>
                <c:pt idx="2170">
                  <c:v>76.832844574780069</c:v>
                </c:pt>
                <c:pt idx="2171">
                  <c:v>77.001173020527858</c:v>
                </c:pt>
                <c:pt idx="2172">
                  <c:v>77.144868035190584</c:v>
                </c:pt>
                <c:pt idx="2173">
                  <c:v>77.043401759530767</c:v>
                </c:pt>
                <c:pt idx="2174">
                  <c:v>76.892668621700878</c:v>
                </c:pt>
                <c:pt idx="2175">
                  <c:v>76.944281524926694</c:v>
                </c:pt>
                <c:pt idx="2176">
                  <c:v>77.053372434017589</c:v>
                </c:pt>
                <c:pt idx="2177">
                  <c:v>77.0656891495601</c:v>
                </c:pt>
                <c:pt idx="2178">
                  <c:v>77.168914956011719</c:v>
                </c:pt>
                <c:pt idx="2179">
                  <c:v>77.199999999999989</c:v>
                </c:pt>
                <c:pt idx="2180">
                  <c:v>77.062756598240455</c:v>
                </c:pt>
                <c:pt idx="2181">
                  <c:v>76.991202346041035</c:v>
                </c:pt>
                <c:pt idx="2182">
                  <c:v>76.880938416422254</c:v>
                </c:pt>
                <c:pt idx="2183">
                  <c:v>77.032844574780029</c:v>
                </c:pt>
                <c:pt idx="2184">
                  <c:v>76.879765395894424</c:v>
                </c:pt>
                <c:pt idx="2185">
                  <c:v>76.713782991202322</c:v>
                </c:pt>
                <c:pt idx="2186">
                  <c:v>76.629912023460406</c:v>
                </c:pt>
                <c:pt idx="2187">
                  <c:v>76.642815249266846</c:v>
                </c:pt>
                <c:pt idx="2188">
                  <c:v>76.563636363636348</c:v>
                </c:pt>
                <c:pt idx="2189">
                  <c:v>76.471554252199411</c:v>
                </c:pt>
                <c:pt idx="2190">
                  <c:v>76.469208211143695</c:v>
                </c:pt>
                <c:pt idx="2191">
                  <c:v>76.43870967741934</c:v>
                </c:pt>
                <c:pt idx="2192">
                  <c:v>76.577126099706746</c:v>
                </c:pt>
                <c:pt idx="2193">
                  <c:v>76.750733137829926</c:v>
                </c:pt>
                <c:pt idx="2194">
                  <c:v>76.728445747800592</c:v>
                </c:pt>
                <c:pt idx="2195">
                  <c:v>76.680938416422308</c:v>
                </c:pt>
                <c:pt idx="2196">
                  <c:v>76.71671554252201</c:v>
                </c:pt>
                <c:pt idx="2197">
                  <c:v>76.85630498533726</c:v>
                </c:pt>
                <c:pt idx="2198">
                  <c:v>76.960703812316723</c:v>
                </c:pt>
                <c:pt idx="2199">
                  <c:v>76.93782991202346</c:v>
                </c:pt>
                <c:pt idx="2200">
                  <c:v>76.844574780058636</c:v>
                </c:pt>
                <c:pt idx="2201">
                  <c:v>76.855131964809388</c:v>
                </c:pt>
                <c:pt idx="2202">
                  <c:v>76.855718475073317</c:v>
                </c:pt>
                <c:pt idx="2203">
                  <c:v>76.876832844574793</c:v>
                </c:pt>
                <c:pt idx="2204">
                  <c:v>76.790615835777132</c:v>
                </c:pt>
                <c:pt idx="2205">
                  <c:v>76.921994134897346</c:v>
                </c:pt>
                <c:pt idx="2206">
                  <c:v>76.753079178885613</c:v>
                </c:pt>
                <c:pt idx="2207">
                  <c:v>76.605865102639271</c:v>
                </c:pt>
                <c:pt idx="2208">
                  <c:v>76.536070381231653</c:v>
                </c:pt>
                <c:pt idx="2209">
                  <c:v>76.479765395894418</c:v>
                </c:pt>
                <c:pt idx="2210">
                  <c:v>76.390029325513197</c:v>
                </c:pt>
                <c:pt idx="2211">
                  <c:v>76.47859237536656</c:v>
                </c:pt>
                <c:pt idx="2212">
                  <c:v>76.555425219941341</c:v>
                </c:pt>
                <c:pt idx="2213">
                  <c:v>76.587683284457455</c:v>
                </c:pt>
                <c:pt idx="2214">
                  <c:v>76.470381231671539</c:v>
                </c:pt>
                <c:pt idx="2215">
                  <c:v>76.625219941348945</c:v>
                </c:pt>
                <c:pt idx="2216">
                  <c:v>76.715542521994109</c:v>
                </c:pt>
                <c:pt idx="2217">
                  <c:v>76.573607038123157</c:v>
                </c:pt>
                <c:pt idx="2218">
                  <c:v>76.648680351906151</c:v>
                </c:pt>
                <c:pt idx="2219">
                  <c:v>76.741348973607032</c:v>
                </c:pt>
                <c:pt idx="2220">
                  <c:v>76.795894428152508</c:v>
                </c:pt>
                <c:pt idx="2221">
                  <c:v>76.730791788856294</c:v>
                </c:pt>
                <c:pt idx="2222">
                  <c:v>76.691495601173003</c:v>
                </c:pt>
                <c:pt idx="2223">
                  <c:v>76.273900293255124</c:v>
                </c:pt>
                <c:pt idx="2224">
                  <c:v>76.299120234604089</c:v>
                </c:pt>
                <c:pt idx="2225">
                  <c:v>76.018768328445731</c:v>
                </c:pt>
                <c:pt idx="2226">
                  <c:v>76.260410557184727</c:v>
                </c:pt>
                <c:pt idx="2227">
                  <c:v>76.148973607038116</c:v>
                </c:pt>
                <c:pt idx="2228">
                  <c:v>76.053958944281504</c:v>
                </c:pt>
                <c:pt idx="2229">
                  <c:v>76.188856304985322</c:v>
                </c:pt>
                <c:pt idx="2230">
                  <c:v>76.368914956011736</c:v>
                </c:pt>
                <c:pt idx="2231">
                  <c:v>76.336070381231664</c:v>
                </c:pt>
                <c:pt idx="2232">
                  <c:v>76.009970674486794</c:v>
                </c:pt>
                <c:pt idx="2233">
                  <c:v>75.556011730205284</c:v>
                </c:pt>
                <c:pt idx="2234">
                  <c:v>75.170087976539591</c:v>
                </c:pt>
                <c:pt idx="2235">
                  <c:v>75.484457478005865</c:v>
                </c:pt>
                <c:pt idx="2236">
                  <c:v>75.366568914956019</c:v>
                </c:pt>
                <c:pt idx="2237">
                  <c:v>75.5407624633431</c:v>
                </c:pt>
                <c:pt idx="2238">
                  <c:v>75.50674486803517</c:v>
                </c:pt>
                <c:pt idx="2239">
                  <c:v>75.195307917888542</c:v>
                </c:pt>
                <c:pt idx="2240">
                  <c:v>74.898533724340169</c:v>
                </c:pt>
                <c:pt idx="2241">
                  <c:v>74.931378299120212</c:v>
                </c:pt>
                <c:pt idx="2242">
                  <c:v>74.591788856304973</c:v>
                </c:pt>
                <c:pt idx="2243">
                  <c:v>74.828739002932551</c:v>
                </c:pt>
                <c:pt idx="2244">
                  <c:v>74.699120234604095</c:v>
                </c:pt>
                <c:pt idx="2245">
                  <c:v>74.920821114369488</c:v>
                </c:pt>
                <c:pt idx="2246">
                  <c:v>74.408211143694999</c:v>
                </c:pt>
                <c:pt idx="2247">
                  <c:v>73.992961876832837</c:v>
                </c:pt>
                <c:pt idx="2248">
                  <c:v>73.845161290322565</c:v>
                </c:pt>
                <c:pt idx="2249">
                  <c:v>73.388269794721396</c:v>
                </c:pt>
                <c:pt idx="2250">
                  <c:v>73.309677419354841</c:v>
                </c:pt>
                <c:pt idx="2251">
                  <c:v>73.045161290322568</c:v>
                </c:pt>
                <c:pt idx="2252">
                  <c:v>72.618768328445768</c:v>
                </c:pt>
                <c:pt idx="2253">
                  <c:v>72.570674486803526</c:v>
                </c:pt>
                <c:pt idx="2254">
                  <c:v>72.840469208211161</c:v>
                </c:pt>
                <c:pt idx="2255">
                  <c:v>72.936070381231687</c:v>
                </c:pt>
                <c:pt idx="2256">
                  <c:v>73.32609970674487</c:v>
                </c:pt>
                <c:pt idx="2257">
                  <c:v>73.304398826979465</c:v>
                </c:pt>
                <c:pt idx="2258">
                  <c:v>73.389442815249254</c:v>
                </c:pt>
                <c:pt idx="2259">
                  <c:v>73.127272727272725</c:v>
                </c:pt>
                <c:pt idx="2260">
                  <c:v>72.662170087976534</c:v>
                </c:pt>
                <c:pt idx="2261">
                  <c:v>72.185923753665691</c:v>
                </c:pt>
                <c:pt idx="2262">
                  <c:v>71.99061583577712</c:v>
                </c:pt>
                <c:pt idx="2263">
                  <c:v>71.93137829912024</c:v>
                </c:pt>
                <c:pt idx="2264">
                  <c:v>71.890909090909091</c:v>
                </c:pt>
                <c:pt idx="2265">
                  <c:v>71.834604105571856</c:v>
                </c:pt>
                <c:pt idx="2266">
                  <c:v>71.28563049853372</c:v>
                </c:pt>
                <c:pt idx="2267">
                  <c:v>70.924340175953077</c:v>
                </c:pt>
                <c:pt idx="2268">
                  <c:v>70.483870967741936</c:v>
                </c:pt>
                <c:pt idx="2269">
                  <c:v>70.312609970674487</c:v>
                </c:pt>
                <c:pt idx="2270">
                  <c:v>70.338416422287381</c:v>
                </c:pt>
                <c:pt idx="2271">
                  <c:v>70.285043988269791</c:v>
                </c:pt>
                <c:pt idx="2272">
                  <c:v>70.057478005865079</c:v>
                </c:pt>
                <c:pt idx="2273">
                  <c:v>69.969501466275645</c:v>
                </c:pt>
                <c:pt idx="2274">
                  <c:v>69.466275659824035</c:v>
                </c:pt>
                <c:pt idx="2275">
                  <c:v>67.201173020527847</c:v>
                </c:pt>
                <c:pt idx="2276">
                  <c:v>64.540175953079171</c:v>
                </c:pt>
                <c:pt idx="2277">
                  <c:v>62.485043988269794</c:v>
                </c:pt>
                <c:pt idx="2278">
                  <c:v>60.431671554252205</c:v>
                </c:pt>
                <c:pt idx="2279">
                  <c:v>58.231671554252209</c:v>
                </c:pt>
                <c:pt idx="2280">
                  <c:v>56.14721407624635</c:v>
                </c:pt>
                <c:pt idx="2281">
                  <c:v>53.74076246334311</c:v>
                </c:pt>
                <c:pt idx="2282">
                  <c:v>51.603519061583576</c:v>
                </c:pt>
                <c:pt idx="2283">
                  <c:v>49.543695014662759</c:v>
                </c:pt>
                <c:pt idx="2284">
                  <c:v>47.154838709677428</c:v>
                </c:pt>
                <c:pt idx="2285">
                  <c:v>44.754838709677422</c:v>
                </c:pt>
                <c:pt idx="2286">
                  <c:v>42.073900293255129</c:v>
                </c:pt>
                <c:pt idx="2287">
                  <c:v>39.405865102639297</c:v>
                </c:pt>
                <c:pt idx="2288">
                  <c:v>36.770674486803514</c:v>
                </c:pt>
                <c:pt idx="2289">
                  <c:v>34.334897360703806</c:v>
                </c:pt>
                <c:pt idx="2290">
                  <c:v>32.154252199413492</c:v>
                </c:pt>
                <c:pt idx="2291">
                  <c:v>32.512609970674482</c:v>
                </c:pt>
                <c:pt idx="2292">
                  <c:v>32.849853372434012</c:v>
                </c:pt>
                <c:pt idx="2293">
                  <c:v>33.105571847507328</c:v>
                </c:pt>
                <c:pt idx="2294">
                  <c:v>33.383577712609977</c:v>
                </c:pt>
                <c:pt idx="2295">
                  <c:v>33.836950146627565</c:v>
                </c:pt>
                <c:pt idx="2296">
                  <c:v>34.111436950146626</c:v>
                </c:pt>
                <c:pt idx="2297">
                  <c:v>34.575366568914951</c:v>
                </c:pt>
                <c:pt idx="2298">
                  <c:v>34.920234604105573</c:v>
                </c:pt>
                <c:pt idx="2299">
                  <c:v>35.202932551319648</c:v>
                </c:pt>
                <c:pt idx="2300">
                  <c:v>35.508504398826979</c:v>
                </c:pt>
                <c:pt idx="2301">
                  <c:v>35.693841642228747</c:v>
                </c:pt>
                <c:pt idx="2302">
                  <c:v>36.146041055718477</c:v>
                </c:pt>
                <c:pt idx="2303">
                  <c:v>36.531964809384164</c:v>
                </c:pt>
                <c:pt idx="2304">
                  <c:v>37.006451612903227</c:v>
                </c:pt>
                <c:pt idx="2305">
                  <c:v>37.215835777126102</c:v>
                </c:pt>
                <c:pt idx="2306">
                  <c:v>39.626392961876839</c:v>
                </c:pt>
                <c:pt idx="2307">
                  <c:v>42.114369501466278</c:v>
                </c:pt>
                <c:pt idx="2308">
                  <c:v>44.536656891495603</c:v>
                </c:pt>
                <c:pt idx="2309">
                  <c:v>46.955425219941354</c:v>
                </c:pt>
                <c:pt idx="2310">
                  <c:v>49.424633431085049</c:v>
                </c:pt>
                <c:pt idx="2311">
                  <c:v>51.81348973607038</c:v>
                </c:pt>
                <c:pt idx="2312">
                  <c:v>54.250439882697947</c:v>
                </c:pt>
                <c:pt idx="2313">
                  <c:v>56.733137829912025</c:v>
                </c:pt>
                <c:pt idx="2314">
                  <c:v>59.251612903225805</c:v>
                </c:pt>
                <c:pt idx="2315">
                  <c:v>61.616422287390023</c:v>
                </c:pt>
                <c:pt idx="2316">
                  <c:v>63.994134897360702</c:v>
                </c:pt>
                <c:pt idx="2317">
                  <c:v>66.345454545454544</c:v>
                </c:pt>
                <c:pt idx="2318">
                  <c:v>68.769501466275656</c:v>
                </c:pt>
                <c:pt idx="2319">
                  <c:v>71.2791788856305</c:v>
                </c:pt>
                <c:pt idx="2320">
                  <c:v>73.785337243401756</c:v>
                </c:pt>
                <c:pt idx="2321">
                  <c:v>76.276246334310841</c:v>
                </c:pt>
                <c:pt idx="2322">
                  <c:v>76.275659824046926</c:v>
                </c:pt>
                <c:pt idx="2323">
                  <c:v>76.168914956011704</c:v>
                </c:pt>
                <c:pt idx="2324">
                  <c:v>76.138416422287378</c:v>
                </c:pt>
                <c:pt idx="2325">
                  <c:v>76.171847507331364</c:v>
                </c:pt>
                <c:pt idx="2326">
                  <c:v>76.197653958944258</c:v>
                </c:pt>
                <c:pt idx="2327">
                  <c:v>76.370674486803523</c:v>
                </c:pt>
                <c:pt idx="2328">
                  <c:v>76.30439882697948</c:v>
                </c:pt>
                <c:pt idx="2329">
                  <c:v>76.4592375366569</c:v>
                </c:pt>
                <c:pt idx="2330">
                  <c:v>76.59882697947215</c:v>
                </c:pt>
                <c:pt idx="2331">
                  <c:v>76.646334310850449</c:v>
                </c:pt>
                <c:pt idx="2332">
                  <c:v>76.70791788856306</c:v>
                </c:pt>
                <c:pt idx="2333">
                  <c:v>76.672727272727286</c:v>
                </c:pt>
                <c:pt idx="2334">
                  <c:v>76.546627565982419</c:v>
                </c:pt>
                <c:pt idx="2335">
                  <c:v>76.388856304985353</c:v>
                </c:pt>
                <c:pt idx="2336">
                  <c:v>76.338416422287409</c:v>
                </c:pt>
                <c:pt idx="2337">
                  <c:v>76.329618768328473</c:v>
                </c:pt>
                <c:pt idx="2338">
                  <c:v>76.411143695014673</c:v>
                </c:pt>
                <c:pt idx="2339">
                  <c:v>76.344281524926714</c:v>
                </c:pt>
                <c:pt idx="2340">
                  <c:v>76.283870967741933</c:v>
                </c:pt>
                <c:pt idx="2341">
                  <c:v>76.278005865102642</c:v>
                </c:pt>
                <c:pt idx="2342">
                  <c:v>76.250439882697933</c:v>
                </c:pt>
                <c:pt idx="2343">
                  <c:v>76.330205278592388</c:v>
                </c:pt>
                <c:pt idx="2344">
                  <c:v>76.214076246334315</c:v>
                </c:pt>
                <c:pt idx="2345">
                  <c:v>76.113782991202342</c:v>
                </c:pt>
                <c:pt idx="2346">
                  <c:v>76.28856304985338</c:v>
                </c:pt>
                <c:pt idx="2347">
                  <c:v>76.353665689149551</c:v>
                </c:pt>
                <c:pt idx="2348">
                  <c:v>76.358944281524913</c:v>
                </c:pt>
                <c:pt idx="2349">
                  <c:v>76.374780058651012</c:v>
                </c:pt>
                <c:pt idx="2350">
                  <c:v>76.3607038123167</c:v>
                </c:pt>
                <c:pt idx="2351">
                  <c:v>76.374780058651027</c:v>
                </c:pt>
                <c:pt idx="2352">
                  <c:v>76.405278592375353</c:v>
                </c:pt>
                <c:pt idx="2353">
                  <c:v>76.418768328445736</c:v>
                </c:pt>
                <c:pt idx="2354">
                  <c:v>76.538416422287384</c:v>
                </c:pt>
                <c:pt idx="2355">
                  <c:v>76.636363636363626</c:v>
                </c:pt>
                <c:pt idx="2356">
                  <c:v>76.632844574780052</c:v>
                </c:pt>
                <c:pt idx="2357">
                  <c:v>76.50674486803517</c:v>
                </c:pt>
                <c:pt idx="2358">
                  <c:v>76.536070381231667</c:v>
                </c:pt>
                <c:pt idx="2359">
                  <c:v>76.476832844574773</c:v>
                </c:pt>
                <c:pt idx="2360">
                  <c:v>76.402932551319651</c:v>
                </c:pt>
                <c:pt idx="2361">
                  <c:v>76.2</c:v>
                </c:pt>
                <c:pt idx="2362">
                  <c:v>76.014662756598241</c:v>
                </c:pt>
                <c:pt idx="2363">
                  <c:v>75.972434017595319</c:v>
                </c:pt>
                <c:pt idx="2364">
                  <c:v>75.947800586510269</c:v>
                </c:pt>
                <c:pt idx="2365">
                  <c:v>75.871554252199431</c:v>
                </c:pt>
                <c:pt idx="2366">
                  <c:v>75.890909090909091</c:v>
                </c:pt>
                <c:pt idx="2367">
                  <c:v>75.931378299120226</c:v>
                </c:pt>
                <c:pt idx="2368">
                  <c:v>75.92492668621702</c:v>
                </c:pt>
                <c:pt idx="2369">
                  <c:v>75.920821114369502</c:v>
                </c:pt>
                <c:pt idx="2370">
                  <c:v>75.919648093841644</c:v>
                </c:pt>
                <c:pt idx="2371">
                  <c:v>76.087976539589462</c:v>
                </c:pt>
                <c:pt idx="2372">
                  <c:v>76.002932551319645</c:v>
                </c:pt>
                <c:pt idx="2373">
                  <c:v>76.025806451612908</c:v>
                </c:pt>
                <c:pt idx="2374">
                  <c:v>75.916715542521985</c:v>
                </c:pt>
                <c:pt idx="2375">
                  <c:v>76.08387096774193</c:v>
                </c:pt>
                <c:pt idx="2376">
                  <c:v>76.231085043988244</c:v>
                </c:pt>
                <c:pt idx="2377">
                  <c:v>76.185923753665676</c:v>
                </c:pt>
                <c:pt idx="2378">
                  <c:v>76.10615835777125</c:v>
                </c:pt>
                <c:pt idx="2379">
                  <c:v>76.10498533724342</c:v>
                </c:pt>
                <c:pt idx="2380">
                  <c:v>76.041642228739008</c:v>
                </c:pt>
                <c:pt idx="2381">
                  <c:v>75.980645161290312</c:v>
                </c:pt>
                <c:pt idx="2382">
                  <c:v>75.970674486803517</c:v>
                </c:pt>
                <c:pt idx="2383">
                  <c:v>75.818181818181827</c:v>
                </c:pt>
                <c:pt idx="2384">
                  <c:v>75.766568914956025</c:v>
                </c:pt>
                <c:pt idx="2385">
                  <c:v>75.715542521994138</c:v>
                </c:pt>
                <c:pt idx="2386">
                  <c:v>75.764222873900295</c:v>
                </c:pt>
                <c:pt idx="2387">
                  <c:v>75.679765395894421</c:v>
                </c:pt>
                <c:pt idx="2388">
                  <c:v>75.643988269794718</c:v>
                </c:pt>
                <c:pt idx="2389">
                  <c:v>75.572434017595299</c:v>
                </c:pt>
                <c:pt idx="2390">
                  <c:v>75.522580645161284</c:v>
                </c:pt>
                <c:pt idx="2391">
                  <c:v>75.558357771261001</c:v>
                </c:pt>
                <c:pt idx="2392">
                  <c:v>75.633431085043981</c:v>
                </c:pt>
                <c:pt idx="2393">
                  <c:v>75.68973607038123</c:v>
                </c:pt>
                <c:pt idx="2394">
                  <c:v>75.690909090909074</c:v>
                </c:pt>
                <c:pt idx="2395">
                  <c:v>75.675073313782974</c:v>
                </c:pt>
                <c:pt idx="2396">
                  <c:v>75.872727272727289</c:v>
                </c:pt>
                <c:pt idx="2397">
                  <c:v>75.879178885630509</c:v>
                </c:pt>
                <c:pt idx="2398">
                  <c:v>75.967155425219943</c:v>
                </c:pt>
                <c:pt idx="2399">
                  <c:v>76.094428152492668</c:v>
                </c:pt>
                <c:pt idx="2400">
                  <c:v>76.095014662756611</c:v>
                </c:pt>
                <c:pt idx="2401">
                  <c:v>76.194134897360712</c:v>
                </c:pt>
                <c:pt idx="2402">
                  <c:v>76.219941348973592</c:v>
                </c:pt>
                <c:pt idx="2403">
                  <c:v>76.304985337243423</c:v>
                </c:pt>
                <c:pt idx="2404">
                  <c:v>76.364222873900303</c:v>
                </c:pt>
                <c:pt idx="2405">
                  <c:v>76.415249266862162</c:v>
                </c:pt>
                <c:pt idx="2406">
                  <c:v>76.288563049853366</c:v>
                </c:pt>
                <c:pt idx="2407">
                  <c:v>76.114369501466257</c:v>
                </c:pt>
                <c:pt idx="2408">
                  <c:v>76.059824046920795</c:v>
                </c:pt>
                <c:pt idx="2409">
                  <c:v>76.101466275659803</c:v>
                </c:pt>
                <c:pt idx="2410">
                  <c:v>76.214662756598216</c:v>
                </c:pt>
                <c:pt idx="2411">
                  <c:v>76.372434017595296</c:v>
                </c:pt>
                <c:pt idx="2412">
                  <c:v>76.334310850439877</c:v>
                </c:pt>
                <c:pt idx="2413">
                  <c:v>76.301466275659848</c:v>
                </c:pt>
                <c:pt idx="2414">
                  <c:v>76.424046920821127</c:v>
                </c:pt>
                <c:pt idx="2415">
                  <c:v>76.42815249266863</c:v>
                </c:pt>
                <c:pt idx="2416">
                  <c:v>76.447507331378304</c:v>
                </c:pt>
                <c:pt idx="2417">
                  <c:v>76.428739002932545</c:v>
                </c:pt>
                <c:pt idx="2418">
                  <c:v>76.451612903225808</c:v>
                </c:pt>
                <c:pt idx="2419">
                  <c:v>76.560117302052774</c:v>
                </c:pt>
                <c:pt idx="2420">
                  <c:v>76.440469208211127</c:v>
                </c:pt>
                <c:pt idx="2421">
                  <c:v>76.554838709677398</c:v>
                </c:pt>
                <c:pt idx="2422">
                  <c:v>76.487390029325525</c:v>
                </c:pt>
                <c:pt idx="2423">
                  <c:v>76.52242424242425</c:v>
                </c:pt>
                <c:pt idx="2424">
                  <c:v>76.55360501567398</c:v>
                </c:pt>
                <c:pt idx="2425">
                  <c:v>76.605194805194813</c:v>
                </c:pt>
                <c:pt idx="2426">
                  <c:v>76.622222222222234</c:v>
                </c:pt>
                <c:pt idx="2427">
                  <c:v>76.511188811188816</c:v>
                </c:pt>
                <c:pt idx="2428">
                  <c:v>76.538181818181826</c:v>
                </c:pt>
                <c:pt idx="2429">
                  <c:v>76.528787878787881</c:v>
                </c:pt>
                <c:pt idx="2430">
                  <c:v>76.456126482213435</c:v>
                </c:pt>
                <c:pt idx="2431">
                  <c:v>76.315702479338839</c:v>
                </c:pt>
                <c:pt idx="2432">
                  <c:v>76.328138528138538</c:v>
                </c:pt>
                <c:pt idx="2433">
                  <c:v>76.188181818181818</c:v>
                </c:pt>
                <c:pt idx="2434">
                  <c:v>76.178947368421063</c:v>
                </c:pt>
                <c:pt idx="2435">
                  <c:v>76.203030303030303</c:v>
                </c:pt>
                <c:pt idx="2436">
                  <c:v>76.202139037433156</c:v>
                </c:pt>
                <c:pt idx="2437">
                  <c:v>76.301136363636374</c:v>
                </c:pt>
                <c:pt idx="2438">
                  <c:v>76.446060606060612</c:v>
                </c:pt>
                <c:pt idx="2439">
                  <c:v>76.503896103896096</c:v>
                </c:pt>
                <c:pt idx="2440">
                  <c:v>76.654545454545456</c:v>
                </c:pt>
                <c:pt idx="2441">
                  <c:v>76.665151515151521</c:v>
                </c:pt>
                <c:pt idx="2442">
                  <c:v>76.492561983471063</c:v>
                </c:pt>
                <c:pt idx="2443">
                  <c:v>76.712727272727264</c:v>
                </c:pt>
                <c:pt idx="2444">
                  <c:v>76.703030303030289</c:v>
                </c:pt>
                <c:pt idx="2445">
                  <c:v>76.636363636363626</c:v>
                </c:pt>
                <c:pt idx="2446">
                  <c:v>76.605194805194813</c:v>
                </c:pt>
                <c:pt idx="2447">
                  <c:v>76.548484848484861</c:v>
                </c:pt>
                <c:pt idx="2448">
                  <c:v>76.167272727272717</c:v>
                </c:pt>
                <c:pt idx="2449">
                  <c:v>76.295454545454533</c:v>
                </c:pt>
                <c:pt idx="2450">
                  <c:v>76.066666666666663</c:v>
                </c:pt>
                <c:pt idx="2451">
                  <c:v>77.11818181818181</c:v>
                </c:pt>
              </c:numCache>
            </c:numRef>
          </c:val>
          <c:smooth val="0"/>
          <c:extLst>
            <c:ext xmlns:c16="http://schemas.microsoft.com/office/drawing/2014/chart" uri="{C3380CC4-5D6E-409C-BE32-E72D297353CC}">
              <c16:uniqueId val="{00000005-29A8-CF42-9633-B19AC805DF98}"/>
            </c:ext>
          </c:extLst>
        </c:ser>
        <c:dLbls>
          <c:showLegendKey val="0"/>
          <c:showVal val="0"/>
          <c:showCatName val="0"/>
          <c:showSerName val="0"/>
          <c:showPercent val="0"/>
          <c:showBubbleSize val="0"/>
        </c:dLbls>
        <c:marker val="1"/>
        <c:smooth val="0"/>
        <c:axId val="2091304751"/>
        <c:axId val="2043863151"/>
      </c:lineChart>
      <c:lineChart>
        <c:grouping val="standard"/>
        <c:varyColors val="0"/>
        <c:ser>
          <c:idx val="5"/>
          <c:order val="5"/>
          <c:tx>
            <c:strRef>
              <c:f>'DRT Rolling Mean'!$H$1</c:f>
              <c:strCache>
                <c:ptCount val="1"/>
                <c:pt idx="0">
                  <c:v>Horse Power</c:v>
                </c:pt>
              </c:strCache>
            </c:strRef>
          </c:tx>
          <c:spPr>
            <a:ln w="28575" cap="rnd">
              <a:solidFill>
                <a:schemeClr val="accent6"/>
              </a:solidFill>
              <a:round/>
            </a:ln>
            <a:effectLst/>
          </c:spPr>
          <c:marker>
            <c:symbol val="none"/>
          </c:marker>
          <c:cat>
            <c:numRef>
              <c:f>'DRT Rolling Mean'!$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H$2:$H$2453</c:f>
              <c:numCache>
                <c:formatCode>#,##0.00</c:formatCode>
                <c:ptCount val="2452"/>
                <c:pt idx="0">
                  <c:v>3.4351829103505889</c:v>
                </c:pt>
                <c:pt idx="1">
                  <c:v>3.4190415939857011</c:v>
                </c:pt>
                <c:pt idx="2">
                  <c:v>3.4130408078028642</c:v>
                </c:pt>
                <c:pt idx="3">
                  <c:v>3.41927499201533</c:v>
                </c:pt>
                <c:pt idx="4">
                  <c:v>3.4174385180453526</c:v>
                </c:pt>
                <c:pt idx="5">
                  <c:v>3.416885733238336</c:v>
                </c:pt>
                <c:pt idx="6">
                  <c:v>3.4058546053116476</c:v>
                </c:pt>
                <c:pt idx="7">
                  <c:v>3.3924280765545531</c:v>
                </c:pt>
                <c:pt idx="8">
                  <c:v>3.3654951723460185</c:v>
                </c:pt>
                <c:pt idx="9">
                  <c:v>3.3555634719799516</c:v>
                </c:pt>
                <c:pt idx="10">
                  <c:v>3.3789278431565233</c:v>
                </c:pt>
                <c:pt idx="11">
                  <c:v>3.3709063214013715</c:v>
                </c:pt>
                <c:pt idx="12">
                  <c:v>3.3824042453873182</c:v>
                </c:pt>
                <c:pt idx="13">
                  <c:v>3.3943259710586449</c:v>
                </c:pt>
                <c:pt idx="14">
                  <c:v>3.4076050905338677</c:v>
                </c:pt>
                <c:pt idx="15">
                  <c:v>3.4194408274574357</c:v>
                </c:pt>
                <c:pt idx="16">
                  <c:v>3.4308404785888023</c:v>
                </c:pt>
                <c:pt idx="17">
                  <c:v>3.4388005798098424</c:v>
                </c:pt>
                <c:pt idx="18">
                  <c:v>3.4391322506940525</c:v>
                </c:pt>
                <c:pt idx="19">
                  <c:v>3.436902685305752</c:v>
                </c:pt>
                <c:pt idx="20">
                  <c:v>3.4300542957521563</c:v>
                </c:pt>
                <c:pt idx="21">
                  <c:v>3.4189740313981778</c:v>
                </c:pt>
                <c:pt idx="22">
                  <c:v>3.4033916418937182</c:v>
                </c:pt>
                <c:pt idx="23">
                  <c:v>3.392802741812643</c:v>
                </c:pt>
                <c:pt idx="24">
                  <c:v>3.388245338181461</c:v>
                </c:pt>
                <c:pt idx="25">
                  <c:v>3.3624425718006039</c:v>
                </c:pt>
                <c:pt idx="26">
                  <c:v>3.374112473282068</c:v>
                </c:pt>
                <c:pt idx="27">
                  <c:v>3.3568533031963246</c:v>
                </c:pt>
                <c:pt idx="28">
                  <c:v>3.3510183524555925</c:v>
                </c:pt>
                <c:pt idx="29">
                  <c:v>3.3268125199616732</c:v>
                </c:pt>
                <c:pt idx="30">
                  <c:v>3.3229675945262009</c:v>
                </c:pt>
                <c:pt idx="31">
                  <c:v>3.2991302852369597</c:v>
                </c:pt>
                <c:pt idx="32">
                  <c:v>3.2979018745547006</c:v>
                </c:pt>
                <c:pt idx="33">
                  <c:v>3.2992347001449525</c:v>
                </c:pt>
                <c:pt idx="34">
                  <c:v>3.3043018942092726</c:v>
                </c:pt>
                <c:pt idx="35">
                  <c:v>3.3139387760115966</c:v>
                </c:pt>
                <c:pt idx="36">
                  <c:v>3.3072316536864608</c:v>
                </c:pt>
                <c:pt idx="37">
                  <c:v>3.2960101221040219</c:v>
                </c:pt>
                <c:pt idx="38">
                  <c:v>3.3094305088077052</c:v>
                </c:pt>
                <c:pt idx="39">
                  <c:v>3.3128024961305065</c:v>
                </c:pt>
                <c:pt idx="40">
                  <c:v>3.3294536029285307</c:v>
                </c:pt>
                <c:pt idx="41">
                  <c:v>3.312206716949611</c:v>
                </c:pt>
                <c:pt idx="42">
                  <c:v>3.3092646733655999</c:v>
                </c:pt>
                <c:pt idx="43">
                  <c:v>3.3014888337468986</c:v>
                </c:pt>
                <c:pt idx="44">
                  <c:v>3.2959179913028529</c:v>
                </c:pt>
                <c:pt idx="45">
                  <c:v>3.2861029899516008</c:v>
                </c:pt>
                <c:pt idx="46">
                  <c:v>3.2705820209812546</c:v>
                </c:pt>
                <c:pt idx="47">
                  <c:v>3.2557919563668527</c:v>
                </c:pt>
                <c:pt idx="48">
                  <c:v>3.260392354371914</c:v>
                </c:pt>
                <c:pt idx="49">
                  <c:v>3.2598395695648978</c:v>
                </c:pt>
                <c:pt idx="50">
                  <c:v>3.2891310222833705</c:v>
                </c:pt>
                <c:pt idx="51">
                  <c:v>3.3198167211262075</c:v>
                </c:pt>
                <c:pt idx="52">
                  <c:v>3.3075080460899695</c:v>
                </c:pt>
                <c:pt idx="53">
                  <c:v>3.3008132078716566</c:v>
                </c:pt>
                <c:pt idx="54">
                  <c:v>3.3193376409601267</c:v>
                </c:pt>
                <c:pt idx="55">
                  <c:v>3.3250006142053419</c:v>
                </c:pt>
                <c:pt idx="56">
                  <c:v>3.3311918040439288</c:v>
                </c:pt>
                <c:pt idx="57">
                  <c:v>3.3338574552244316</c:v>
                </c:pt>
                <c:pt idx="58">
                  <c:v>3.3397292582856304</c:v>
                </c:pt>
                <c:pt idx="59">
                  <c:v>3.3468663243495569</c:v>
                </c:pt>
                <c:pt idx="60">
                  <c:v>3.3517308306513036</c:v>
                </c:pt>
                <c:pt idx="61">
                  <c:v>3.3614414170945635</c:v>
                </c:pt>
                <c:pt idx="62">
                  <c:v>3.3865317052797095</c:v>
                </c:pt>
                <c:pt idx="63">
                  <c:v>3.4011497923985949</c:v>
                </c:pt>
                <c:pt idx="64">
                  <c:v>3.3951367221089357</c:v>
                </c:pt>
                <c:pt idx="65">
                  <c:v>3.3870599218730808</c:v>
                </c:pt>
                <c:pt idx="66">
                  <c:v>3.3840380315947232</c:v>
                </c:pt>
                <c:pt idx="67">
                  <c:v>3.4021693732648708</c:v>
                </c:pt>
                <c:pt idx="68">
                  <c:v>3.4194899638847267</c:v>
                </c:pt>
                <c:pt idx="69">
                  <c:v>3.4114131636488714</c:v>
                </c:pt>
                <c:pt idx="70">
                  <c:v>3.4438984841412186</c:v>
                </c:pt>
                <c:pt idx="71">
                  <c:v>3.4529887231899372</c:v>
                </c:pt>
                <c:pt idx="72">
                  <c:v>3.4625273321376806</c:v>
                </c:pt>
                <c:pt idx="73">
                  <c:v>3.4835638650713707</c:v>
                </c:pt>
                <c:pt idx="74">
                  <c:v>3.4872122447976803</c:v>
                </c:pt>
                <c:pt idx="75">
                  <c:v>3.4767891801587094</c:v>
                </c:pt>
                <c:pt idx="76">
                  <c:v>3.4796145247279062</c:v>
                </c:pt>
                <c:pt idx="77">
                  <c:v>3.4852345035992425</c:v>
                </c:pt>
                <c:pt idx="78">
                  <c:v>3.4907009311352959</c:v>
                </c:pt>
                <c:pt idx="79">
                  <c:v>3.4821696189470055</c:v>
                </c:pt>
                <c:pt idx="80">
                  <c:v>3.4990295555610138</c:v>
                </c:pt>
                <c:pt idx="81">
                  <c:v>3.4854679016288714</c:v>
                </c:pt>
                <c:pt idx="82">
                  <c:v>3.4824091590300457</c:v>
                </c:pt>
                <c:pt idx="83">
                  <c:v>3.5082856300518386</c:v>
                </c:pt>
                <c:pt idx="84">
                  <c:v>3.5181620519372028</c:v>
                </c:pt>
                <c:pt idx="85">
                  <c:v>3.5056384050315703</c:v>
                </c:pt>
                <c:pt idx="86">
                  <c:v>3.5105766159742533</c:v>
                </c:pt>
                <c:pt idx="87">
                  <c:v>3.5127877552023201</c:v>
                </c:pt>
                <c:pt idx="88">
                  <c:v>3.5283578605999564</c:v>
                </c:pt>
                <c:pt idx="89">
                  <c:v>3.5363056777141741</c:v>
                </c:pt>
                <c:pt idx="90">
                  <c:v>3.5456723091664011</c:v>
                </c:pt>
                <c:pt idx="91">
                  <c:v>3.5409306439328807</c:v>
                </c:pt>
                <c:pt idx="92">
                  <c:v>3.5125359310124566</c:v>
                </c:pt>
                <c:pt idx="93">
                  <c:v>3.5028683389430761</c:v>
                </c:pt>
                <c:pt idx="94">
                  <c:v>3.4810149129056831</c:v>
                </c:pt>
                <c:pt idx="95">
                  <c:v>3.4719001056433192</c:v>
                </c:pt>
                <c:pt idx="96">
                  <c:v>3.4751983883251851</c:v>
                </c:pt>
                <c:pt idx="97">
                  <c:v>3.4877036090705844</c:v>
                </c:pt>
                <c:pt idx="98">
                  <c:v>3.4804682701520773</c:v>
                </c:pt>
                <c:pt idx="99">
                  <c:v>3.477833329238631</c:v>
                </c:pt>
                <c:pt idx="100">
                  <c:v>3.4797127975824873</c:v>
                </c:pt>
                <c:pt idx="101">
                  <c:v>3.4491192295408193</c:v>
                </c:pt>
                <c:pt idx="102">
                  <c:v>3.4523253814215167</c:v>
                </c:pt>
                <c:pt idx="103">
                  <c:v>3.4378301353708571</c:v>
                </c:pt>
                <c:pt idx="104">
                  <c:v>3.4279721396457266</c:v>
                </c:pt>
                <c:pt idx="105">
                  <c:v>3.4350477851755397</c:v>
                </c:pt>
                <c:pt idx="106">
                  <c:v>3.4456796796304938</c:v>
                </c:pt>
                <c:pt idx="107">
                  <c:v>3.4480750804608995</c:v>
                </c:pt>
                <c:pt idx="108">
                  <c:v>3.4468773800456964</c:v>
                </c:pt>
                <c:pt idx="109">
                  <c:v>3.4627238778468419</c:v>
                </c:pt>
                <c:pt idx="110">
                  <c:v>3.459063214013709</c:v>
                </c:pt>
                <c:pt idx="111">
                  <c:v>3.4451883153575902</c:v>
                </c:pt>
                <c:pt idx="112">
                  <c:v>3.4378239933174459</c:v>
                </c:pt>
                <c:pt idx="113">
                  <c:v>3.4431798638920963</c:v>
                </c:pt>
                <c:pt idx="114">
                  <c:v>3.4166707613689407</c:v>
                </c:pt>
                <c:pt idx="115">
                  <c:v>3.4248826867798443</c:v>
                </c:pt>
                <c:pt idx="116">
                  <c:v>3.4054123774660345</c:v>
                </c:pt>
                <c:pt idx="117">
                  <c:v>3.4063705377981965</c:v>
                </c:pt>
                <c:pt idx="118">
                  <c:v>3.3999582340368031</c:v>
                </c:pt>
                <c:pt idx="119">
                  <c:v>3.3760963565339166</c:v>
                </c:pt>
                <c:pt idx="120">
                  <c:v>3.3642114831830576</c:v>
                </c:pt>
                <c:pt idx="121">
                  <c:v>3.3557661597425255</c:v>
                </c:pt>
                <c:pt idx="122">
                  <c:v>3.3563189445495416</c:v>
                </c:pt>
                <c:pt idx="123">
                  <c:v>3.3584748052969067</c:v>
                </c:pt>
                <c:pt idx="124">
                  <c:v>3.3565462005257598</c:v>
                </c:pt>
                <c:pt idx="125">
                  <c:v>3.375604992261013</c:v>
                </c:pt>
                <c:pt idx="126">
                  <c:v>3.3905854605311649</c:v>
                </c:pt>
                <c:pt idx="127">
                  <c:v>3.4144043436601721</c:v>
                </c:pt>
                <c:pt idx="128">
                  <c:v>3.4025010441490799</c:v>
                </c:pt>
                <c:pt idx="129">
                  <c:v>3.4060511510208089</c:v>
                </c:pt>
                <c:pt idx="130">
                  <c:v>3.4156081861287864</c:v>
                </c:pt>
                <c:pt idx="131">
                  <c:v>3.4220020637299462</c:v>
                </c:pt>
                <c:pt idx="132">
                  <c:v>3.4411161339459002</c:v>
                </c:pt>
                <c:pt idx="133">
                  <c:v>3.4342984546593613</c:v>
                </c:pt>
                <c:pt idx="134">
                  <c:v>3.4487691324963761</c:v>
                </c:pt>
                <c:pt idx="135">
                  <c:v>3.4469879370070999</c:v>
                </c:pt>
                <c:pt idx="136">
                  <c:v>3.435846252119009</c:v>
                </c:pt>
                <c:pt idx="137">
                  <c:v>3.4156757487163114</c:v>
                </c:pt>
                <c:pt idx="138">
                  <c:v>3.428930299977889</c:v>
                </c:pt>
                <c:pt idx="139">
                  <c:v>3.4335368400363615</c:v>
                </c:pt>
                <c:pt idx="140">
                  <c:v>3.4149387023069555</c:v>
                </c:pt>
                <c:pt idx="141">
                  <c:v>3.430785200108101</c:v>
                </c:pt>
                <c:pt idx="142">
                  <c:v>3.4166584772621182</c:v>
                </c:pt>
                <c:pt idx="143">
                  <c:v>3.4064442424391319</c:v>
                </c:pt>
                <c:pt idx="144">
                  <c:v>3.4027958627128219</c:v>
                </c:pt>
                <c:pt idx="145">
                  <c:v>3.4087905068422475</c:v>
                </c:pt>
                <c:pt idx="146">
                  <c:v>3.405848463258236</c:v>
                </c:pt>
                <c:pt idx="147">
                  <c:v>3.4192258555880399</c:v>
                </c:pt>
                <c:pt idx="148">
                  <c:v>3.4129793872687508</c:v>
                </c:pt>
                <c:pt idx="149">
                  <c:v>3.4092204505810373</c:v>
                </c:pt>
                <c:pt idx="150">
                  <c:v>3.4228312409404706</c:v>
                </c:pt>
                <c:pt idx="151">
                  <c:v>3.4246370046433916</c:v>
                </c:pt>
                <c:pt idx="152">
                  <c:v>3.4447583716187995</c:v>
                </c:pt>
                <c:pt idx="153">
                  <c:v>3.4611699383337835</c:v>
                </c:pt>
                <c:pt idx="154">
                  <c:v>3.4734233348893202</c:v>
                </c:pt>
                <c:pt idx="155">
                  <c:v>3.4742279438862003</c:v>
                </c:pt>
                <c:pt idx="156">
                  <c:v>3.4767891801587116</c:v>
                </c:pt>
                <c:pt idx="157">
                  <c:v>3.4731653686460464</c:v>
                </c:pt>
                <c:pt idx="158">
                  <c:v>3.4549111859076733</c:v>
                </c:pt>
                <c:pt idx="159">
                  <c:v>3.4698609439107688</c:v>
                </c:pt>
                <c:pt idx="160">
                  <c:v>3.4687553742967356</c:v>
                </c:pt>
                <c:pt idx="161">
                  <c:v>3.4490762351669413</c:v>
                </c:pt>
                <c:pt idx="162">
                  <c:v>3.4444512689482347</c:v>
                </c:pt>
                <c:pt idx="163">
                  <c:v>3.4434194039751373</c:v>
                </c:pt>
                <c:pt idx="164">
                  <c:v>3.4345011424219347</c:v>
                </c:pt>
                <c:pt idx="165">
                  <c:v>3.4253371987322803</c:v>
                </c:pt>
                <c:pt idx="166">
                  <c:v>3.4228619512075276</c:v>
                </c:pt>
                <c:pt idx="167">
                  <c:v>3.4434316880819598</c:v>
                </c:pt>
                <c:pt idx="168">
                  <c:v>3.4535415079969538</c:v>
                </c:pt>
                <c:pt idx="169">
                  <c:v>3.4311537233127778</c:v>
                </c:pt>
                <c:pt idx="170">
                  <c:v>3.4309387514433825</c:v>
                </c:pt>
                <c:pt idx="171">
                  <c:v>3.459364174630863</c:v>
                </c:pt>
                <c:pt idx="172">
                  <c:v>3.4266208878952411</c:v>
                </c:pt>
                <c:pt idx="173">
                  <c:v>3.44509004250301</c:v>
                </c:pt>
                <c:pt idx="174">
                  <c:v>3.4745596147704103</c:v>
                </c:pt>
                <c:pt idx="175">
                  <c:v>3.4658993194604828</c:v>
                </c:pt>
                <c:pt idx="176">
                  <c:v>3.4599046753310576</c:v>
                </c:pt>
                <c:pt idx="177">
                  <c:v>3.454382969314302</c:v>
                </c:pt>
                <c:pt idx="178">
                  <c:v>3.4683622828784122</c:v>
                </c:pt>
                <c:pt idx="179">
                  <c:v>3.4656597793774417</c:v>
                </c:pt>
                <c:pt idx="180">
                  <c:v>3.4710647863793831</c:v>
                </c:pt>
                <c:pt idx="181">
                  <c:v>3.463940004422279</c:v>
                </c:pt>
                <c:pt idx="182">
                  <c:v>3.4469326585263991</c:v>
                </c:pt>
                <c:pt idx="183">
                  <c:v>3.4195022479915487</c:v>
                </c:pt>
                <c:pt idx="184">
                  <c:v>3.3914822003292149</c:v>
                </c:pt>
                <c:pt idx="185">
                  <c:v>3.3883313269292192</c:v>
                </c:pt>
                <c:pt idx="186">
                  <c:v>3.3872748937424757</c:v>
                </c:pt>
                <c:pt idx="187">
                  <c:v>3.3716986462914287</c:v>
                </c:pt>
                <c:pt idx="188">
                  <c:v>3.3684126477163843</c:v>
                </c:pt>
                <c:pt idx="189">
                  <c:v>3.3651696435152201</c:v>
                </c:pt>
                <c:pt idx="190">
                  <c:v>3.3744195759526328</c:v>
                </c:pt>
                <c:pt idx="191">
                  <c:v>3.3647151315627846</c:v>
                </c:pt>
                <c:pt idx="192">
                  <c:v>3.3598014888337482</c:v>
                </c:pt>
                <c:pt idx="193">
                  <c:v>3.3439427069257808</c:v>
                </c:pt>
                <c:pt idx="194">
                  <c:v>3.342063238581924</c:v>
                </c:pt>
                <c:pt idx="195">
                  <c:v>3.3376409601257904</c:v>
                </c:pt>
                <c:pt idx="196">
                  <c:v>3.3456870500945883</c:v>
                </c:pt>
                <c:pt idx="197">
                  <c:v>3.3311488096700503</c:v>
                </c:pt>
                <c:pt idx="198">
                  <c:v>3.3321376802692684</c:v>
                </c:pt>
                <c:pt idx="199">
                  <c:v>3.3237844876299047</c:v>
                </c:pt>
                <c:pt idx="200">
                  <c:v>3.3410682259292934</c:v>
                </c:pt>
                <c:pt idx="201">
                  <c:v>3.3488870599218732</c:v>
                </c:pt>
                <c:pt idx="202">
                  <c:v>3.3467803356017987</c:v>
                </c:pt>
                <c:pt idx="203">
                  <c:v>3.3683205169152153</c:v>
                </c:pt>
                <c:pt idx="204">
                  <c:v>3.3596295113382304</c:v>
                </c:pt>
                <c:pt idx="205">
                  <c:v>3.3396555536446946</c:v>
                </c:pt>
                <c:pt idx="206">
                  <c:v>3.3399135198879693</c:v>
                </c:pt>
                <c:pt idx="207">
                  <c:v>3.3535857307815151</c:v>
                </c:pt>
                <c:pt idx="208">
                  <c:v>3.3595988010711739</c:v>
                </c:pt>
                <c:pt idx="209">
                  <c:v>3.3458713116969263</c:v>
                </c:pt>
                <c:pt idx="210">
                  <c:v>3.3384824214431368</c:v>
                </c:pt>
                <c:pt idx="211">
                  <c:v>3.3378436478883624</c:v>
                </c:pt>
                <c:pt idx="212">
                  <c:v>3.3544517603125081</c:v>
                </c:pt>
                <c:pt idx="213">
                  <c:v>3.3950384492543555</c:v>
                </c:pt>
                <c:pt idx="214">
                  <c:v>3.4334139989681356</c:v>
                </c:pt>
                <c:pt idx="215">
                  <c:v>3.4834594501633798</c:v>
                </c:pt>
                <c:pt idx="216">
                  <c:v>3.5233520870697497</c:v>
                </c:pt>
                <c:pt idx="217">
                  <c:v>3.5625138196201762</c:v>
                </c:pt>
                <c:pt idx="218">
                  <c:v>3.6083089698548023</c:v>
                </c:pt>
                <c:pt idx="219">
                  <c:v>3.6432265434980224</c:v>
                </c:pt>
                <c:pt idx="220">
                  <c:v>3.6723153084539217</c:v>
                </c:pt>
                <c:pt idx="221">
                  <c:v>3.6861226445225159</c:v>
                </c:pt>
                <c:pt idx="222">
                  <c:v>3.7171952927302652</c:v>
                </c:pt>
                <c:pt idx="223">
                  <c:v>3.761663759428052</c:v>
                </c:pt>
                <c:pt idx="224">
                  <c:v>3.8068569884283709</c:v>
                </c:pt>
                <c:pt idx="225">
                  <c:v>3.8374566985234502</c:v>
                </c:pt>
                <c:pt idx="226">
                  <c:v>3.8766921357148116</c:v>
                </c:pt>
                <c:pt idx="227">
                  <c:v>3.9000565068913846</c:v>
                </c:pt>
                <c:pt idx="228">
                  <c:v>3.9575829791415869</c:v>
                </c:pt>
                <c:pt idx="229">
                  <c:v>3.9680060437805564</c:v>
                </c:pt>
                <c:pt idx="230">
                  <c:v>4.0144522516767802</c:v>
                </c:pt>
                <c:pt idx="231">
                  <c:v>4.0432277719087049</c:v>
                </c:pt>
                <c:pt idx="232">
                  <c:v>4.0529076480849078</c:v>
                </c:pt>
                <c:pt idx="233">
                  <c:v>4.0656401248065253</c:v>
                </c:pt>
                <c:pt idx="234">
                  <c:v>4.0871925902267652</c:v>
                </c:pt>
                <c:pt idx="235">
                  <c:v>4.1219013340540016</c:v>
                </c:pt>
                <c:pt idx="236">
                  <c:v>4.1549701496204223</c:v>
                </c:pt>
                <c:pt idx="237">
                  <c:v>4.1916013561653935</c:v>
                </c:pt>
                <c:pt idx="238">
                  <c:v>4.2202540353290923</c:v>
                </c:pt>
                <c:pt idx="239">
                  <c:v>4.2365366189224387</c:v>
                </c:pt>
                <c:pt idx="240">
                  <c:v>4.2670503402697584</c:v>
                </c:pt>
                <c:pt idx="241">
                  <c:v>4.3120900179347963</c:v>
                </c:pt>
                <c:pt idx="242">
                  <c:v>4.357639486032971</c:v>
                </c:pt>
                <c:pt idx="243">
                  <c:v>4.378952411370169</c:v>
                </c:pt>
                <c:pt idx="244">
                  <c:v>4.3912488022995841</c:v>
                </c:pt>
                <c:pt idx="245">
                  <c:v>4.3832027123307853</c:v>
                </c:pt>
                <c:pt idx="246">
                  <c:v>4.3722944254723233</c:v>
                </c:pt>
                <c:pt idx="247">
                  <c:v>4.3606490922045058</c:v>
                </c:pt>
                <c:pt idx="248">
                  <c:v>4.359174999385794</c:v>
                </c:pt>
                <c:pt idx="249">
                  <c:v>4.3429599783799713</c:v>
                </c:pt>
                <c:pt idx="250">
                  <c:v>4.3369407660368999</c:v>
                </c:pt>
                <c:pt idx="251">
                  <c:v>4.3343918138712123</c:v>
                </c:pt>
                <c:pt idx="252">
                  <c:v>4.3264071444365273</c:v>
                </c:pt>
                <c:pt idx="253">
                  <c:v>4.3328440164115651</c:v>
                </c:pt>
                <c:pt idx="254">
                  <c:v>4.3257438026681072</c:v>
                </c:pt>
                <c:pt idx="255">
                  <c:v>4.3265115593445191</c:v>
                </c:pt>
                <c:pt idx="256">
                  <c:v>4.322218264010024</c:v>
                </c:pt>
                <c:pt idx="257">
                  <c:v>4.2889467606810312</c:v>
                </c:pt>
                <c:pt idx="258">
                  <c:v>4.2635002333980294</c:v>
                </c:pt>
                <c:pt idx="259">
                  <c:v>4.2230548116846425</c:v>
                </c:pt>
                <c:pt idx="260">
                  <c:v>4.2039345994152759</c:v>
                </c:pt>
                <c:pt idx="261">
                  <c:v>4.1674630862589979</c:v>
                </c:pt>
                <c:pt idx="262">
                  <c:v>4.1310529936368328</c:v>
                </c:pt>
                <c:pt idx="263">
                  <c:v>4.1098997616883279</c:v>
                </c:pt>
                <c:pt idx="264">
                  <c:v>4.0801722231776525</c:v>
                </c:pt>
                <c:pt idx="265">
                  <c:v>4.069356067120359</c:v>
                </c:pt>
                <c:pt idx="266">
                  <c:v>4.0498059111122036</c:v>
                </c:pt>
                <c:pt idx="267">
                  <c:v>4.0229282853843698</c:v>
                </c:pt>
                <c:pt idx="268">
                  <c:v>3.9798049283836572</c:v>
                </c:pt>
                <c:pt idx="269">
                  <c:v>3.9519998525907183</c:v>
                </c:pt>
                <c:pt idx="270">
                  <c:v>3.9239613787681504</c:v>
                </c:pt>
                <c:pt idx="271">
                  <c:v>3.9080411763260692</c:v>
                </c:pt>
                <c:pt idx="272">
                  <c:v>3.8691926884996195</c:v>
                </c:pt>
                <c:pt idx="273">
                  <c:v>3.8279672260029978</c:v>
                </c:pt>
                <c:pt idx="274">
                  <c:v>3.7910903373215739</c:v>
                </c:pt>
                <c:pt idx="275">
                  <c:v>3.7593604893988162</c:v>
                </c:pt>
                <c:pt idx="276">
                  <c:v>3.7390855710881268</c:v>
                </c:pt>
                <c:pt idx="277">
                  <c:v>3.7254747807286939</c:v>
                </c:pt>
                <c:pt idx="278">
                  <c:v>3.7010539763653791</c:v>
                </c:pt>
                <c:pt idx="279">
                  <c:v>3.6704665503771232</c:v>
                </c:pt>
                <c:pt idx="280">
                  <c:v>3.6566960666289963</c:v>
                </c:pt>
                <c:pt idx="281">
                  <c:v>3.6181239712060544</c:v>
                </c:pt>
                <c:pt idx="282">
                  <c:v>3.5861054467729656</c:v>
                </c:pt>
                <c:pt idx="283">
                  <c:v>3.5747672161757125</c:v>
                </c:pt>
                <c:pt idx="284">
                  <c:v>3.5495233766552841</c:v>
                </c:pt>
                <c:pt idx="285">
                  <c:v>3.5391310222833696</c:v>
                </c:pt>
                <c:pt idx="286">
                  <c:v>3.4963516202736895</c:v>
                </c:pt>
                <c:pt idx="287">
                  <c:v>3.4868191533793578</c:v>
                </c:pt>
                <c:pt idx="288">
                  <c:v>3.4912475738889022</c:v>
                </c:pt>
                <c:pt idx="289">
                  <c:v>3.4954548804756405</c:v>
                </c:pt>
                <c:pt idx="290">
                  <c:v>3.5008537454241702</c:v>
                </c:pt>
                <c:pt idx="291">
                  <c:v>3.4830172223177653</c:v>
                </c:pt>
                <c:pt idx="292">
                  <c:v>3.49242070609046</c:v>
                </c:pt>
                <c:pt idx="293">
                  <c:v>3.4959216765348988</c:v>
                </c:pt>
                <c:pt idx="294">
                  <c:v>3.5086971476303961</c:v>
                </c:pt>
                <c:pt idx="295">
                  <c:v>3.5000859887477578</c:v>
                </c:pt>
                <c:pt idx="296">
                  <c:v>3.4754563545684594</c:v>
                </c:pt>
                <c:pt idx="297">
                  <c:v>3.4602240621084439</c:v>
                </c:pt>
                <c:pt idx="298">
                  <c:v>3.4580497752008452</c:v>
                </c:pt>
                <c:pt idx="299">
                  <c:v>3.4804375598850208</c:v>
                </c:pt>
                <c:pt idx="300">
                  <c:v>3.4939807876569291</c:v>
                </c:pt>
                <c:pt idx="301">
                  <c:v>3.4845834459376461</c:v>
                </c:pt>
                <c:pt idx="302">
                  <c:v>3.4595607203400243</c:v>
                </c:pt>
                <c:pt idx="303">
                  <c:v>3.4612375009213081</c:v>
                </c:pt>
                <c:pt idx="304">
                  <c:v>3.4629941281969394</c:v>
                </c:pt>
                <c:pt idx="305">
                  <c:v>3.4499361226445227</c:v>
                </c:pt>
                <c:pt idx="306">
                  <c:v>3.4351092057096531</c:v>
                </c:pt>
                <c:pt idx="307">
                  <c:v>3.4291698400609301</c:v>
                </c:pt>
                <c:pt idx="308">
                  <c:v>3.4371422253887927</c:v>
                </c:pt>
                <c:pt idx="309">
                  <c:v>3.4355084391813877</c:v>
                </c:pt>
                <c:pt idx="310">
                  <c:v>3.4336412549443533</c:v>
                </c:pt>
                <c:pt idx="311">
                  <c:v>3.4218546544480763</c:v>
                </c:pt>
                <c:pt idx="312">
                  <c:v>3.4260558189814017</c:v>
                </c:pt>
                <c:pt idx="313">
                  <c:v>3.4141525194703086</c:v>
                </c:pt>
                <c:pt idx="314">
                  <c:v>3.3977593789155582</c:v>
                </c:pt>
                <c:pt idx="315">
                  <c:v>3.413882269120212</c:v>
                </c:pt>
                <c:pt idx="316">
                  <c:v>3.3919919907623517</c:v>
                </c:pt>
                <c:pt idx="317">
                  <c:v>3.4161671129892146</c:v>
                </c:pt>
                <c:pt idx="318">
                  <c:v>3.3965555364469444</c:v>
                </c:pt>
                <c:pt idx="319">
                  <c:v>3.3949893128270645</c:v>
                </c:pt>
                <c:pt idx="320">
                  <c:v>3.3950998697884676</c:v>
                </c:pt>
                <c:pt idx="321">
                  <c:v>3.3775335970321598</c:v>
                </c:pt>
                <c:pt idx="322">
                  <c:v>3.3863535857307818</c:v>
                </c:pt>
                <c:pt idx="323">
                  <c:v>3.397894504090607</c:v>
                </c:pt>
                <c:pt idx="324">
                  <c:v>3.4000687909982066</c:v>
                </c:pt>
                <c:pt idx="325">
                  <c:v>3.374757388890254</c:v>
                </c:pt>
                <c:pt idx="326">
                  <c:v>3.3882576222882834</c:v>
                </c:pt>
                <c:pt idx="327">
                  <c:v>3.3932081173377888</c:v>
                </c:pt>
                <c:pt idx="328">
                  <c:v>3.4019912537159431</c:v>
                </c:pt>
                <c:pt idx="329">
                  <c:v>3.4236051396702956</c:v>
                </c:pt>
                <c:pt idx="330">
                  <c:v>3.412610864064074</c:v>
                </c:pt>
                <c:pt idx="331">
                  <c:v>3.3913716433678109</c:v>
                </c:pt>
                <c:pt idx="332">
                  <c:v>3.400554013217699</c:v>
                </c:pt>
                <c:pt idx="333">
                  <c:v>3.3973847136574702</c:v>
                </c:pt>
                <c:pt idx="334">
                  <c:v>3.4001793479596096</c:v>
                </c:pt>
                <c:pt idx="335">
                  <c:v>3.4012480652531751</c:v>
                </c:pt>
                <c:pt idx="336">
                  <c:v>3.4272658035034271</c:v>
                </c:pt>
                <c:pt idx="337">
                  <c:v>3.439427069257794</c:v>
                </c:pt>
                <c:pt idx="338">
                  <c:v>3.438075817507309</c:v>
                </c:pt>
                <c:pt idx="339">
                  <c:v>3.4392919440827456</c:v>
                </c:pt>
                <c:pt idx="340">
                  <c:v>3.4492297865022237</c:v>
                </c:pt>
                <c:pt idx="341">
                  <c:v>3.4582278947497724</c:v>
                </c:pt>
                <c:pt idx="342">
                  <c:v>3.4707883939758735</c:v>
                </c:pt>
                <c:pt idx="343">
                  <c:v>3.468227157703363</c:v>
                </c:pt>
                <c:pt idx="344">
                  <c:v>3.4898656118713611</c:v>
                </c:pt>
                <c:pt idx="345">
                  <c:v>3.4864936245485589</c:v>
                </c:pt>
                <c:pt idx="346">
                  <c:v>3.4609611085177998</c:v>
                </c:pt>
                <c:pt idx="347">
                  <c:v>3.4426086529248465</c:v>
                </c:pt>
                <c:pt idx="348">
                  <c:v>3.4202761467213723</c:v>
                </c:pt>
                <c:pt idx="349">
                  <c:v>3.4104365771564753</c:v>
                </c:pt>
                <c:pt idx="350">
                  <c:v>3.4289180158710666</c:v>
                </c:pt>
                <c:pt idx="351">
                  <c:v>3.4361656388963961</c:v>
                </c:pt>
                <c:pt idx="352">
                  <c:v>3.4535599341571874</c:v>
                </c:pt>
                <c:pt idx="353">
                  <c:v>3.4597818342628308</c:v>
                </c:pt>
                <c:pt idx="354">
                  <c:v>3.4287030440016708</c:v>
                </c:pt>
                <c:pt idx="355">
                  <c:v>3.4213080116944696</c:v>
                </c:pt>
                <c:pt idx="356">
                  <c:v>3.4415399356312806</c:v>
                </c:pt>
                <c:pt idx="357">
                  <c:v>3.425251209984522</c:v>
                </c:pt>
                <c:pt idx="358">
                  <c:v>3.412156352111638</c:v>
                </c:pt>
                <c:pt idx="359">
                  <c:v>3.418851190329951</c:v>
                </c:pt>
                <c:pt idx="360">
                  <c:v>3.3971451735744296</c:v>
                </c:pt>
                <c:pt idx="361">
                  <c:v>3.3868879443775644</c:v>
                </c:pt>
                <c:pt idx="362">
                  <c:v>3.371532810849323</c:v>
                </c:pt>
                <c:pt idx="363">
                  <c:v>3.3708203326536128</c:v>
                </c:pt>
                <c:pt idx="364">
                  <c:v>3.3686460457460141</c:v>
                </c:pt>
                <c:pt idx="365">
                  <c:v>3.3712564184458147</c:v>
                </c:pt>
                <c:pt idx="366">
                  <c:v>3.3694138024224256</c:v>
                </c:pt>
                <c:pt idx="367">
                  <c:v>3.3704518094489346</c:v>
                </c:pt>
                <c:pt idx="368">
                  <c:v>3.379185809399798</c:v>
                </c:pt>
                <c:pt idx="369">
                  <c:v>3.40885192737636</c:v>
                </c:pt>
                <c:pt idx="370">
                  <c:v>3.3911566714984152</c:v>
                </c:pt>
                <c:pt idx="371">
                  <c:v>3.3764648797385934</c:v>
                </c:pt>
                <c:pt idx="372">
                  <c:v>3.3730191877748563</c:v>
                </c:pt>
                <c:pt idx="373">
                  <c:v>3.3521116379628029</c:v>
                </c:pt>
                <c:pt idx="374">
                  <c:v>3.3859727784192808</c:v>
                </c:pt>
                <c:pt idx="375">
                  <c:v>3.3763113284033115</c:v>
                </c:pt>
                <c:pt idx="376">
                  <c:v>3.3714591062083872</c:v>
                </c:pt>
                <c:pt idx="377">
                  <c:v>3.3704026730216445</c:v>
                </c:pt>
                <c:pt idx="378">
                  <c:v>3.3860157727931601</c:v>
                </c:pt>
                <c:pt idx="379">
                  <c:v>3.4012603493599984</c:v>
                </c:pt>
                <c:pt idx="380">
                  <c:v>3.4169594378792718</c:v>
                </c:pt>
                <c:pt idx="381">
                  <c:v>3.4084219836375698</c:v>
                </c:pt>
                <c:pt idx="382">
                  <c:v>3.3975259808859306</c:v>
                </c:pt>
                <c:pt idx="383">
                  <c:v>3.386077193327274</c:v>
                </c:pt>
                <c:pt idx="384">
                  <c:v>3.4037355968847516</c:v>
                </c:pt>
                <c:pt idx="385">
                  <c:v>3.422911087634819</c:v>
                </c:pt>
                <c:pt idx="386">
                  <c:v>3.4184765250718629</c:v>
                </c:pt>
                <c:pt idx="387">
                  <c:v>3.4038338697393318</c:v>
                </c:pt>
                <c:pt idx="388">
                  <c:v>3.415995135493699</c:v>
                </c:pt>
                <c:pt idx="389">
                  <c:v>3.4440520354765014</c:v>
                </c:pt>
                <c:pt idx="390">
                  <c:v>3.4183782522172819</c:v>
                </c:pt>
                <c:pt idx="391">
                  <c:v>3.4197417880745893</c:v>
                </c:pt>
                <c:pt idx="392">
                  <c:v>3.4274807753728234</c:v>
                </c:pt>
                <c:pt idx="393">
                  <c:v>3.4513119426086534</c:v>
                </c:pt>
                <c:pt idx="394">
                  <c:v>3.4682087315431298</c:v>
                </c:pt>
                <c:pt idx="395">
                  <c:v>3.4939685035501071</c:v>
                </c:pt>
                <c:pt idx="396">
                  <c:v>3.5109881335528095</c:v>
                </c:pt>
                <c:pt idx="397">
                  <c:v>3.5146242291722971</c:v>
                </c:pt>
                <c:pt idx="398">
                  <c:v>3.5119647200452051</c:v>
                </c:pt>
                <c:pt idx="399">
                  <c:v>3.4846571505785811</c:v>
                </c:pt>
                <c:pt idx="400">
                  <c:v>3.459253617669459</c:v>
                </c:pt>
                <c:pt idx="401">
                  <c:v>3.4518892956293143</c:v>
                </c:pt>
                <c:pt idx="402">
                  <c:v>3.4538977470948087</c:v>
                </c:pt>
                <c:pt idx="403">
                  <c:v>3.4466194138024222</c:v>
                </c:pt>
                <c:pt idx="404">
                  <c:v>3.4475775741345842</c:v>
                </c:pt>
                <c:pt idx="405">
                  <c:v>3.433942215561506</c:v>
                </c:pt>
                <c:pt idx="406">
                  <c:v>3.4532036950593317</c:v>
                </c:pt>
                <c:pt idx="407">
                  <c:v>3.4736444488121263</c:v>
                </c:pt>
                <c:pt idx="408">
                  <c:v>3.4931270422327594</c:v>
                </c:pt>
                <c:pt idx="409">
                  <c:v>3.497168513377392</c:v>
                </c:pt>
                <c:pt idx="410">
                  <c:v>3.4940852025649214</c:v>
                </c:pt>
                <c:pt idx="411">
                  <c:v>3.4805419747930131</c:v>
                </c:pt>
                <c:pt idx="412">
                  <c:v>3.4815738397661109</c:v>
                </c:pt>
                <c:pt idx="413">
                  <c:v>3.4765987765029602</c:v>
                </c:pt>
                <c:pt idx="414">
                  <c:v>3.508365476746186</c:v>
                </c:pt>
                <c:pt idx="415">
                  <c:v>3.4795285359801493</c:v>
                </c:pt>
                <c:pt idx="416">
                  <c:v>3.4834840183770241</c:v>
                </c:pt>
                <c:pt idx="417">
                  <c:v>3.4727231408004324</c:v>
                </c:pt>
                <c:pt idx="418">
                  <c:v>3.4866103235633741</c:v>
                </c:pt>
                <c:pt idx="419">
                  <c:v>3.482409159030047</c:v>
                </c:pt>
                <c:pt idx="420">
                  <c:v>3.4588298159840796</c:v>
                </c:pt>
                <c:pt idx="421">
                  <c:v>3.4869727047146406</c:v>
                </c:pt>
                <c:pt idx="422">
                  <c:v>3.4754932068889275</c:v>
                </c:pt>
                <c:pt idx="423">
                  <c:v>3.4566985234503602</c:v>
                </c:pt>
                <c:pt idx="424">
                  <c:v>3.444070461636735</c:v>
                </c:pt>
                <c:pt idx="425">
                  <c:v>3.4180281551728378</c:v>
                </c:pt>
                <c:pt idx="426">
                  <c:v>3.4073286981303599</c:v>
                </c:pt>
                <c:pt idx="427">
                  <c:v>3.3992457558410933</c:v>
                </c:pt>
                <c:pt idx="428">
                  <c:v>3.3880242242586549</c:v>
                </c:pt>
                <c:pt idx="429">
                  <c:v>3.387459155344815</c:v>
                </c:pt>
                <c:pt idx="430">
                  <c:v>3.4029616981549271</c:v>
                </c:pt>
                <c:pt idx="431">
                  <c:v>3.3831597179569068</c:v>
                </c:pt>
                <c:pt idx="432">
                  <c:v>3.3868940864309756</c:v>
                </c:pt>
                <c:pt idx="433">
                  <c:v>3.402924845834459</c:v>
                </c:pt>
                <c:pt idx="434">
                  <c:v>3.419729503967766</c:v>
                </c:pt>
                <c:pt idx="435">
                  <c:v>3.427873866791145</c:v>
                </c:pt>
                <c:pt idx="436">
                  <c:v>3.4021079527307565</c:v>
                </c:pt>
                <c:pt idx="437">
                  <c:v>3.3798982875955081</c:v>
                </c:pt>
                <c:pt idx="438">
                  <c:v>3.3750337812937614</c:v>
                </c:pt>
                <c:pt idx="439">
                  <c:v>3.3578667420091883</c:v>
                </c:pt>
                <c:pt idx="440">
                  <c:v>3.3641930570228231</c:v>
                </c:pt>
                <c:pt idx="441">
                  <c:v>3.3653968994914378</c:v>
                </c:pt>
                <c:pt idx="442">
                  <c:v>3.366723583028278</c:v>
                </c:pt>
                <c:pt idx="443">
                  <c:v>3.3543473454045154</c:v>
                </c:pt>
                <c:pt idx="444">
                  <c:v>3.3500970444438982</c:v>
                </c:pt>
                <c:pt idx="445">
                  <c:v>3.3123848364985382</c:v>
                </c:pt>
                <c:pt idx="446">
                  <c:v>3.3300678082696606</c:v>
                </c:pt>
                <c:pt idx="447">
                  <c:v>3.3195648969363436</c:v>
                </c:pt>
                <c:pt idx="448">
                  <c:v>3.3486413777854218</c:v>
                </c:pt>
                <c:pt idx="449">
                  <c:v>3.3403188954131147</c:v>
                </c:pt>
                <c:pt idx="450">
                  <c:v>3.3689408643097574</c:v>
                </c:pt>
                <c:pt idx="451">
                  <c:v>3.3741186153354796</c:v>
                </c:pt>
                <c:pt idx="452">
                  <c:v>3.3553976365378482</c:v>
                </c:pt>
                <c:pt idx="453">
                  <c:v>3.3510859150431176</c:v>
                </c:pt>
                <c:pt idx="454">
                  <c:v>3.388798122988478</c:v>
                </c:pt>
                <c:pt idx="455">
                  <c:v>3.3995835687787146</c:v>
                </c:pt>
                <c:pt idx="456">
                  <c:v>3.4303368302090758</c:v>
                </c:pt>
                <c:pt idx="457">
                  <c:v>3.4416873449131513</c:v>
                </c:pt>
                <c:pt idx="458">
                  <c:v>3.4223153084539222</c:v>
                </c:pt>
                <c:pt idx="459">
                  <c:v>3.4286723337346143</c:v>
                </c:pt>
                <c:pt idx="460">
                  <c:v>3.4135628823428252</c:v>
                </c:pt>
                <c:pt idx="461">
                  <c:v>3.40600815664693</c:v>
                </c:pt>
                <c:pt idx="462">
                  <c:v>3.4055167923740264</c:v>
                </c:pt>
                <c:pt idx="463">
                  <c:v>3.4131329386040337</c:v>
                </c:pt>
                <c:pt idx="464">
                  <c:v>3.3974522762449939</c:v>
                </c:pt>
                <c:pt idx="465">
                  <c:v>3.386543989386531</c:v>
                </c:pt>
                <c:pt idx="466">
                  <c:v>3.379394639215783</c:v>
                </c:pt>
                <c:pt idx="467">
                  <c:v>3.4016718669385546</c:v>
                </c:pt>
                <c:pt idx="468">
                  <c:v>3.3920042748691741</c:v>
                </c:pt>
                <c:pt idx="469">
                  <c:v>3.3762560499226093</c:v>
                </c:pt>
                <c:pt idx="470">
                  <c:v>3.3857148121760066</c:v>
                </c:pt>
                <c:pt idx="471">
                  <c:v>3.3701877011522483</c:v>
                </c:pt>
                <c:pt idx="472">
                  <c:v>3.3903582045549459</c:v>
                </c:pt>
                <c:pt idx="473">
                  <c:v>3.4158538682652373</c:v>
                </c:pt>
                <c:pt idx="474">
                  <c:v>3.4199997543178631</c:v>
                </c:pt>
                <c:pt idx="475">
                  <c:v>3.4231444856644471</c:v>
                </c:pt>
                <c:pt idx="476">
                  <c:v>3.4320688892710609</c:v>
                </c:pt>
                <c:pt idx="477">
                  <c:v>3.43045352922389</c:v>
                </c:pt>
                <c:pt idx="478">
                  <c:v>3.4278370144706778</c:v>
                </c:pt>
                <c:pt idx="479">
                  <c:v>3.4282423899958236</c:v>
                </c:pt>
                <c:pt idx="480">
                  <c:v>3.4237279807385197</c:v>
                </c:pt>
                <c:pt idx="481">
                  <c:v>3.3960887403876856</c:v>
                </c:pt>
                <c:pt idx="482">
                  <c:v>3.413163648871091</c:v>
                </c:pt>
                <c:pt idx="483">
                  <c:v>3.4280888386605408</c:v>
                </c:pt>
                <c:pt idx="484">
                  <c:v>3.4442670073458963</c:v>
                </c:pt>
                <c:pt idx="485">
                  <c:v>3.4349065179470806</c:v>
                </c:pt>
                <c:pt idx="486">
                  <c:v>3.4441748765447264</c:v>
                </c:pt>
                <c:pt idx="487">
                  <c:v>3.4287030440016708</c:v>
                </c:pt>
                <c:pt idx="488">
                  <c:v>3.421050045451195</c:v>
                </c:pt>
                <c:pt idx="489">
                  <c:v>3.4466071296955993</c:v>
                </c:pt>
                <c:pt idx="490">
                  <c:v>3.4582770311770625</c:v>
                </c:pt>
                <c:pt idx="491">
                  <c:v>3.4590325037466525</c:v>
                </c:pt>
                <c:pt idx="492">
                  <c:v>3.4780175908409694</c:v>
                </c:pt>
                <c:pt idx="493">
                  <c:v>3.4935262757044936</c:v>
                </c:pt>
                <c:pt idx="494">
                  <c:v>3.5058533769009661</c:v>
                </c:pt>
                <c:pt idx="495">
                  <c:v>3.4986303220892809</c:v>
                </c:pt>
                <c:pt idx="496">
                  <c:v>3.4877158931774064</c:v>
                </c:pt>
                <c:pt idx="497">
                  <c:v>3.4962656315259317</c:v>
                </c:pt>
                <c:pt idx="498">
                  <c:v>3.4996928973294352</c:v>
                </c:pt>
                <c:pt idx="499">
                  <c:v>3.5062157580522326</c:v>
                </c:pt>
                <c:pt idx="500">
                  <c:v>3.5086234429894607</c:v>
                </c:pt>
                <c:pt idx="501">
                  <c:v>3.5192491953910032</c:v>
                </c:pt>
                <c:pt idx="502">
                  <c:v>3.5288922192467389</c:v>
                </c:pt>
                <c:pt idx="503">
                  <c:v>3.5071002137434588</c:v>
                </c:pt>
                <c:pt idx="504">
                  <c:v>3.5072721912389744</c:v>
                </c:pt>
                <c:pt idx="505">
                  <c:v>3.4933113038350978</c:v>
                </c:pt>
                <c:pt idx="506">
                  <c:v>3.509710586443259</c:v>
                </c:pt>
                <c:pt idx="507">
                  <c:v>3.5284315652408904</c:v>
                </c:pt>
                <c:pt idx="508">
                  <c:v>3.5171240449106933</c:v>
                </c:pt>
                <c:pt idx="509">
                  <c:v>3.5413851558853149</c:v>
                </c:pt>
                <c:pt idx="510">
                  <c:v>3.5350281306046232</c:v>
                </c:pt>
                <c:pt idx="511">
                  <c:v>3.5309928015134009</c:v>
                </c:pt>
                <c:pt idx="512">
                  <c:v>3.5373068324202142</c:v>
                </c:pt>
                <c:pt idx="513">
                  <c:v>3.5438174090361878</c:v>
                </c:pt>
                <c:pt idx="514">
                  <c:v>3.548337960346903</c:v>
                </c:pt>
                <c:pt idx="515">
                  <c:v>3.5551310714197966</c:v>
                </c:pt>
                <c:pt idx="516">
                  <c:v>3.5307716875905952</c:v>
                </c:pt>
                <c:pt idx="517">
                  <c:v>3.503003464118124</c:v>
                </c:pt>
                <c:pt idx="518">
                  <c:v>3.4931024740191146</c:v>
                </c:pt>
                <c:pt idx="519">
                  <c:v>3.4815676977126997</c:v>
                </c:pt>
                <c:pt idx="520">
                  <c:v>3.4713596049431241</c:v>
                </c:pt>
                <c:pt idx="521">
                  <c:v>3.4429341817556449</c:v>
                </c:pt>
                <c:pt idx="522">
                  <c:v>3.4597449819423631</c:v>
                </c:pt>
                <c:pt idx="523">
                  <c:v>3.4685711126943959</c:v>
                </c:pt>
                <c:pt idx="524">
                  <c:v>3.4696029776674941</c:v>
                </c:pt>
                <c:pt idx="525">
                  <c:v>3.4544013954745356</c:v>
                </c:pt>
                <c:pt idx="526">
                  <c:v>3.4699837849789943</c:v>
                </c:pt>
                <c:pt idx="527">
                  <c:v>3.4808982138908684</c:v>
                </c:pt>
                <c:pt idx="528">
                  <c:v>3.4908176301501124</c:v>
                </c:pt>
                <c:pt idx="529">
                  <c:v>3.4762548215119282</c:v>
                </c:pt>
                <c:pt idx="530">
                  <c:v>3.4849519691423239</c:v>
                </c:pt>
                <c:pt idx="531">
                  <c:v>3.5015600815664696</c:v>
                </c:pt>
                <c:pt idx="532">
                  <c:v>3.4941957595263253</c:v>
                </c:pt>
                <c:pt idx="533">
                  <c:v>3.4839753826499282</c:v>
                </c:pt>
                <c:pt idx="534">
                  <c:v>3.485160798958308</c:v>
                </c:pt>
                <c:pt idx="535">
                  <c:v>3.4676927990565805</c:v>
                </c:pt>
                <c:pt idx="536">
                  <c:v>3.4925619733189199</c:v>
                </c:pt>
                <c:pt idx="537">
                  <c:v>3.4931884627668723</c:v>
                </c:pt>
                <c:pt idx="538">
                  <c:v>3.4846080141512914</c:v>
                </c:pt>
                <c:pt idx="539">
                  <c:v>3.467287423531435</c:v>
                </c:pt>
                <c:pt idx="540">
                  <c:v>3.436110360415694</c:v>
                </c:pt>
                <c:pt idx="541">
                  <c:v>3.4280949807139516</c:v>
                </c:pt>
                <c:pt idx="542">
                  <c:v>3.4403913716433676</c:v>
                </c:pt>
                <c:pt idx="543">
                  <c:v>3.4454032872269851</c:v>
                </c:pt>
                <c:pt idx="544">
                  <c:v>3.4275790482274031</c:v>
                </c:pt>
                <c:pt idx="545">
                  <c:v>3.4192627079085076</c:v>
                </c:pt>
                <c:pt idx="546">
                  <c:v>3.406794339483576</c:v>
                </c:pt>
                <c:pt idx="547">
                  <c:v>3.3997739724344647</c:v>
                </c:pt>
                <c:pt idx="548">
                  <c:v>3.4260742451416357</c:v>
                </c:pt>
                <c:pt idx="549">
                  <c:v>3.4354470186472748</c:v>
                </c:pt>
                <c:pt idx="550">
                  <c:v>3.4348205291993228</c:v>
                </c:pt>
                <c:pt idx="551">
                  <c:v>3.4442731493993075</c:v>
                </c:pt>
                <c:pt idx="552">
                  <c:v>3.4672874235314355</c:v>
                </c:pt>
                <c:pt idx="553">
                  <c:v>3.4408765938628609</c:v>
                </c:pt>
                <c:pt idx="554">
                  <c:v>3.4278677247377347</c:v>
                </c:pt>
                <c:pt idx="555">
                  <c:v>3.4355698597155002</c:v>
                </c:pt>
                <c:pt idx="556">
                  <c:v>3.4197049357541216</c:v>
                </c:pt>
                <c:pt idx="557">
                  <c:v>3.4058546053116476</c:v>
                </c:pt>
                <c:pt idx="558">
                  <c:v>3.3851251750485227</c:v>
                </c:pt>
                <c:pt idx="559">
                  <c:v>3.3592978404540208</c:v>
                </c:pt>
                <c:pt idx="560">
                  <c:v>3.3680134142446501</c:v>
                </c:pt>
                <c:pt idx="561">
                  <c:v>3.376956244011498</c:v>
                </c:pt>
                <c:pt idx="562">
                  <c:v>3.3720241751222266</c:v>
                </c:pt>
                <c:pt idx="563">
                  <c:v>3.363578851681694</c:v>
                </c:pt>
                <c:pt idx="564">
                  <c:v>3.3682590963811019</c:v>
                </c:pt>
                <c:pt idx="565">
                  <c:v>3.3752610372699805</c:v>
                </c:pt>
                <c:pt idx="566">
                  <c:v>3.3775458811389831</c:v>
                </c:pt>
                <c:pt idx="567">
                  <c:v>3.355483625285606</c:v>
                </c:pt>
                <c:pt idx="568">
                  <c:v>3.3464425226641774</c:v>
                </c:pt>
                <c:pt idx="569">
                  <c:v>3.3495504016902933</c:v>
                </c:pt>
                <c:pt idx="570">
                  <c:v>3.3731297447362603</c:v>
                </c:pt>
                <c:pt idx="571">
                  <c:v>3.3733017222317767</c:v>
                </c:pt>
                <c:pt idx="572">
                  <c:v>3.3662813551826649</c:v>
                </c:pt>
                <c:pt idx="573">
                  <c:v>3.3709186055081939</c:v>
                </c:pt>
                <c:pt idx="574">
                  <c:v>3.3760042257327472</c:v>
                </c:pt>
                <c:pt idx="575">
                  <c:v>3.36213546913004</c:v>
                </c:pt>
                <c:pt idx="576">
                  <c:v>3.358093997985407</c:v>
                </c:pt>
                <c:pt idx="577">
                  <c:v>3.3656978601085923</c:v>
                </c:pt>
                <c:pt idx="578">
                  <c:v>3.3859543522590485</c:v>
                </c:pt>
                <c:pt idx="579">
                  <c:v>3.3692356828734988</c:v>
                </c:pt>
                <c:pt idx="580">
                  <c:v>3.3707650541729115</c:v>
                </c:pt>
                <c:pt idx="581">
                  <c:v>3.370150848831782</c:v>
                </c:pt>
                <c:pt idx="582">
                  <c:v>3.3537515662236204</c:v>
                </c:pt>
                <c:pt idx="583">
                  <c:v>3.3379296366361197</c:v>
                </c:pt>
                <c:pt idx="584">
                  <c:v>3.356472495884824</c:v>
                </c:pt>
                <c:pt idx="585">
                  <c:v>3.3409392428076545</c:v>
                </c:pt>
                <c:pt idx="586">
                  <c:v>3.3334029432719943</c:v>
                </c:pt>
                <c:pt idx="587">
                  <c:v>3.3460002948185634</c:v>
                </c:pt>
                <c:pt idx="588">
                  <c:v>3.3415165958283164</c:v>
                </c:pt>
                <c:pt idx="589">
                  <c:v>3.3621538952902732</c:v>
                </c:pt>
                <c:pt idx="590">
                  <c:v>3.3888104070953</c:v>
                </c:pt>
                <c:pt idx="591">
                  <c:v>3.3750644915608188</c:v>
                </c:pt>
                <c:pt idx="592">
                  <c:v>3.3830491609955038</c:v>
                </c:pt>
                <c:pt idx="593">
                  <c:v>3.3861140456477412</c:v>
                </c:pt>
                <c:pt idx="594">
                  <c:v>3.3654398938653167</c:v>
                </c:pt>
                <c:pt idx="595">
                  <c:v>3.3702675478465962</c:v>
                </c:pt>
                <c:pt idx="596">
                  <c:v>3.3645492961206793</c:v>
                </c:pt>
                <c:pt idx="597">
                  <c:v>3.3534198953394103</c:v>
                </c:pt>
                <c:pt idx="598">
                  <c:v>3.3430521091811416</c:v>
                </c:pt>
                <c:pt idx="599">
                  <c:v>3.3587143453799477</c:v>
                </c:pt>
                <c:pt idx="600">
                  <c:v>3.3551396702945735</c:v>
                </c:pt>
                <c:pt idx="601">
                  <c:v>3.3698007517873383</c:v>
                </c:pt>
                <c:pt idx="602">
                  <c:v>3.4099022185096923</c:v>
                </c:pt>
                <c:pt idx="603">
                  <c:v>3.4496228779205471</c:v>
                </c:pt>
                <c:pt idx="604">
                  <c:v>3.4701373363142771</c:v>
                </c:pt>
                <c:pt idx="605">
                  <c:v>3.4782018524433091</c:v>
                </c:pt>
                <c:pt idx="606">
                  <c:v>3.5266258015379699</c:v>
                </c:pt>
                <c:pt idx="607">
                  <c:v>3.5517590840969957</c:v>
                </c:pt>
                <c:pt idx="608">
                  <c:v>3.5835380684470435</c:v>
                </c:pt>
                <c:pt idx="609">
                  <c:v>3.6125347026017747</c:v>
                </c:pt>
                <c:pt idx="610">
                  <c:v>3.6500135125175053</c:v>
                </c:pt>
                <c:pt idx="611">
                  <c:v>3.6902992408421991</c:v>
                </c:pt>
                <c:pt idx="612">
                  <c:v>3.7292705697368751</c:v>
                </c:pt>
                <c:pt idx="613">
                  <c:v>3.7632606933149897</c:v>
                </c:pt>
                <c:pt idx="614">
                  <c:v>3.8084047858880186</c:v>
                </c:pt>
                <c:pt idx="615">
                  <c:v>3.8228754637250328</c:v>
                </c:pt>
                <c:pt idx="616">
                  <c:v>3.8576640542466163</c:v>
                </c:pt>
                <c:pt idx="617">
                  <c:v>3.8828157629658753</c:v>
                </c:pt>
                <c:pt idx="618">
                  <c:v>3.9164373633393126</c:v>
                </c:pt>
                <c:pt idx="619">
                  <c:v>3.9669189003267582</c:v>
                </c:pt>
                <c:pt idx="620">
                  <c:v>3.9878018819251655</c:v>
                </c:pt>
                <c:pt idx="621">
                  <c:v>4.0004545119524364</c:v>
                </c:pt>
                <c:pt idx="622">
                  <c:v>4.0384861066751849</c:v>
                </c:pt>
                <c:pt idx="623">
                  <c:v>4.055683856226814</c:v>
                </c:pt>
                <c:pt idx="624">
                  <c:v>4.0832493919367128</c:v>
                </c:pt>
                <c:pt idx="625">
                  <c:v>4.142114831830578</c:v>
                </c:pt>
                <c:pt idx="626">
                  <c:v>4.1826155320246672</c:v>
                </c:pt>
                <c:pt idx="627">
                  <c:v>4.2227845613345449</c:v>
                </c:pt>
                <c:pt idx="628">
                  <c:v>4.2599255583126547</c:v>
                </c:pt>
                <c:pt idx="629">
                  <c:v>4.3101675552170597</c:v>
                </c:pt>
                <c:pt idx="630">
                  <c:v>4.322562219001056</c:v>
                </c:pt>
                <c:pt idx="631">
                  <c:v>4.3526644227698208</c:v>
                </c:pt>
                <c:pt idx="632">
                  <c:v>4.3560978306267355</c:v>
                </c:pt>
                <c:pt idx="633">
                  <c:v>4.3520686435889244</c:v>
                </c:pt>
                <c:pt idx="634">
                  <c:v>4.3463135395425398</c:v>
                </c:pt>
                <c:pt idx="635">
                  <c:v>4.3476832174532589</c:v>
                </c:pt>
                <c:pt idx="636">
                  <c:v>4.3618037982458295</c:v>
                </c:pt>
                <c:pt idx="637">
                  <c:v>4.3499680613222615</c:v>
                </c:pt>
                <c:pt idx="638">
                  <c:v>4.3459143060708056</c:v>
                </c:pt>
                <c:pt idx="639">
                  <c:v>4.3416885733238333</c:v>
                </c:pt>
                <c:pt idx="640">
                  <c:v>4.3328563005183893</c:v>
                </c:pt>
                <c:pt idx="641">
                  <c:v>4.3313085030587422</c:v>
                </c:pt>
                <c:pt idx="642">
                  <c:v>4.324859346976881</c:v>
                </c:pt>
                <c:pt idx="643">
                  <c:v>4.3354236788443101</c:v>
                </c:pt>
                <c:pt idx="644">
                  <c:v>4.3324140726727753</c:v>
                </c:pt>
                <c:pt idx="645">
                  <c:v>4.3280839250178111</c:v>
                </c:pt>
                <c:pt idx="646">
                  <c:v>4.3214812176006685</c:v>
                </c:pt>
                <c:pt idx="647">
                  <c:v>4.3004938210942685</c:v>
                </c:pt>
                <c:pt idx="648">
                  <c:v>4.2877859125862949</c:v>
                </c:pt>
                <c:pt idx="649">
                  <c:v>4.2418802053902667</c:v>
                </c:pt>
                <c:pt idx="650">
                  <c:v>4.1940766036901467</c:v>
                </c:pt>
                <c:pt idx="651">
                  <c:v>4.1616465616785003</c:v>
                </c:pt>
                <c:pt idx="652">
                  <c:v>4.1272633466820627</c:v>
                </c:pt>
                <c:pt idx="653">
                  <c:v>4.0770704862049483</c:v>
                </c:pt>
                <c:pt idx="654">
                  <c:v>4.0507210770704862</c:v>
                </c:pt>
                <c:pt idx="655">
                  <c:v>4.0176522615040664</c:v>
                </c:pt>
                <c:pt idx="656">
                  <c:v>3.9719308159103748</c:v>
                </c:pt>
                <c:pt idx="657">
                  <c:v>3.9225118541630839</c:v>
                </c:pt>
                <c:pt idx="658">
                  <c:v>3.8867405350956932</c:v>
                </c:pt>
                <c:pt idx="659">
                  <c:v>3.8471550008598872</c:v>
                </c:pt>
                <c:pt idx="660">
                  <c:v>3.8151794708006777</c:v>
                </c:pt>
                <c:pt idx="661">
                  <c:v>3.7975886298307246</c:v>
                </c:pt>
                <c:pt idx="662">
                  <c:v>3.7655332530771681</c:v>
                </c:pt>
                <c:pt idx="663">
                  <c:v>3.7392759747438755</c:v>
                </c:pt>
                <c:pt idx="664">
                  <c:v>3.7285580915411631</c:v>
                </c:pt>
                <c:pt idx="665">
                  <c:v>3.7125580424047362</c:v>
                </c:pt>
                <c:pt idx="666">
                  <c:v>3.6871729356558478</c:v>
                </c:pt>
                <c:pt idx="667">
                  <c:v>3.6695513844188383</c:v>
                </c:pt>
                <c:pt idx="668">
                  <c:v>3.6365562734933543</c:v>
                </c:pt>
                <c:pt idx="669">
                  <c:v>3.6108333538068447</c:v>
                </c:pt>
                <c:pt idx="670">
                  <c:v>3.5857737758887556</c:v>
                </c:pt>
                <c:pt idx="671">
                  <c:v>3.5751111711667445</c:v>
                </c:pt>
                <c:pt idx="672">
                  <c:v>3.536692627079085</c:v>
                </c:pt>
                <c:pt idx="673">
                  <c:v>3.5097597228705495</c:v>
                </c:pt>
                <c:pt idx="674">
                  <c:v>3.460746136648404</c:v>
                </c:pt>
                <c:pt idx="675">
                  <c:v>3.4474363069061242</c:v>
                </c:pt>
                <c:pt idx="676">
                  <c:v>3.4333832887010782</c:v>
                </c:pt>
                <c:pt idx="677">
                  <c:v>3.427056973687443</c:v>
                </c:pt>
                <c:pt idx="678">
                  <c:v>3.4334569933420145</c:v>
                </c:pt>
                <c:pt idx="679">
                  <c:v>3.4251222268628854</c:v>
                </c:pt>
                <c:pt idx="680">
                  <c:v>3.4432904208534998</c:v>
                </c:pt>
                <c:pt idx="681">
                  <c:v>3.4666547920300714</c:v>
                </c:pt>
                <c:pt idx="682">
                  <c:v>3.4642716753064886</c:v>
                </c:pt>
                <c:pt idx="683">
                  <c:v>3.4858487089403729</c:v>
                </c:pt>
                <c:pt idx="684">
                  <c:v>3.4927278087610252</c:v>
                </c:pt>
                <c:pt idx="685">
                  <c:v>3.4727354249072548</c:v>
                </c:pt>
                <c:pt idx="686">
                  <c:v>3.4865673291894947</c:v>
                </c:pt>
                <c:pt idx="687">
                  <c:v>3.4930533375918236</c:v>
                </c:pt>
                <c:pt idx="688">
                  <c:v>3.5108407242709379</c:v>
                </c:pt>
                <c:pt idx="689">
                  <c:v>3.5052268874530133</c:v>
                </c:pt>
                <c:pt idx="690">
                  <c:v>3.5078188339925798</c:v>
                </c:pt>
                <c:pt idx="691">
                  <c:v>3.5131194260865293</c:v>
                </c:pt>
                <c:pt idx="692">
                  <c:v>3.5044529887231901</c:v>
                </c:pt>
                <c:pt idx="693">
                  <c:v>3.4851055204776062</c:v>
                </c:pt>
                <c:pt idx="694">
                  <c:v>3.4913335626366608</c:v>
                </c:pt>
                <c:pt idx="695">
                  <c:v>3.4822433235879422</c:v>
                </c:pt>
                <c:pt idx="696">
                  <c:v>3.4894295260791597</c:v>
                </c:pt>
                <c:pt idx="697">
                  <c:v>3.4748360071739195</c:v>
                </c:pt>
                <c:pt idx="698">
                  <c:v>3.4666670761368947</c:v>
                </c:pt>
                <c:pt idx="699">
                  <c:v>3.4968061322261264</c:v>
                </c:pt>
                <c:pt idx="700">
                  <c:v>3.4873596540795524</c:v>
                </c:pt>
                <c:pt idx="701">
                  <c:v>3.4659853082082406</c:v>
                </c:pt>
                <c:pt idx="702">
                  <c:v>3.4579883546667327</c:v>
                </c:pt>
                <c:pt idx="703">
                  <c:v>3.4647507554725694</c:v>
                </c:pt>
                <c:pt idx="704">
                  <c:v>3.4445925361766951</c:v>
                </c:pt>
                <c:pt idx="705">
                  <c:v>3.4545610888632288</c:v>
                </c:pt>
                <c:pt idx="706">
                  <c:v>3.4367061395965903</c:v>
                </c:pt>
                <c:pt idx="707">
                  <c:v>3.4169164435053934</c:v>
                </c:pt>
                <c:pt idx="708">
                  <c:v>3.4105164238508228</c:v>
                </c:pt>
                <c:pt idx="709">
                  <c:v>3.3888226912021233</c:v>
                </c:pt>
                <c:pt idx="710">
                  <c:v>3.3995221482446016</c:v>
                </c:pt>
                <c:pt idx="711">
                  <c:v>3.3954868191533794</c:v>
                </c:pt>
                <c:pt idx="712">
                  <c:v>3.3727857897452282</c:v>
                </c:pt>
                <c:pt idx="713">
                  <c:v>3.385211163796281</c:v>
                </c:pt>
                <c:pt idx="714">
                  <c:v>3.3718521976267106</c:v>
                </c:pt>
                <c:pt idx="715">
                  <c:v>3.37236813011326</c:v>
                </c:pt>
                <c:pt idx="716">
                  <c:v>3.3728472102793412</c:v>
                </c:pt>
                <c:pt idx="717">
                  <c:v>3.3637631132840333</c:v>
                </c:pt>
                <c:pt idx="718">
                  <c:v>3.346663636586984</c:v>
                </c:pt>
                <c:pt idx="719">
                  <c:v>3.3246505171608978</c:v>
                </c:pt>
                <c:pt idx="720">
                  <c:v>3.3177468491266007</c:v>
                </c:pt>
                <c:pt idx="721">
                  <c:v>3.3340847112006489</c:v>
                </c:pt>
                <c:pt idx="722">
                  <c:v>3.3302582119254112</c:v>
                </c:pt>
                <c:pt idx="723">
                  <c:v>3.3298712625604998</c:v>
                </c:pt>
                <c:pt idx="724">
                  <c:v>3.3570437068520751</c:v>
                </c:pt>
                <c:pt idx="725">
                  <c:v>3.3555143355526633</c:v>
                </c:pt>
                <c:pt idx="726">
                  <c:v>3.3377883694076607</c:v>
                </c:pt>
                <c:pt idx="727">
                  <c:v>3.3095594919293427</c:v>
                </c:pt>
                <c:pt idx="728">
                  <c:v>3.325682382133996</c:v>
                </c:pt>
                <c:pt idx="729">
                  <c:v>3.320995995381177</c:v>
                </c:pt>
                <c:pt idx="730">
                  <c:v>3.308392501781197</c:v>
                </c:pt>
                <c:pt idx="731">
                  <c:v>3.3244294032380926</c:v>
                </c:pt>
                <c:pt idx="732">
                  <c:v>3.3411050782497616</c:v>
                </c:pt>
                <c:pt idx="733">
                  <c:v>3.3336240571948026</c:v>
                </c:pt>
                <c:pt idx="734">
                  <c:v>3.3347296268088358</c:v>
                </c:pt>
                <c:pt idx="735">
                  <c:v>3.3417745620715928</c:v>
                </c:pt>
                <c:pt idx="736">
                  <c:v>3.3356202245534741</c:v>
                </c:pt>
                <c:pt idx="737">
                  <c:v>3.3352271331351506</c:v>
                </c:pt>
                <c:pt idx="738">
                  <c:v>3.3579957251308268</c:v>
                </c:pt>
                <c:pt idx="739">
                  <c:v>3.3481930078863971</c:v>
                </c:pt>
                <c:pt idx="740">
                  <c:v>3.3447104636021927</c:v>
                </c:pt>
                <c:pt idx="741">
                  <c:v>3.3207625973515467</c:v>
                </c:pt>
                <c:pt idx="742">
                  <c:v>3.3139019236911289</c:v>
                </c:pt>
                <c:pt idx="743">
                  <c:v>3.3241345846743489</c:v>
                </c:pt>
                <c:pt idx="744">
                  <c:v>3.3106834877036095</c:v>
                </c:pt>
                <c:pt idx="745">
                  <c:v>3.3154742893644209</c:v>
                </c:pt>
                <c:pt idx="746">
                  <c:v>3.3498452202540361</c:v>
                </c:pt>
                <c:pt idx="747">
                  <c:v>3.3655074564528418</c:v>
                </c:pt>
                <c:pt idx="748">
                  <c:v>3.3573876618431084</c:v>
                </c:pt>
                <c:pt idx="749">
                  <c:v>3.3827543424317623</c:v>
                </c:pt>
                <c:pt idx="750">
                  <c:v>3.3940372945483137</c:v>
                </c:pt>
                <c:pt idx="751">
                  <c:v>3.4189003267572415</c:v>
                </c:pt>
                <c:pt idx="752">
                  <c:v>3.4157003169299567</c:v>
                </c:pt>
                <c:pt idx="753">
                  <c:v>3.4222600299732213</c:v>
                </c:pt>
                <c:pt idx="754">
                  <c:v>3.4139989681350276</c:v>
                </c:pt>
                <c:pt idx="755">
                  <c:v>3.4129179667346397</c:v>
                </c:pt>
                <c:pt idx="756">
                  <c:v>3.4230707810235126</c:v>
                </c:pt>
                <c:pt idx="757">
                  <c:v>3.4363744687123812</c:v>
                </c:pt>
                <c:pt idx="758">
                  <c:v>3.4454217133872205</c:v>
                </c:pt>
                <c:pt idx="759">
                  <c:v>3.436239343537332</c:v>
                </c:pt>
                <c:pt idx="760">
                  <c:v>3.4315713829447465</c:v>
                </c:pt>
                <c:pt idx="761">
                  <c:v>3.4323452816745701</c:v>
                </c:pt>
                <c:pt idx="762">
                  <c:v>3.4420190157973618</c:v>
                </c:pt>
                <c:pt idx="763">
                  <c:v>3.4384811930324557</c:v>
                </c:pt>
                <c:pt idx="764">
                  <c:v>3.4443284278800097</c:v>
                </c:pt>
                <c:pt idx="765">
                  <c:v>3.45266933641255</c:v>
                </c:pt>
                <c:pt idx="766">
                  <c:v>3.4510724025256128</c:v>
                </c:pt>
                <c:pt idx="767">
                  <c:v>3.4595115839127337</c:v>
                </c:pt>
                <c:pt idx="768">
                  <c:v>3.4514286416234672</c:v>
                </c:pt>
                <c:pt idx="769">
                  <c:v>3.427923003218436</c:v>
                </c:pt>
                <c:pt idx="770">
                  <c:v>3.4215844040979784</c:v>
                </c:pt>
                <c:pt idx="771">
                  <c:v>3.4385917499938579</c:v>
                </c:pt>
                <c:pt idx="772">
                  <c:v>3.4696889664152515</c:v>
                </c:pt>
                <c:pt idx="773">
                  <c:v>3.4765680662359033</c:v>
                </c:pt>
                <c:pt idx="774">
                  <c:v>3.4752905191263532</c:v>
                </c:pt>
                <c:pt idx="775">
                  <c:v>3.4786809326093899</c:v>
                </c:pt>
                <c:pt idx="776">
                  <c:v>3.4757941675060802</c:v>
                </c:pt>
                <c:pt idx="777">
                  <c:v>3.4726002997322056</c:v>
                </c:pt>
                <c:pt idx="778">
                  <c:v>3.480615679433948</c:v>
                </c:pt>
                <c:pt idx="779">
                  <c:v>3.4894970886666825</c:v>
                </c:pt>
                <c:pt idx="780">
                  <c:v>3.4771208510429203</c:v>
                </c:pt>
                <c:pt idx="781">
                  <c:v>3.5037098002604226</c:v>
                </c:pt>
                <c:pt idx="782">
                  <c:v>3.4799769058791723</c:v>
                </c:pt>
                <c:pt idx="783">
                  <c:v>3.4645173574429395</c:v>
                </c:pt>
                <c:pt idx="784">
                  <c:v>3.46451735744294</c:v>
                </c:pt>
                <c:pt idx="785">
                  <c:v>3.4664766724811442</c:v>
                </c:pt>
                <c:pt idx="786">
                  <c:v>3.4583691619782324</c:v>
                </c:pt>
                <c:pt idx="787">
                  <c:v>3.4690071984865987</c:v>
                </c:pt>
                <c:pt idx="788">
                  <c:v>3.4658133307127241</c:v>
                </c:pt>
                <c:pt idx="789">
                  <c:v>3.4797005134756649</c:v>
                </c:pt>
                <c:pt idx="790">
                  <c:v>3.4815676977126997</c:v>
                </c:pt>
                <c:pt idx="791">
                  <c:v>3.480756946662408</c:v>
                </c:pt>
                <c:pt idx="792">
                  <c:v>3.4649964376090212</c:v>
                </c:pt>
                <c:pt idx="793">
                  <c:v>3.4582033265361276</c:v>
                </c:pt>
                <c:pt idx="794">
                  <c:v>3.4661204333832889</c:v>
                </c:pt>
                <c:pt idx="795">
                  <c:v>3.4661142913298777</c:v>
                </c:pt>
                <c:pt idx="796">
                  <c:v>3.466875905952878</c:v>
                </c:pt>
                <c:pt idx="797">
                  <c:v>3.4660037343684742</c:v>
                </c:pt>
                <c:pt idx="798">
                  <c:v>3.4733189199813279</c:v>
                </c:pt>
                <c:pt idx="799">
                  <c:v>3.4822617497481763</c:v>
                </c:pt>
                <c:pt idx="800">
                  <c:v>3.4952337665528339</c:v>
                </c:pt>
                <c:pt idx="801">
                  <c:v>3.5043547158686095</c:v>
                </c:pt>
                <c:pt idx="802">
                  <c:v>3.5128491757364322</c:v>
                </c:pt>
                <c:pt idx="803">
                  <c:v>3.5050426258506748</c:v>
                </c:pt>
                <c:pt idx="804">
                  <c:v>3.4861005331302368</c:v>
                </c:pt>
                <c:pt idx="805">
                  <c:v>3.4949573741493261</c:v>
                </c:pt>
                <c:pt idx="806">
                  <c:v>3.4867454487384228</c:v>
                </c:pt>
                <c:pt idx="807">
                  <c:v>3.4997051814362585</c:v>
                </c:pt>
                <c:pt idx="808">
                  <c:v>3.4856767314448578</c:v>
                </c:pt>
                <c:pt idx="809">
                  <c:v>3.4836498538191298</c:v>
                </c:pt>
                <c:pt idx="810">
                  <c:v>3.4867638748986569</c:v>
                </c:pt>
                <c:pt idx="811">
                  <c:v>3.4937105373068338</c:v>
                </c:pt>
                <c:pt idx="812">
                  <c:v>3.480308576763385</c:v>
                </c:pt>
                <c:pt idx="813">
                  <c:v>3.4915239662924127</c:v>
                </c:pt>
                <c:pt idx="814">
                  <c:v>3.4972606441785632</c:v>
                </c:pt>
                <c:pt idx="815">
                  <c:v>3.4930779058054697</c:v>
                </c:pt>
                <c:pt idx="816">
                  <c:v>3.4922548706483556</c:v>
                </c:pt>
                <c:pt idx="817">
                  <c:v>3.4940114979239865</c:v>
                </c:pt>
                <c:pt idx="818">
                  <c:v>3.4737672898803531</c:v>
                </c:pt>
                <c:pt idx="819">
                  <c:v>3.4777473404908736</c:v>
                </c:pt>
                <c:pt idx="820">
                  <c:v>3.446944942633221</c:v>
                </c:pt>
                <c:pt idx="821">
                  <c:v>3.4653219664398196</c:v>
                </c:pt>
                <c:pt idx="822">
                  <c:v>3.4514532098371129</c:v>
                </c:pt>
                <c:pt idx="823">
                  <c:v>3.480112031054222</c:v>
                </c:pt>
                <c:pt idx="824">
                  <c:v>3.4641795445053187</c:v>
                </c:pt>
                <c:pt idx="825">
                  <c:v>3.4562624376581574</c:v>
                </c:pt>
                <c:pt idx="826">
                  <c:v>3.4665442350686675</c:v>
                </c:pt>
                <c:pt idx="827">
                  <c:v>3.4608259833427506</c:v>
                </c:pt>
                <c:pt idx="828">
                  <c:v>3.4624106331228659</c:v>
                </c:pt>
                <c:pt idx="829">
                  <c:v>3.4624659116035676</c:v>
                </c:pt>
                <c:pt idx="830">
                  <c:v>3.4865427609758495</c:v>
                </c:pt>
                <c:pt idx="831">
                  <c:v>3.4819116527037322</c:v>
                </c:pt>
                <c:pt idx="832">
                  <c:v>3.4690133405400099</c:v>
                </c:pt>
                <c:pt idx="833">
                  <c:v>3.4625826106183824</c:v>
                </c:pt>
                <c:pt idx="834">
                  <c:v>3.450372208436725</c:v>
                </c:pt>
                <c:pt idx="835">
                  <c:v>3.4585411394737493</c:v>
                </c:pt>
                <c:pt idx="836">
                  <c:v>3.4539223153084544</c:v>
                </c:pt>
                <c:pt idx="837">
                  <c:v>3.4680367540476134</c:v>
                </c:pt>
                <c:pt idx="838">
                  <c:v>3.4613910522565905</c:v>
                </c:pt>
                <c:pt idx="839">
                  <c:v>3.4615998820725746</c:v>
                </c:pt>
                <c:pt idx="840">
                  <c:v>3.45835687787141</c:v>
                </c:pt>
                <c:pt idx="841">
                  <c:v>3.4674041225462497</c:v>
                </c:pt>
                <c:pt idx="842">
                  <c:v>3.4552735670589394</c:v>
                </c:pt>
                <c:pt idx="843">
                  <c:v>3.444082745743557</c:v>
                </c:pt>
                <c:pt idx="844">
                  <c:v>3.4483944672382871</c:v>
                </c:pt>
                <c:pt idx="845">
                  <c:v>3.4664459622140869</c:v>
                </c:pt>
                <c:pt idx="846">
                  <c:v>3.479829496597302</c:v>
                </c:pt>
                <c:pt idx="847">
                  <c:v>3.483791121047588</c:v>
                </c:pt>
                <c:pt idx="848">
                  <c:v>3.4953443235142365</c:v>
                </c:pt>
                <c:pt idx="849">
                  <c:v>3.4953197553005917</c:v>
                </c:pt>
                <c:pt idx="850">
                  <c:v>3.4910326020195068</c:v>
                </c:pt>
                <c:pt idx="851">
                  <c:v>3.5079171068471608</c:v>
                </c:pt>
                <c:pt idx="852">
                  <c:v>3.4904491069454342</c:v>
                </c:pt>
                <c:pt idx="853">
                  <c:v>3.5186534162101073</c:v>
                </c:pt>
                <c:pt idx="854">
                  <c:v>3.5089735400339044</c:v>
                </c:pt>
                <c:pt idx="855">
                  <c:v>3.5032307200943413</c:v>
                </c:pt>
                <c:pt idx="856">
                  <c:v>3.5030157482249469</c:v>
                </c:pt>
                <c:pt idx="857">
                  <c:v>3.488661769402746</c:v>
                </c:pt>
                <c:pt idx="858">
                  <c:v>3.4735216077439008</c:v>
                </c:pt>
                <c:pt idx="859">
                  <c:v>3.4903754023044984</c:v>
                </c:pt>
                <c:pt idx="860">
                  <c:v>3.4828943812495394</c:v>
                </c:pt>
                <c:pt idx="861">
                  <c:v>3.4577365304768692</c:v>
                </c:pt>
                <c:pt idx="862">
                  <c:v>3.4489841043657714</c:v>
                </c:pt>
                <c:pt idx="863">
                  <c:v>3.4853143502935904</c:v>
                </c:pt>
                <c:pt idx="864">
                  <c:v>3.4892944009041105</c:v>
                </c:pt>
                <c:pt idx="865">
                  <c:v>3.5034395499103259</c:v>
                </c:pt>
                <c:pt idx="866">
                  <c:v>3.528124462570327</c:v>
                </c:pt>
                <c:pt idx="867">
                  <c:v>3.5106687467754223</c:v>
                </c:pt>
                <c:pt idx="868">
                  <c:v>3.5166511067980251</c:v>
                </c:pt>
                <c:pt idx="869">
                  <c:v>3.5120814190600207</c:v>
                </c:pt>
                <c:pt idx="870">
                  <c:v>3.5121735498611897</c:v>
                </c:pt>
                <c:pt idx="871">
                  <c:v>3.4866840282043099</c:v>
                </c:pt>
                <c:pt idx="872">
                  <c:v>3.4870955457828665</c:v>
                </c:pt>
                <c:pt idx="873">
                  <c:v>3.5072721912389757</c:v>
                </c:pt>
                <c:pt idx="874">
                  <c:v>3.5100606834877044</c:v>
                </c:pt>
                <c:pt idx="875">
                  <c:v>3.4922487285949444</c:v>
                </c:pt>
                <c:pt idx="876">
                  <c:v>3.4745104783431202</c:v>
                </c:pt>
                <c:pt idx="877">
                  <c:v>3.4493894798909177</c:v>
                </c:pt>
                <c:pt idx="878">
                  <c:v>3.4535230818367206</c:v>
                </c:pt>
                <c:pt idx="879">
                  <c:v>3.4499422646979347</c:v>
                </c:pt>
                <c:pt idx="880">
                  <c:v>3.4380512492936646</c:v>
                </c:pt>
                <c:pt idx="881">
                  <c:v>3.4405449229786509</c:v>
                </c:pt>
                <c:pt idx="882">
                  <c:v>3.4464351522000842</c:v>
                </c:pt>
                <c:pt idx="883">
                  <c:v>3.4439107682480419</c:v>
                </c:pt>
                <c:pt idx="884">
                  <c:v>3.4195636685256621</c:v>
                </c:pt>
                <c:pt idx="885">
                  <c:v>3.3907574380266814</c:v>
                </c:pt>
                <c:pt idx="886">
                  <c:v>3.4184888091786845</c:v>
                </c:pt>
                <c:pt idx="887">
                  <c:v>3.4271859568090806</c:v>
                </c:pt>
                <c:pt idx="888">
                  <c:v>3.4174937965260552</c:v>
                </c:pt>
                <c:pt idx="889">
                  <c:v>3.4462570326511561</c:v>
                </c:pt>
                <c:pt idx="890">
                  <c:v>3.4603837554971379</c:v>
                </c:pt>
                <c:pt idx="891">
                  <c:v>3.4690809031275336</c:v>
                </c:pt>
                <c:pt idx="892">
                  <c:v>3.4715008721715845</c:v>
                </c:pt>
                <c:pt idx="893">
                  <c:v>3.4861742377711717</c:v>
                </c:pt>
                <c:pt idx="894">
                  <c:v>3.4614831830577599</c:v>
                </c:pt>
                <c:pt idx="895">
                  <c:v>3.4675392477212976</c:v>
                </c:pt>
                <c:pt idx="896">
                  <c:v>3.4685526865341623</c:v>
                </c:pt>
                <c:pt idx="897">
                  <c:v>3.4565572562219002</c:v>
                </c:pt>
                <c:pt idx="898">
                  <c:v>3.4688782153649611</c:v>
                </c:pt>
                <c:pt idx="899">
                  <c:v>3.4527000466796061</c:v>
                </c:pt>
                <c:pt idx="900">
                  <c:v>3.4475284377072946</c:v>
                </c:pt>
                <c:pt idx="901">
                  <c:v>3.4413556740289422</c:v>
                </c:pt>
                <c:pt idx="902">
                  <c:v>3.4661265754367006</c:v>
                </c:pt>
                <c:pt idx="903">
                  <c:v>3.4487937007100218</c:v>
                </c:pt>
                <c:pt idx="904">
                  <c:v>3.45821561064295</c:v>
                </c:pt>
                <c:pt idx="905">
                  <c:v>3.4698670859641805</c:v>
                </c:pt>
                <c:pt idx="906">
                  <c:v>3.4963516202736904</c:v>
                </c:pt>
                <c:pt idx="907">
                  <c:v>3.4983477876323614</c:v>
                </c:pt>
                <c:pt idx="908">
                  <c:v>3.5158833501216131</c:v>
                </c:pt>
                <c:pt idx="909">
                  <c:v>3.500393091418323</c:v>
                </c:pt>
                <c:pt idx="910">
                  <c:v>3.4872736653317937</c:v>
                </c:pt>
                <c:pt idx="911">
                  <c:v>3.4835208706974923</c:v>
                </c:pt>
                <c:pt idx="912">
                  <c:v>3.4920706090460167</c:v>
                </c:pt>
                <c:pt idx="913">
                  <c:v>3.4937842419477683</c:v>
                </c:pt>
                <c:pt idx="914">
                  <c:v>3.5064552981352732</c:v>
                </c:pt>
                <c:pt idx="915">
                  <c:v>3.5071862024912175</c:v>
                </c:pt>
                <c:pt idx="916">
                  <c:v>3.5247831855145821</c:v>
                </c:pt>
                <c:pt idx="917">
                  <c:v>3.4910018917524512</c:v>
                </c:pt>
                <c:pt idx="918">
                  <c:v>3.4846878608456384</c:v>
                </c:pt>
                <c:pt idx="919">
                  <c:v>3.4926602461735015</c:v>
                </c:pt>
                <c:pt idx="920">
                  <c:v>3.4821327666265391</c:v>
                </c:pt>
                <c:pt idx="921">
                  <c:v>3.4506240326265885</c:v>
                </c:pt>
                <c:pt idx="922">
                  <c:v>3.4445741100164615</c:v>
                </c:pt>
                <c:pt idx="923">
                  <c:v>3.4375353168071157</c:v>
                </c:pt>
                <c:pt idx="924">
                  <c:v>3.4211483183057765</c:v>
                </c:pt>
                <c:pt idx="925">
                  <c:v>3.422941797901875</c:v>
                </c:pt>
                <c:pt idx="926">
                  <c:v>3.3978146573962618</c:v>
                </c:pt>
                <c:pt idx="927">
                  <c:v>3.3883190428223968</c:v>
                </c:pt>
                <c:pt idx="928">
                  <c:v>3.389111367712454</c:v>
                </c:pt>
                <c:pt idx="929">
                  <c:v>3.385573544947547</c:v>
                </c:pt>
                <c:pt idx="930">
                  <c:v>3.4023167825467415</c:v>
                </c:pt>
                <c:pt idx="931">
                  <c:v>3.4242684814387148</c:v>
                </c:pt>
                <c:pt idx="932">
                  <c:v>3.4309694617104389</c:v>
                </c:pt>
                <c:pt idx="933">
                  <c:v>3.4428543350612979</c:v>
                </c:pt>
                <c:pt idx="934">
                  <c:v>3.4542785544063097</c:v>
                </c:pt>
                <c:pt idx="935">
                  <c:v>3.4292558288086883</c:v>
                </c:pt>
                <c:pt idx="936">
                  <c:v>3.4304043927966004</c:v>
                </c:pt>
                <c:pt idx="937">
                  <c:v>3.4152212367638755</c:v>
                </c:pt>
                <c:pt idx="938">
                  <c:v>3.4295076529985509</c:v>
                </c:pt>
                <c:pt idx="939">
                  <c:v>3.4315161044640443</c:v>
                </c:pt>
                <c:pt idx="940">
                  <c:v>3.439746456035182</c:v>
                </c:pt>
                <c:pt idx="941">
                  <c:v>3.4494754686386755</c:v>
                </c:pt>
                <c:pt idx="942">
                  <c:v>3.4515576247451052</c:v>
                </c:pt>
                <c:pt idx="943">
                  <c:v>3.4363007640714445</c:v>
                </c:pt>
                <c:pt idx="944">
                  <c:v>3.4316942240129715</c:v>
                </c:pt>
                <c:pt idx="945">
                  <c:v>3.4172665405498357</c:v>
                </c:pt>
                <c:pt idx="946">
                  <c:v>3.4451637471439449</c:v>
                </c:pt>
                <c:pt idx="947">
                  <c:v>3.4301464265533248</c:v>
                </c:pt>
                <c:pt idx="948">
                  <c:v>3.4612129327076624</c:v>
                </c:pt>
                <c:pt idx="949">
                  <c:v>3.4724467483969232</c:v>
                </c:pt>
                <c:pt idx="950">
                  <c:v>3.4812913053091901</c:v>
                </c:pt>
                <c:pt idx="951">
                  <c:v>3.4641611183450847</c:v>
                </c:pt>
                <c:pt idx="952">
                  <c:v>3.4624413433899215</c:v>
                </c:pt>
                <c:pt idx="953">
                  <c:v>3.474074392550917</c:v>
                </c:pt>
                <c:pt idx="954">
                  <c:v>3.4827838242881359</c:v>
                </c:pt>
                <c:pt idx="955">
                  <c:v>3.4872245289045027</c:v>
                </c:pt>
                <c:pt idx="956">
                  <c:v>3.4840368031840407</c:v>
                </c:pt>
                <c:pt idx="957">
                  <c:v>3.4898901800850064</c:v>
                </c:pt>
                <c:pt idx="958">
                  <c:v>3.4805665430066588</c:v>
                </c:pt>
                <c:pt idx="959">
                  <c:v>3.4767277596245987</c:v>
                </c:pt>
                <c:pt idx="960">
                  <c:v>3.4860084023290678</c:v>
                </c:pt>
                <c:pt idx="961">
                  <c:v>3.4718079748421502</c:v>
                </c:pt>
                <c:pt idx="962">
                  <c:v>3.4590263616932426</c:v>
                </c:pt>
                <c:pt idx="963">
                  <c:v>3.451963000270251</c:v>
                </c:pt>
                <c:pt idx="964">
                  <c:v>3.4325663955973771</c:v>
                </c:pt>
                <c:pt idx="965">
                  <c:v>3.4275913323342269</c:v>
                </c:pt>
                <c:pt idx="966">
                  <c:v>3.4370500945876228</c:v>
                </c:pt>
                <c:pt idx="967">
                  <c:v>3.4345564209026369</c:v>
                </c:pt>
                <c:pt idx="968">
                  <c:v>3.4295383632656069</c:v>
                </c:pt>
                <c:pt idx="969">
                  <c:v>3.3956465125420729</c:v>
                </c:pt>
                <c:pt idx="970">
                  <c:v>3.3874775815050491</c:v>
                </c:pt>
                <c:pt idx="971">
                  <c:v>3.3953148416578629</c:v>
                </c:pt>
                <c:pt idx="972">
                  <c:v>3.3795911849249443</c:v>
                </c:pt>
                <c:pt idx="973">
                  <c:v>3.3927474633319412</c:v>
                </c:pt>
                <c:pt idx="974">
                  <c:v>3.4007567009802719</c:v>
                </c:pt>
                <c:pt idx="975">
                  <c:v>3.3848487826450144</c:v>
                </c:pt>
                <c:pt idx="976">
                  <c:v>3.3916418937179085</c:v>
                </c:pt>
                <c:pt idx="977">
                  <c:v>3.3686337616391921</c:v>
                </c:pt>
                <c:pt idx="978">
                  <c:v>3.3814706532688019</c:v>
                </c:pt>
                <c:pt idx="979">
                  <c:v>3.3556371766208892</c:v>
                </c:pt>
                <c:pt idx="980">
                  <c:v>3.3399442301550266</c:v>
                </c:pt>
                <c:pt idx="981">
                  <c:v>3.341700857430657</c:v>
                </c:pt>
                <c:pt idx="982">
                  <c:v>3.3675589022922154</c:v>
                </c:pt>
                <c:pt idx="983">
                  <c:v>3.388466452104268</c:v>
                </c:pt>
                <c:pt idx="984">
                  <c:v>3.3598506252610378</c:v>
                </c:pt>
                <c:pt idx="985">
                  <c:v>3.3448025944033613</c:v>
                </c:pt>
                <c:pt idx="986">
                  <c:v>3.3336301992482134</c:v>
                </c:pt>
                <c:pt idx="987">
                  <c:v>3.3625654128688307</c:v>
                </c:pt>
                <c:pt idx="988">
                  <c:v>3.3584379529764394</c:v>
                </c:pt>
                <c:pt idx="989">
                  <c:v>3.3700710021374345</c:v>
                </c:pt>
                <c:pt idx="990">
                  <c:v>3.3772879148957071</c:v>
                </c:pt>
                <c:pt idx="991">
                  <c:v>3.3701569908851923</c:v>
                </c:pt>
                <c:pt idx="992">
                  <c:v>3.3622091737709745</c:v>
                </c:pt>
                <c:pt idx="993">
                  <c:v>3.3633515957054754</c:v>
                </c:pt>
                <c:pt idx="994">
                  <c:v>3.3754452988723185</c:v>
                </c:pt>
                <c:pt idx="995">
                  <c:v>3.3877662580153789</c:v>
                </c:pt>
                <c:pt idx="996">
                  <c:v>3.3895597376114779</c:v>
                </c:pt>
                <c:pt idx="997">
                  <c:v>3.3831781441171405</c:v>
                </c:pt>
                <c:pt idx="998">
                  <c:v>3.3775888755128602</c:v>
                </c:pt>
                <c:pt idx="999">
                  <c:v>3.379296366361201</c:v>
                </c:pt>
                <c:pt idx="1000">
                  <c:v>3.4038215856325085</c:v>
                </c:pt>
                <c:pt idx="1001">
                  <c:v>3.4027651524457658</c:v>
                </c:pt>
                <c:pt idx="1002">
                  <c:v>3.3964142692184849</c:v>
                </c:pt>
                <c:pt idx="1003">
                  <c:v>3.4044726432941057</c:v>
                </c:pt>
                <c:pt idx="1004">
                  <c:v>3.4205525391248806</c:v>
                </c:pt>
                <c:pt idx="1005">
                  <c:v>3.4185133773923297</c:v>
                </c:pt>
                <c:pt idx="1006">
                  <c:v>3.4395437682726087</c:v>
                </c:pt>
                <c:pt idx="1007">
                  <c:v>3.4208412156352113</c:v>
                </c:pt>
                <c:pt idx="1008">
                  <c:v>3.432904208534997</c:v>
                </c:pt>
                <c:pt idx="1009">
                  <c:v>3.441662776699506</c:v>
                </c:pt>
                <c:pt idx="1010">
                  <c:v>3.4530992801513398</c:v>
                </c:pt>
                <c:pt idx="1011">
                  <c:v>3.4441503083310812</c:v>
                </c:pt>
                <c:pt idx="1012">
                  <c:v>3.4387882957030191</c:v>
                </c:pt>
                <c:pt idx="1013">
                  <c:v>3.434488858315111</c:v>
                </c:pt>
                <c:pt idx="1014">
                  <c:v>3.43296562906911</c:v>
                </c:pt>
                <c:pt idx="1015">
                  <c:v>3.4587131169692644</c:v>
                </c:pt>
                <c:pt idx="1016">
                  <c:v>3.4558570621330116</c:v>
                </c:pt>
                <c:pt idx="1017">
                  <c:v>3.4772006977372674</c:v>
                </c:pt>
                <c:pt idx="1018">
                  <c:v>3.4619376950101959</c:v>
                </c:pt>
                <c:pt idx="1019">
                  <c:v>3.478951182959487</c:v>
                </c:pt>
                <c:pt idx="1020">
                  <c:v>3.4889381618062552</c:v>
                </c:pt>
                <c:pt idx="1021">
                  <c:v>3.5036422376728984</c:v>
                </c:pt>
                <c:pt idx="1022">
                  <c:v>3.5037957890081808</c:v>
                </c:pt>
                <c:pt idx="1023">
                  <c:v>3.5287263838046332</c:v>
                </c:pt>
                <c:pt idx="1024">
                  <c:v>3.5236837579539588</c:v>
                </c:pt>
                <c:pt idx="1025">
                  <c:v>3.5065105766159741</c:v>
                </c:pt>
                <c:pt idx="1026">
                  <c:v>3.4967815640124802</c:v>
                </c:pt>
                <c:pt idx="1027">
                  <c:v>3.4873228017590838</c:v>
                </c:pt>
                <c:pt idx="1028">
                  <c:v>3.494263322113849</c:v>
                </c:pt>
                <c:pt idx="1029">
                  <c:v>3.4993182320713463</c:v>
                </c:pt>
                <c:pt idx="1030">
                  <c:v>3.4907377834557654</c:v>
                </c:pt>
                <c:pt idx="1031">
                  <c:v>3.4732390732869809</c:v>
                </c:pt>
                <c:pt idx="1032">
                  <c:v>3.467035599341572</c:v>
                </c:pt>
                <c:pt idx="1033">
                  <c:v>3.4641856865587308</c:v>
                </c:pt>
                <c:pt idx="1034">
                  <c:v>3.4657703363388452</c:v>
                </c:pt>
                <c:pt idx="1035">
                  <c:v>3.4410424293049657</c:v>
                </c:pt>
                <c:pt idx="1036">
                  <c:v>3.4405756332457065</c:v>
                </c:pt>
                <c:pt idx="1037">
                  <c:v>3.4359138147065327</c:v>
                </c:pt>
                <c:pt idx="1038">
                  <c:v>3.440704616367344</c:v>
                </c:pt>
                <c:pt idx="1039">
                  <c:v>3.4504152028106043</c:v>
                </c:pt>
                <c:pt idx="1040">
                  <c:v>3.4725634474117397</c:v>
                </c:pt>
                <c:pt idx="1041">
                  <c:v>3.5086480112031069</c:v>
                </c:pt>
                <c:pt idx="1042">
                  <c:v>3.5544001670638545</c:v>
                </c:pt>
                <c:pt idx="1043">
                  <c:v>3.5885929784045421</c:v>
                </c:pt>
                <c:pt idx="1044">
                  <c:v>3.6054590570719616</c:v>
                </c:pt>
                <c:pt idx="1045">
                  <c:v>3.6303589416013575</c:v>
                </c:pt>
                <c:pt idx="1046">
                  <c:v>3.6524703338820244</c:v>
                </c:pt>
                <c:pt idx="1047">
                  <c:v>3.7008819988698636</c:v>
                </c:pt>
                <c:pt idx="1048">
                  <c:v>3.7244674839692413</c:v>
                </c:pt>
                <c:pt idx="1049">
                  <c:v>3.7515969338869386</c:v>
                </c:pt>
                <c:pt idx="1050">
                  <c:v>3.77188413630445</c:v>
                </c:pt>
                <c:pt idx="1051">
                  <c:v>3.7937007100213753</c:v>
                </c:pt>
                <c:pt idx="1052">
                  <c:v>3.8039947915387082</c:v>
                </c:pt>
                <c:pt idx="1053">
                  <c:v>3.8377576591406051</c:v>
                </c:pt>
                <c:pt idx="1054">
                  <c:v>3.8576517701397934</c:v>
                </c:pt>
                <c:pt idx="1055">
                  <c:v>3.8920104169225862</c:v>
                </c:pt>
                <c:pt idx="1056">
                  <c:v>3.933174458885095</c:v>
                </c:pt>
                <c:pt idx="1057">
                  <c:v>3.9652052674250058</c:v>
                </c:pt>
                <c:pt idx="1058">
                  <c:v>3.9967631378522461</c:v>
                </c:pt>
                <c:pt idx="1059">
                  <c:v>4.0185858536225831</c:v>
                </c:pt>
                <c:pt idx="1060">
                  <c:v>4.0371041446576417</c:v>
                </c:pt>
                <c:pt idx="1061">
                  <c:v>4.0788578237476356</c:v>
                </c:pt>
                <c:pt idx="1062">
                  <c:v>4.1203166842738863</c:v>
                </c:pt>
                <c:pt idx="1063">
                  <c:v>4.1536066137631131</c:v>
                </c:pt>
                <c:pt idx="1064">
                  <c:v>4.191171412426602</c:v>
                </c:pt>
                <c:pt idx="1065">
                  <c:v>4.2189089256320171</c:v>
                </c:pt>
                <c:pt idx="1066">
                  <c:v>4.2663378620740486</c:v>
                </c:pt>
                <c:pt idx="1067">
                  <c:v>4.3018512148981642</c:v>
                </c:pt>
                <c:pt idx="1068">
                  <c:v>4.3373829938825157</c:v>
                </c:pt>
                <c:pt idx="1069">
                  <c:v>4.3835958037491105</c:v>
                </c:pt>
                <c:pt idx="1070">
                  <c:v>4.407660369014569</c:v>
                </c:pt>
                <c:pt idx="1071">
                  <c:v>4.4101417585927329</c:v>
                </c:pt>
                <c:pt idx="1072">
                  <c:v>4.3986622607670203</c:v>
                </c:pt>
                <c:pt idx="1073">
                  <c:v>4.4073041299167146</c:v>
                </c:pt>
                <c:pt idx="1074">
                  <c:v>4.4146438837432127</c:v>
                </c:pt>
                <c:pt idx="1075">
                  <c:v>4.4110446404441941</c:v>
                </c:pt>
                <c:pt idx="1076">
                  <c:v>4.4118799597081306</c:v>
                </c:pt>
                <c:pt idx="1077">
                  <c:v>4.411652703731912</c:v>
                </c:pt>
                <c:pt idx="1078">
                  <c:v>4.4175429329533449</c:v>
                </c:pt>
                <c:pt idx="1079">
                  <c:v>4.4230769230769234</c:v>
                </c:pt>
                <c:pt idx="1080">
                  <c:v>4.4191460088936934</c:v>
                </c:pt>
                <c:pt idx="1081">
                  <c:v>4.4312274279537123</c:v>
                </c:pt>
                <c:pt idx="1082">
                  <c:v>4.4381556642016546</c:v>
                </c:pt>
                <c:pt idx="1083">
                  <c:v>4.4385856079404453</c:v>
                </c:pt>
                <c:pt idx="1084">
                  <c:v>4.3889148220032927</c:v>
                </c:pt>
                <c:pt idx="1085">
                  <c:v>4.3463749600766519</c:v>
                </c:pt>
                <c:pt idx="1086">
                  <c:v>4.3060585214849034</c:v>
                </c:pt>
                <c:pt idx="1087">
                  <c:v>4.2682480406849619</c:v>
                </c:pt>
                <c:pt idx="1088">
                  <c:v>4.2442019015797365</c:v>
                </c:pt>
                <c:pt idx="1089">
                  <c:v>4.2070424784413927</c:v>
                </c:pt>
                <c:pt idx="1090">
                  <c:v>4.1590607571923446</c:v>
                </c:pt>
                <c:pt idx="1091">
                  <c:v>4.1211458614844121</c:v>
                </c:pt>
                <c:pt idx="1092">
                  <c:v>4.0820455494680985</c:v>
                </c:pt>
                <c:pt idx="1093">
                  <c:v>4.0381544357909736</c:v>
                </c:pt>
                <c:pt idx="1094">
                  <c:v>3.9970026779352876</c:v>
                </c:pt>
                <c:pt idx="1095">
                  <c:v>3.9443714222538886</c:v>
                </c:pt>
                <c:pt idx="1096">
                  <c:v>3.9151229639092953</c:v>
                </c:pt>
                <c:pt idx="1097">
                  <c:v>3.8675097658649249</c:v>
                </c:pt>
                <c:pt idx="1098">
                  <c:v>3.8315787534088401</c:v>
                </c:pt>
                <c:pt idx="1099">
                  <c:v>3.7977606073262424</c:v>
                </c:pt>
                <c:pt idx="1100">
                  <c:v>3.7616330491609959</c:v>
                </c:pt>
                <c:pt idx="1101">
                  <c:v>3.7152912561727645</c:v>
                </c:pt>
                <c:pt idx="1102">
                  <c:v>3.6990455248998848</c:v>
                </c:pt>
                <c:pt idx="1103">
                  <c:v>3.6896727513942458</c:v>
                </c:pt>
                <c:pt idx="1104">
                  <c:v>3.6569540328722696</c:v>
                </c:pt>
                <c:pt idx="1105">
                  <c:v>3.6070744171191307</c:v>
                </c:pt>
                <c:pt idx="1106">
                  <c:v>3.5749760459916953</c:v>
                </c:pt>
                <c:pt idx="1107">
                  <c:v>3.5294634302139887</c:v>
                </c:pt>
                <c:pt idx="1108">
                  <c:v>3.4985504753949335</c:v>
                </c:pt>
                <c:pt idx="1109">
                  <c:v>3.4659545979411828</c:v>
                </c:pt>
                <c:pt idx="1110">
                  <c:v>3.436300764071444</c:v>
                </c:pt>
                <c:pt idx="1111">
                  <c:v>3.4136734393042283</c:v>
                </c:pt>
                <c:pt idx="1112">
                  <c:v>3.3775827334594508</c:v>
                </c:pt>
                <c:pt idx="1113">
                  <c:v>3.3459880107117419</c:v>
                </c:pt>
                <c:pt idx="1114">
                  <c:v>3.3201238237967723</c:v>
                </c:pt>
                <c:pt idx="1115">
                  <c:v>3.325964916590916</c:v>
                </c:pt>
                <c:pt idx="1116">
                  <c:v>3.3332678180969477</c:v>
                </c:pt>
                <c:pt idx="1117">
                  <c:v>3.3463872441834766</c:v>
                </c:pt>
                <c:pt idx="1118">
                  <c:v>3.3307864285187834</c:v>
                </c:pt>
                <c:pt idx="1119">
                  <c:v>3.3367442203277404</c:v>
                </c:pt>
                <c:pt idx="1120">
                  <c:v>3.3664717588384154</c:v>
                </c:pt>
                <c:pt idx="1121">
                  <c:v>3.3792165196668549</c:v>
                </c:pt>
                <c:pt idx="1122">
                  <c:v>3.3983490160430434</c:v>
                </c:pt>
                <c:pt idx="1123">
                  <c:v>3.3925324914625454</c:v>
                </c:pt>
                <c:pt idx="1124">
                  <c:v>3.4014753212293933</c:v>
                </c:pt>
                <c:pt idx="1125">
                  <c:v>3.426018966660934</c:v>
                </c:pt>
                <c:pt idx="1126">
                  <c:v>3.4309018991229148</c:v>
                </c:pt>
                <c:pt idx="1127">
                  <c:v>3.4282731002628801</c:v>
                </c:pt>
                <c:pt idx="1128">
                  <c:v>3.4423261184679266</c:v>
                </c:pt>
                <c:pt idx="1129">
                  <c:v>3.4282485320492349</c:v>
                </c:pt>
                <c:pt idx="1130">
                  <c:v>3.4124388865685575</c:v>
                </c:pt>
                <c:pt idx="1131">
                  <c:v>3.4166953295825868</c:v>
                </c:pt>
                <c:pt idx="1132">
                  <c:v>3.4065977937744152</c:v>
                </c:pt>
                <c:pt idx="1133">
                  <c:v>3.3865378473331211</c:v>
                </c:pt>
                <c:pt idx="1134">
                  <c:v>3.3727857897452282</c:v>
                </c:pt>
                <c:pt idx="1135">
                  <c:v>3.3702184114193066</c:v>
                </c:pt>
                <c:pt idx="1136">
                  <c:v>3.3845355379210389</c:v>
                </c:pt>
                <c:pt idx="1137">
                  <c:v>3.3921271159374009</c:v>
                </c:pt>
                <c:pt idx="1138">
                  <c:v>3.3875451440925732</c:v>
                </c:pt>
                <c:pt idx="1139">
                  <c:v>3.3666191681202866</c:v>
                </c:pt>
                <c:pt idx="1140">
                  <c:v>3.3723619880598488</c:v>
                </c:pt>
                <c:pt idx="1141">
                  <c:v>3.3681485394196988</c:v>
                </c:pt>
                <c:pt idx="1142">
                  <c:v>3.3549369825320006</c:v>
                </c:pt>
                <c:pt idx="1143">
                  <c:v>3.3588433285015848</c:v>
                </c:pt>
                <c:pt idx="1144">
                  <c:v>3.3255779672260037</c:v>
                </c:pt>
                <c:pt idx="1145">
                  <c:v>3.3175687295776726</c:v>
                </c:pt>
                <c:pt idx="1146">
                  <c:v>3.3387956661671132</c:v>
                </c:pt>
                <c:pt idx="1147">
                  <c:v>3.3541692258555877</c:v>
                </c:pt>
                <c:pt idx="1148">
                  <c:v>3.354193794069233</c:v>
                </c:pt>
                <c:pt idx="1149">
                  <c:v>3.3592609881335522</c:v>
                </c:pt>
                <c:pt idx="1150">
                  <c:v>3.3629707883939752</c:v>
                </c:pt>
                <c:pt idx="1151">
                  <c:v>3.3372048743335871</c:v>
                </c:pt>
                <c:pt idx="1152">
                  <c:v>3.3271626170061173</c:v>
                </c:pt>
                <c:pt idx="1153">
                  <c:v>3.3113775397390852</c:v>
                </c:pt>
                <c:pt idx="1154">
                  <c:v>3.3362282878411906</c:v>
                </c:pt>
                <c:pt idx="1155">
                  <c:v>3.3276048448517308</c:v>
                </c:pt>
                <c:pt idx="1156">
                  <c:v>3.3319288504532829</c:v>
                </c:pt>
                <c:pt idx="1157">
                  <c:v>3.3683389430754485</c:v>
                </c:pt>
                <c:pt idx="1158">
                  <c:v>3.3797385942068146</c:v>
                </c:pt>
                <c:pt idx="1159">
                  <c:v>3.3558091541164039</c:v>
                </c:pt>
                <c:pt idx="1160">
                  <c:v>3.3530022357074412</c:v>
                </c:pt>
                <c:pt idx="1161">
                  <c:v>3.3710967250571207</c:v>
                </c:pt>
                <c:pt idx="1162">
                  <c:v>3.3718890499471779</c:v>
                </c:pt>
                <c:pt idx="1163">
                  <c:v>3.4010023831167233</c:v>
                </c:pt>
                <c:pt idx="1164">
                  <c:v>3.39179544505319</c:v>
                </c:pt>
                <c:pt idx="1165">
                  <c:v>3.388589293172493</c:v>
                </c:pt>
                <c:pt idx="1166">
                  <c:v>3.379173525292976</c:v>
                </c:pt>
                <c:pt idx="1167">
                  <c:v>3.3586283566321895</c:v>
                </c:pt>
                <c:pt idx="1168">
                  <c:v>3.3652372061027447</c:v>
                </c:pt>
                <c:pt idx="1169">
                  <c:v>3.3798552932216301</c:v>
                </c:pt>
                <c:pt idx="1170">
                  <c:v>3.408870353536595</c:v>
                </c:pt>
                <c:pt idx="1171">
                  <c:v>3.3877478318551466</c:v>
                </c:pt>
                <c:pt idx="1172">
                  <c:v>3.3731420288430836</c:v>
                </c:pt>
                <c:pt idx="1173">
                  <c:v>3.3760595042134494</c:v>
                </c:pt>
                <c:pt idx="1174">
                  <c:v>3.3789155590497026</c:v>
                </c:pt>
                <c:pt idx="1175">
                  <c:v>3.382287546372504</c:v>
                </c:pt>
                <c:pt idx="1176">
                  <c:v>3.3805677714173412</c:v>
                </c:pt>
                <c:pt idx="1177">
                  <c:v>3.3676326069331508</c:v>
                </c:pt>
                <c:pt idx="1178">
                  <c:v>3.3608886322875464</c:v>
                </c:pt>
                <c:pt idx="1179">
                  <c:v>3.342788000884457</c:v>
                </c:pt>
                <c:pt idx="1180">
                  <c:v>3.3533953271257664</c:v>
                </c:pt>
                <c:pt idx="1181">
                  <c:v>3.3220340024076864</c:v>
                </c:pt>
                <c:pt idx="1182">
                  <c:v>3.3277031177063123</c:v>
                </c:pt>
                <c:pt idx="1183">
                  <c:v>3.3340662850404161</c:v>
                </c:pt>
                <c:pt idx="1184">
                  <c:v>3.3447288897624263</c:v>
                </c:pt>
                <c:pt idx="1185">
                  <c:v>3.3171940643195841</c:v>
                </c:pt>
                <c:pt idx="1186">
                  <c:v>3.3266589686263925</c:v>
                </c:pt>
                <c:pt idx="1187">
                  <c:v>3.3168316831683176</c:v>
                </c:pt>
                <c:pt idx="1188">
                  <c:v>3.3094120826474711</c:v>
                </c:pt>
                <c:pt idx="1189">
                  <c:v>3.2952116551605539</c:v>
                </c:pt>
                <c:pt idx="1190">
                  <c:v>3.3239318969117764</c:v>
                </c:pt>
                <c:pt idx="1191">
                  <c:v>3.3484202638626153</c:v>
                </c:pt>
                <c:pt idx="1192">
                  <c:v>3.3655934452006</c:v>
                </c:pt>
                <c:pt idx="1193">
                  <c:v>3.3847320836301993</c:v>
                </c:pt>
                <c:pt idx="1194">
                  <c:v>3.3795174802840089</c:v>
                </c:pt>
                <c:pt idx="1195">
                  <c:v>3.4077954941896178</c:v>
                </c:pt>
                <c:pt idx="1196">
                  <c:v>3.4249318232071349</c:v>
                </c:pt>
                <c:pt idx="1197">
                  <c:v>3.4212035967864787</c:v>
                </c:pt>
                <c:pt idx="1198">
                  <c:v>3.4260251087143456</c:v>
                </c:pt>
                <c:pt idx="1199">
                  <c:v>3.4026484534309516</c:v>
                </c:pt>
                <c:pt idx="1200">
                  <c:v>3.3923298036999734</c:v>
                </c:pt>
                <c:pt idx="1201">
                  <c:v>3.3695489275974748</c:v>
                </c:pt>
                <c:pt idx="1202">
                  <c:v>3.3859789204726933</c:v>
                </c:pt>
                <c:pt idx="1203">
                  <c:v>3.3958799105717028</c:v>
                </c:pt>
                <c:pt idx="1204">
                  <c:v>3.3898852664422776</c:v>
                </c:pt>
                <c:pt idx="1205">
                  <c:v>3.3792103776134441</c:v>
                </c:pt>
                <c:pt idx="1206">
                  <c:v>3.3865255632262987</c:v>
                </c:pt>
                <c:pt idx="1207">
                  <c:v>3.4081455912340619</c:v>
                </c:pt>
                <c:pt idx="1208">
                  <c:v>3.4104304351030645</c:v>
                </c:pt>
                <c:pt idx="1209">
                  <c:v>3.405332530771688</c:v>
                </c:pt>
                <c:pt idx="1210">
                  <c:v>3.4375598850207609</c:v>
                </c:pt>
                <c:pt idx="1211">
                  <c:v>3.4209026361693251</c:v>
                </c:pt>
                <c:pt idx="1212">
                  <c:v>3.4209026361693247</c:v>
                </c:pt>
                <c:pt idx="1213">
                  <c:v>3.4176289217011036</c:v>
                </c:pt>
                <c:pt idx="1214">
                  <c:v>3.4230093604893987</c:v>
                </c:pt>
                <c:pt idx="1215">
                  <c:v>3.4267805812839347</c:v>
                </c:pt>
                <c:pt idx="1216">
                  <c:v>3.4589956514261848</c:v>
                </c:pt>
                <c:pt idx="1217">
                  <c:v>3.4668144854187655</c:v>
                </c:pt>
                <c:pt idx="1218">
                  <c:v>3.4573864334324251</c:v>
                </c:pt>
                <c:pt idx="1219">
                  <c:v>3.4556543743704395</c:v>
                </c:pt>
                <c:pt idx="1220">
                  <c:v>3.4788959044787853</c:v>
                </c:pt>
                <c:pt idx="1221">
                  <c:v>3.4648613124339724</c:v>
                </c:pt>
                <c:pt idx="1222">
                  <c:v>3.4495675994398449</c:v>
                </c:pt>
                <c:pt idx="1223">
                  <c:v>3.4103690145689507</c:v>
                </c:pt>
                <c:pt idx="1224">
                  <c:v>3.3909601257892539</c:v>
                </c:pt>
                <c:pt idx="1225">
                  <c:v>3.4037847333120408</c:v>
                </c:pt>
                <c:pt idx="1226">
                  <c:v>3.3877846841756138</c:v>
                </c:pt>
                <c:pt idx="1227">
                  <c:v>3.3706483551580964</c:v>
                </c:pt>
                <c:pt idx="1228">
                  <c:v>3.3881409232734687</c:v>
                </c:pt>
                <c:pt idx="1229">
                  <c:v>3.4094231383436107</c:v>
                </c:pt>
                <c:pt idx="1230">
                  <c:v>3.4221617571186398</c:v>
                </c:pt>
                <c:pt idx="1231">
                  <c:v>3.43708694690809</c:v>
                </c:pt>
                <c:pt idx="1232">
                  <c:v>3.4830417905314106</c:v>
                </c:pt>
                <c:pt idx="1233">
                  <c:v>3.509053386728251</c:v>
                </c:pt>
                <c:pt idx="1234">
                  <c:v>3.5396101024494504</c:v>
                </c:pt>
                <c:pt idx="1235">
                  <c:v>3.5849384566248186</c:v>
                </c:pt>
                <c:pt idx="1236">
                  <c:v>3.6186890401198921</c:v>
                </c:pt>
                <c:pt idx="1237">
                  <c:v>3.6609770778566681</c:v>
                </c:pt>
                <c:pt idx="1238">
                  <c:v>3.6687897697958376</c:v>
                </c:pt>
                <c:pt idx="1239">
                  <c:v>3.7022148244601132</c:v>
                </c:pt>
                <c:pt idx="1240">
                  <c:v>3.7278947497727439</c:v>
                </c:pt>
                <c:pt idx="1241">
                  <c:v>3.7401542883816914</c:v>
                </c:pt>
                <c:pt idx="1242">
                  <c:v>3.7863548141414629</c:v>
                </c:pt>
                <c:pt idx="1243">
                  <c:v>3.8336179151413896</c:v>
                </c:pt>
                <c:pt idx="1244">
                  <c:v>3.8775765914060383</c:v>
                </c:pt>
                <c:pt idx="1245">
                  <c:v>3.9115175785568632</c:v>
                </c:pt>
                <c:pt idx="1246">
                  <c:v>3.9288136009630725</c:v>
                </c:pt>
                <c:pt idx="1247">
                  <c:v>3.9441994447583713</c:v>
                </c:pt>
                <c:pt idx="1248">
                  <c:v>3.9767891801587094</c:v>
                </c:pt>
                <c:pt idx="1249">
                  <c:v>4.0149006215758041</c:v>
                </c:pt>
                <c:pt idx="1250">
                  <c:v>4.0393091418322973</c:v>
                </c:pt>
                <c:pt idx="1251">
                  <c:v>4.046532196643982</c:v>
                </c:pt>
                <c:pt idx="1252">
                  <c:v>4.06864973097806</c:v>
                </c:pt>
                <c:pt idx="1253">
                  <c:v>4.1154337518119055</c:v>
                </c:pt>
                <c:pt idx="1254">
                  <c:v>4.157199715008721</c:v>
                </c:pt>
                <c:pt idx="1255">
                  <c:v>4.1930201705034014</c:v>
                </c:pt>
                <c:pt idx="1256">
                  <c:v>4.1927253519396599</c:v>
                </c:pt>
                <c:pt idx="1257">
                  <c:v>4.2366717440974861</c:v>
                </c:pt>
                <c:pt idx="1258">
                  <c:v>4.2854826425570591</c:v>
                </c:pt>
                <c:pt idx="1259">
                  <c:v>4.3070228238704757</c:v>
                </c:pt>
                <c:pt idx="1260">
                  <c:v>4.3272301795936414</c:v>
                </c:pt>
                <c:pt idx="1261">
                  <c:v>4.3633823059725323</c:v>
                </c:pt>
                <c:pt idx="1262">
                  <c:v>4.3897317151069934</c:v>
                </c:pt>
                <c:pt idx="1263">
                  <c:v>4.3916664619315533</c:v>
                </c:pt>
                <c:pt idx="1264">
                  <c:v>4.405344814878509</c:v>
                </c:pt>
                <c:pt idx="1265">
                  <c:v>4.407420828931528</c:v>
                </c:pt>
                <c:pt idx="1266">
                  <c:v>4.4087720806820139</c:v>
                </c:pt>
                <c:pt idx="1267">
                  <c:v>4.3991167727194549</c:v>
                </c:pt>
                <c:pt idx="1268">
                  <c:v>4.4042576714247108</c:v>
                </c:pt>
                <c:pt idx="1269">
                  <c:v>4.4198830553030488</c:v>
                </c:pt>
                <c:pt idx="1270">
                  <c:v>4.4137410018917524</c:v>
                </c:pt>
                <c:pt idx="1271">
                  <c:v>4.4263015011178535</c:v>
                </c:pt>
                <c:pt idx="1272">
                  <c:v>4.4328366459474733</c:v>
                </c:pt>
                <c:pt idx="1273">
                  <c:v>4.4386531705279717</c:v>
                </c:pt>
                <c:pt idx="1274">
                  <c:v>4.4443468540402433</c:v>
                </c:pt>
                <c:pt idx="1275">
                  <c:v>4.4313994054492296</c:v>
                </c:pt>
                <c:pt idx="1276">
                  <c:v>4.4214861312433973</c:v>
                </c:pt>
                <c:pt idx="1277">
                  <c:v>4.3979006461440191</c:v>
                </c:pt>
                <c:pt idx="1278">
                  <c:v>4.3615826843230225</c:v>
                </c:pt>
                <c:pt idx="1279">
                  <c:v>4.3256393877601154</c:v>
                </c:pt>
                <c:pt idx="1280">
                  <c:v>4.3109721642139398</c:v>
                </c:pt>
                <c:pt idx="1281">
                  <c:v>4.2722772277227721</c:v>
                </c:pt>
                <c:pt idx="1282">
                  <c:v>4.2460875119770041</c:v>
                </c:pt>
                <c:pt idx="1283">
                  <c:v>4.2263100999926291</c:v>
                </c:pt>
                <c:pt idx="1284">
                  <c:v>4.1899122914772873</c:v>
                </c:pt>
                <c:pt idx="1285">
                  <c:v>4.1529371299412814</c:v>
                </c:pt>
                <c:pt idx="1286">
                  <c:v>4.1287865759280642</c:v>
                </c:pt>
                <c:pt idx="1287">
                  <c:v>4.1018843819865864</c:v>
                </c:pt>
                <c:pt idx="1288">
                  <c:v>4.0621207282018528</c:v>
                </c:pt>
                <c:pt idx="1289">
                  <c:v>4.0232415301083462</c:v>
                </c:pt>
                <c:pt idx="1290">
                  <c:v>4.0137643416947162</c:v>
                </c:pt>
                <c:pt idx="1291">
                  <c:v>3.978607227968455</c:v>
                </c:pt>
                <c:pt idx="1292">
                  <c:v>3.9622386556273494</c:v>
                </c:pt>
                <c:pt idx="1293">
                  <c:v>3.9376950101958088</c:v>
                </c:pt>
                <c:pt idx="1294">
                  <c:v>3.9137041495712848</c:v>
                </c:pt>
                <c:pt idx="1295">
                  <c:v>3.8788787067292345</c:v>
                </c:pt>
                <c:pt idx="1296">
                  <c:v>3.8384517111760812</c:v>
                </c:pt>
                <c:pt idx="1297">
                  <c:v>3.8053460432891932</c:v>
                </c:pt>
                <c:pt idx="1298">
                  <c:v>3.7769451883153584</c:v>
                </c:pt>
                <c:pt idx="1299">
                  <c:v>3.7447485443333424</c:v>
                </c:pt>
                <c:pt idx="1300">
                  <c:v>3.7156597793774431</c:v>
                </c:pt>
                <c:pt idx="1301">
                  <c:v>3.6796673463872454</c:v>
                </c:pt>
                <c:pt idx="1302">
                  <c:v>3.6344249809596345</c:v>
                </c:pt>
                <c:pt idx="1303">
                  <c:v>3.5942190993292877</c:v>
                </c:pt>
                <c:pt idx="1304">
                  <c:v>3.5699272780876106</c:v>
                </c:pt>
                <c:pt idx="1305">
                  <c:v>3.5478036017001209</c:v>
                </c:pt>
                <c:pt idx="1306">
                  <c:v>3.5122104021816578</c:v>
                </c:pt>
                <c:pt idx="1307">
                  <c:v>3.4886924796698038</c:v>
                </c:pt>
                <c:pt idx="1308">
                  <c:v>3.4874272166670761</c:v>
                </c:pt>
                <c:pt idx="1309">
                  <c:v>3.4834164557894995</c:v>
                </c:pt>
                <c:pt idx="1310">
                  <c:v>3.4722993391150525</c:v>
                </c:pt>
                <c:pt idx="1311">
                  <c:v>3.4716912758273346</c:v>
                </c:pt>
                <c:pt idx="1312">
                  <c:v>3.4625641844581483</c:v>
                </c:pt>
                <c:pt idx="1313">
                  <c:v>3.4747008819988698</c:v>
                </c:pt>
                <c:pt idx="1314">
                  <c:v>3.4825872785789751</c:v>
                </c:pt>
                <c:pt idx="1315">
                  <c:v>3.4965604500896745</c:v>
                </c:pt>
                <c:pt idx="1316">
                  <c:v>3.495110925484608</c:v>
                </c:pt>
                <c:pt idx="1317">
                  <c:v>3.4778149030783974</c:v>
                </c:pt>
                <c:pt idx="1318">
                  <c:v>3.4634424980959642</c:v>
                </c:pt>
                <c:pt idx="1319">
                  <c:v>3.4683807090386458</c:v>
                </c:pt>
                <c:pt idx="1320">
                  <c:v>3.4740928187111519</c:v>
                </c:pt>
                <c:pt idx="1321">
                  <c:v>3.4519691423236614</c:v>
                </c:pt>
                <c:pt idx="1322">
                  <c:v>3.4471046360219146</c:v>
                </c:pt>
                <c:pt idx="1323">
                  <c:v>3.4522332506203481</c:v>
                </c:pt>
                <c:pt idx="1324">
                  <c:v>3.4638785838881656</c:v>
                </c:pt>
                <c:pt idx="1325">
                  <c:v>3.4582217526963612</c:v>
                </c:pt>
                <c:pt idx="1326">
                  <c:v>3.464756897525981</c:v>
                </c:pt>
                <c:pt idx="1327">
                  <c:v>3.4606847161142906</c:v>
                </c:pt>
                <c:pt idx="1328">
                  <c:v>3.460162641574331</c:v>
                </c:pt>
                <c:pt idx="1329">
                  <c:v>3.4572083138834975</c:v>
                </c:pt>
                <c:pt idx="1330">
                  <c:v>3.4528106036410091</c:v>
                </c:pt>
                <c:pt idx="1331">
                  <c:v>3.434709972237918</c:v>
                </c:pt>
                <c:pt idx="1332">
                  <c:v>3.4360366557747586</c:v>
                </c:pt>
                <c:pt idx="1333">
                  <c:v>3.4510539763653787</c:v>
                </c:pt>
                <c:pt idx="1334">
                  <c:v>3.4411407021595459</c:v>
                </c:pt>
                <c:pt idx="1335">
                  <c:v>3.4243606122398837</c:v>
                </c:pt>
                <c:pt idx="1336">
                  <c:v>3.4110630666044268</c:v>
                </c:pt>
                <c:pt idx="1337">
                  <c:v>3.4161609709358025</c:v>
                </c:pt>
                <c:pt idx="1338">
                  <c:v>3.4072119991155438</c:v>
                </c:pt>
                <c:pt idx="1339">
                  <c:v>3.4026300272707166</c:v>
                </c:pt>
                <c:pt idx="1340">
                  <c:v>3.394700636316732</c:v>
                </c:pt>
                <c:pt idx="1341">
                  <c:v>3.4052772522909849</c:v>
                </c:pt>
                <c:pt idx="1342">
                  <c:v>3.3647212736161949</c:v>
                </c:pt>
                <c:pt idx="1343">
                  <c:v>3.3761332088543838</c:v>
                </c:pt>
                <c:pt idx="1344">
                  <c:v>3.3723865562734932</c:v>
                </c:pt>
                <c:pt idx="1345">
                  <c:v>3.3548571358376527</c:v>
                </c:pt>
                <c:pt idx="1346">
                  <c:v>3.3378067955678943</c:v>
                </c:pt>
                <c:pt idx="1347">
                  <c:v>3.3422720683979068</c:v>
                </c:pt>
                <c:pt idx="1348">
                  <c:v>3.3510429206692383</c:v>
                </c:pt>
                <c:pt idx="1349">
                  <c:v>3.3635911357885164</c:v>
                </c:pt>
                <c:pt idx="1350">
                  <c:v>3.3579281625433013</c:v>
                </c:pt>
                <c:pt idx="1351">
                  <c:v>3.3702368375795393</c:v>
                </c:pt>
                <c:pt idx="1352">
                  <c:v>3.3894123283296076</c:v>
                </c:pt>
                <c:pt idx="1353">
                  <c:v>3.4153072255116337</c:v>
                </c:pt>
                <c:pt idx="1354">
                  <c:v>3.3857270962828299</c:v>
                </c:pt>
                <c:pt idx="1355">
                  <c:v>3.3540341006805399</c:v>
                </c:pt>
                <c:pt idx="1356">
                  <c:v>3.3595250964302386</c:v>
                </c:pt>
                <c:pt idx="1357">
                  <c:v>3.3475358081713877</c:v>
                </c:pt>
                <c:pt idx="1358">
                  <c:v>3.3652249219959214</c:v>
                </c:pt>
                <c:pt idx="1359">
                  <c:v>3.3647028474559608</c:v>
                </c:pt>
                <c:pt idx="1360">
                  <c:v>3.3619450654742895</c:v>
                </c:pt>
                <c:pt idx="1361">
                  <c:v>3.3653968994914383</c:v>
                </c:pt>
                <c:pt idx="1362">
                  <c:v>3.3558951428641621</c:v>
                </c:pt>
                <c:pt idx="1363">
                  <c:v>3.3534935999803461</c:v>
                </c:pt>
                <c:pt idx="1364">
                  <c:v>3.3509999262953594</c:v>
                </c:pt>
                <c:pt idx="1365">
                  <c:v>3.3502874480996492</c:v>
                </c:pt>
                <c:pt idx="1366">
                  <c:v>3.3598506252610378</c:v>
                </c:pt>
                <c:pt idx="1367">
                  <c:v>3.3749293663857705</c:v>
                </c:pt>
                <c:pt idx="1368">
                  <c:v>3.3822998304793264</c:v>
                </c:pt>
                <c:pt idx="1369">
                  <c:v>3.3760472201066269</c:v>
                </c:pt>
                <c:pt idx="1370">
                  <c:v>3.3698560302680405</c:v>
                </c:pt>
                <c:pt idx="1371">
                  <c:v>3.3997801144878772</c:v>
                </c:pt>
                <c:pt idx="1372">
                  <c:v>3.408716802201313</c:v>
                </c:pt>
                <c:pt idx="1373">
                  <c:v>3.4126538584379538</c:v>
                </c:pt>
                <c:pt idx="1374">
                  <c:v>3.4295506473724298</c:v>
                </c:pt>
                <c:pt idx="1375">
                  <c:v>3.4494386163182078</c:v>
                </c:pt>
                <c:pt idx="1376">
                  <c:v>3.4551814362577704</c:v>
                </c:pt>
                <c:pt idx="1377">
                  <c:v>3.4448873547404371</c:v>
                </c:pt>
                <c:pt idx="1378">
                  <c:v>3.4370808048546793</c:v>
                </c:pt>
                <c:pt idx="1379">
                  <c:v>3.4231874800383268</c:v>
                </c:pt>
                <c:pt idx="1380">
                  <c:v>3.4356558484632584</c:v>
                </c:pt>
                <c:pt idx="1381">
                  <c:v>3.4212957275876477</c:v>
                </c:pt>
                <c:pt idx="1382">
                  <c:v>3.3916664619315537</c:v>
                </c:pt>
                <c:pt idx="1383">
                  <c:v>3.3783627742426856</c:v>
                </c:pt>
                <c:pt idx="1384">
                  <c:v>3.3636218460555738</c:v>
                </c:pt>
                <c:pt idx="1385">
                  <c:v>3.3642483355035262</c:v>
                </c:pt>
                <c:pt idx="1386">
                  <c:v>3.3781048079994109</c:v>
                </c:pt>
                <c:pt idx="1387">
                  <c:v>3.3480333144977035</c:v>
                </c:pt>
                <c:pt idx="1388">
                  <c:v>3.3383534383215001</c:v>
                </c:pt>
                <c:pt idx="1389">
                  <c:v>3.3473822568361067</c:v>
                </c:pt>
                <c:pt idx="1390">
                  <c:v>3.3403803159472285</c:v>
                </c:pt>
                <c:pt idx="1391">
                  <c:v>3.3472532737144687</c:v>
                </c:pt>
                <c:pt idx="1392">
                  <c:v>3.341258629585043</c:v>
                </c:pt>
                <c:pt idx="1393">
                  <c:v>3.3499680613222611</c:v>
                </c:pt>
                <c:pt idx="1394">
                  <c:v>3.3604095521214652</c:v>
                </c:pt>
                <c:pt idx="1395">
                  <c:v>3.3589538854629875</c:v>
                </c:pt>
                <c:pt idx="1396">
                  <c:v>3.3697638994668702</c:v>
                </c:pt>
                <c:pt idx="1397">
                  <c:v>3.3822998304793259</c:v>
                </c:pt>
                <c:pt idx="1398">
                  <c:v>3.3713546913003958</c:v>
                </c:pt>
                <c:pt idx="1399">
                  <c:v>3.360059455077022</c:v>
                </c:pt>
                <c:pt idx="1400">
                  <c:v>3.3834422524138277</c:v>
                </c:pt>
                <c:pt idx="1401">
                  <c:v>3.4011006559713048</c:v>
                </c:pt>
                <c:pt idx="1402">
                  <c:v>3.3751566223619882</c:v>
                </c:pt>
                <c:pt idx="1403">
                  <c:v>3.3606920865783851</c:v>
                </c:pt>
                <c:pt idx="1404">
                  <c:v>3.3675834705058603</c:v>
                </c:pt>
                <c:pt idx="1405">
                  <c:v>3.3520133651082236</c:v>
                </c:pt>
                <c:pt idx="1406">
                  <c:v>3.3301046605901288</c:v>
                </c:pt>
                <c:pt idx="1407">
                  <c:v>3.3404171682676953</c:v>
                </c:pt>
                <c:pt idx="1408">
                  <c:v>3.3493599980345432</c:v>
                </c:pt>
                <c:pt idx="1409">
                  <c:v>3.3548571358376535</c:v>
                </c:pt>
                <c:pt idx="1410">
                  <c:v>3.3610483256762405</c:v>
                </c:pt>
                <c:pt idx="1411">
                  <c:v>3.3510736309362943</c:v>
                </c:pt>
                <c:pt idx="1412">
                  <c:v>3.3591811414392061</c:v>
                </c:pt>
                <c:pt idx="1413">
                  <c:v>3.3771650738274821</c:v>
                </c:pt>
                <c:pt idx="1414">
                  <c:v>3.3604464044419324</c:v>
                </c:pt>
                <c:pt idx="1415">
                  <c:v>3.3630506350883227</c:v>
                </c:pt>
                <c:pt idx="1416">
                  <c:v>3.3810837039038888</c:v>
                </c:pt>
                <c:pt idx="1417">
                  <c:v>3.3975444070461638</c:v>
                </c:pt>
                <c:pt idx="1418">
                  <c:v>3.4342861705525385</c:v>
                </c:pt>
                <c:pt idx="1419">
                  <c:v>3.4432044321057407</c:v>
                </c:pt>
                <c:pt idx="1420">
                  <c:v>3.4336228287841184</c:v>
                </c:pt>
                <c:pt idx="1421">
                  <c:v>3.4225425644301399</c:v>
                </c:pt>
                <c:pt idx="1422">
                  <c:v>3.4190661621993459</c:v>
                </c:pt>
                <c:pt idx="1423">
                  <c:v>3.4017087192590223</c:v>
                </c:pt>
                <c:pt idx="1424">
                  <c:v>3.4297349089747677</c:v>
                </c:pt>
                <c:pt idx="1425">
                  <c:v>3.4284573618652181</c:v>
                </c:pt>
                <c:pt idx="1426">
                  <c:v>3.4263199272780871</c:v>
                </c:pt>
                <c:pt idx="1427">
                  <c:v>3.4097363830675862</c:v>
                </c:pt>
                <c:pt idx="1428">
                  <c:v>3.3932019752843763</c:v>
                </c:pt>
                <c:pt idx="1429">
                  <c:v>3.4084035574773348</c:v>
                </c:pt>
                <c:pt idx="1430">
                  <c:v>3.4043498022258802</c:v>
                </c:pt>
                <c:pt idx="1431">
                  <c:v>3.404577058202098</c:v>
                </c:pt>
                <c:pt idx="1432">
                  <c:v>3.383528241161585</c:v>
                </c:pt>
                <c:pt idx="1433">
                  <c:v>3.3797017418863469</c:v>
                </c:pt>
                <c:pt idx="1434">
                  <c:v>3.3891912144068006</c:v>
                </c:pt>
                <c:pt idx="1435">
                  <c:v>3.3797508783136379</c:v>
                </c:pt>
                <c:pt idx="1436">
                  <c:v>3.3772633466820623</c:v>
                </c:pt>
                <c:pt idx="1437">
                  <c:v>3.3626882539370557</c:v>
                </c:pt>
                <c:pt idx="1438">
                  <c:v>3.3516325577967225</c:v>
                </c:pt>
                <c:pt idx="1439">
                  <c:v>3.3639289487261381</c:v>
                </c:pt>
                <c:pt idx="1440">
                  <c:v>3.3690329951109255</c:v>
                </c:pt>
                <c:pt idx="1441">
                  <c:v>3.3799781342898561</c:v>
                </c:pt>
                <c:pt idx="1442">
                  <c:v>3.3794744859101291</c:v>
                </c:pt>
                <c:pt idx="1443">
                  <c:v>3.3820050119155836</c:v>
                </c:pt>
                <c:pt idx="1444">
                  <c:v>3.3518598137729407</c:v>
                </c:pt>
                <c:pt idx="1445">
                  <c:v>3.3764157433113033</c:v>
                </c:pt>
                <c:pt idx="1446">
                  <c:v>3.3715512370095571</c:v>
                </c:pt>
                <c:pt idx="1447">
                  <c:v>3.3650652286072273</c:v>
                </c:pt>
                <c:pt idx="1448">
                  <c:v>3.3692786772473777</c:v>
                </c:pt>
                <c:pt idx="1449">
                  <c:v>3.3383780065351449</c:v>
                </c:pt>
                <c:pt idx="1450">
                  <c:v>3.3402451907721789</c:v>
                </c:pt>
                <c:pt idx="1451">
                  <c:v>3.32272191238975</c:v>
                </c:pt>
                <c:pt idx="1452">
                  <c:v>3.3540709530010075</c:v>
                </c:pt>
                <c:pt idx="1453">
                  <c:v>3.3586836351128908</c:v>
                </c:pt>
                <c:pt idx="1454">
                  <c:v>3.3782890696017494</c:v>
                </c:pt>
                <c:pt idx="1455">
                  <c:v>3.3547097265557824</c:v>
                </c:pt>
                <c:pt idx="1456">
                  <c:v>3.3476340810259688</c:v>
                </c:pt>
                <c:pt idx="1457">
                  <c:v>3.3445630543203202</c:v>
                </c:pt>
                <c:pt idx="1458">
                  <c:v>3.360077881237256</c:v>
                </c:pt>
                <c:pt idx="1459">
                  <c:v>3.3628110950052825</c:v>
                </c:pt>
                <c:pt idx="1460">
                  <c:v>3.3266773947866257</c:v>
                </c:pt>
                <c:pt idx="1461">
                  <c:v>3.332549197847825</c:v>
                </c:pt>
                <c:pt idx="1462">
                  <c:v>3.3247979264427689</c:v>
                </c:pt>
                <c:pt idx="1463">
                  <c:v>3.3531987814166047</c:v>
                </c:pt>
                <c:pt idx="1464">
                  <c:v>3.3806291919514546</c:v>
                </c:pt>
                <c:pt idx="1465">
                  <c:v>3.3704210991818795</c:v>
                </c:pt>
                <c:pt idx="1466">
                  <c:v>3.3854691300395556</c:v>
                </c:pt>
                <c:pt idx="1467">
                  <c:v>3.379928997862566</c:v>
                </c:pt>
                <c:pt idx="1468">
                  <c:v>3.3861570400216205</c:v>
                </c:pt>
                <c:pt idx="1469">
                  <c:v>3.3894184703830188</c:v>
                </c:pt>
                <c:pt idx="1470">
                  <c:v>3.3833992580399479</c:v>
                </c:pt>
                <c:pt idx="1471">
                  <c:v>3.3722207208313892</c:v>
                </c:pt>
                <c:pt idx="1472">
                  <c:v>3.3768641132103285</c:v>
                </c:pt>
                <c:pt idx="1473">
                  <c:v>3.3876741272142108</c:v>
                </c:pt>
                <c:pt idx="1474">
                  <c:v>3.3794806279635421</c:v>
                </c:pt>
                <c:pt idx="1475">
                  <c:v>3.4119843746161225</c:v>
                </c:pt>
                <c:pt idx="1476">
                  <c:v>3.4005417291108775</c:v>
                </c:pt>
                <c:pt idx="1477">
                  <c:v>3.3999398078765695</c:v>
                </c:pt>
                <c:pt idx="1478">
                  <c:v>3.4065118050266574</c:v>
                </c:pt>
                <c:pt idx="1479">
                  <c:v>3.3717969191460098</c:v>
                </c:pt>
                <c:pt idx="1480">
                  <c:v>3.38056162936393</c:v>
                </c:pt>
                <c:pt idx="1481">
                  <c:v>3.3736333931159881</c:v>
                </c:pt>
                <c:pt idx="1482">
                  <c:v>3.3860464830602175</c:v>
                </c:pt>
                <c:pt idx="1483">
                  <c:v>3.3614291329877415</c:v>
                </c:pt>
                <c:pt idx="1484">
                  <c:v>3.373614966955754</c:v>
                </c:pt>
                <c:pt idx="1485">
                  <c:v>3.3951367221089361</c:v>
                </c:pt>
                <c:pt idx="1486">
                  <c:v>3.4058361791514149</c:v>
                </c:pt>
                <c:pt idx="1487">
                  <c:v>3.4090546151389334</c:v>
                </c:pt>
                <c:pt idx="1488">
                  <c:v>3.3983920104169232</c:v>
                </c:pt>
                <c:pt idx="1489">
                  <c:v>3.3897071468933491</c:v>
                </c:pt>
                <c:pt idx="1490">
                  <c:v>3.3917401665724882</c:v>
                </c:pt>
                <c:pt idx="1491">
                  <c:v>3.3987666756750117</c:v>
                </c:pt>
                <c:pt idx="1492">
                  <c:v>3.3968196447436307</c:v>
                </c:pt>
                <c:pt idx="1493">
                  <c:v>3.4186423605139677</c:v>
                </c:pt>
                <c:pt idx="1494">
                  <c:v>3.4020588163034664</c:v>
                </c:pt>
                <c:pt idx="1495">
                  <c:v>3.3885462987986141</c:v>
                </c:pt>
                <c:pt idx="1496">
                  <c:v>3.3988956587966488</c:v>
                </c:pt>
                <c:pt idx="1497">
                  <c:v>3.4043498022258798</c:v>
                </c:pt>
                <c:pt idx="1498">
                  <c:v>3.3992518978945041</c:v>
                </c:pt>
                <c:pt idx="1499">
                  <c:v>3.4063521116379629</c:v>
                </c:pt>
                <c:pt idx="1500">
                  <c:v>3.4064810947595996</c:v>
                </c:pt>
                <c:pt idx="1501">
                  <c:v>3.3962484337763796</c:v>
                </c:pt>
                <c:pt idx="1502">
                  <c:v>3.4136857234110507</c:v>
                </c:pt>
                <c:pt idx="1503">
                  <c:v>3.4082008697147632</c:v>
                </c:pt>
                <c:pt idx="1504">
                  <c:v>3.3927290371717076</c:v>
                </c:pt>
                <c:pt idx="1505">
                  <c:v>3.3899159767093336</c:v>
                </c:pt>
                <c:pt idx="1506">
                  <c:v>3.3774844606048702</c:v>
                </c:pt>
                <c:pt idx="1507">
                  <c:v>3.3815443579097368</c:v>
                </c:pt>
                <c:pt idx="1508">
                  <c:v>3.3832518487580776</c:v>
                </c:pt>
                <c:pt idx="1509">
                  <c:v>3.3772940569491201</c:v>
                </c:pt>
                <c:pt idx="1510">
                  <c:v>3.3802422425865424</c:v>
                </c:pt>
                <c:pt idx="1511">
                  <c:v>3.388607719332728</c:v>
                </c:pt>
                <c:pt idx="1512">
                  <c:v>3.3851988796894581</c:v>
                </c:pt>
                <c:pt idx="1513">
                  <c:v>3.4085509667592073</c:v>
                </c:pt>
                <c:pt idx="1514">
                  <c:v>3.4213755742819942</c:v>
                </c:pt>
                <c:pt idx="1515">
                  <c:v>3.4191890032675727</c:v>
                </c:pt>
                <c:pt idx="1516">
                  <c:v>3.4006645701791025</c:v>
                </c:pt>
                <c:pt idx="1517">
                  <c:v>3.3846338107756191</c:v>
                </c:pt>
                <c:pt idx="1518">
                  <c:v>3.403385499840307</c:v>
                </c:pt>
                <c:pt idx="1519">
                  <c:v>3.4135198879689459</c:v>
                </c:pt>
                <c:pt idx="1520">
                  <c:v>3.4055106503206152</c:v>
                </c:pt>
                <c:pt idx="1521">
                  <c:v>3.4089502002309411</c:v>
                </c:pt>
                <c:pt idx="1522">
                  <c:v>3.4176227796476915</c:v>
                </c:pt>
                <c:pt idx="1523">
                  <c:v>3.4164619315529565</c:v>
                </c:pt>
                <c:pt idx="1524">
                  <c:v>3.4068189076972208</c:v>
                </c:pt>
                <c:pt idx="1525">
                  <c:v>3.4187344913151358</c:v>
                </c:pt>
                <c:pt idx="1526">
                  <c:v>3.4279475714320813</c:v>
                </c:pt>
                <c:pt idx="1527">
                  <c:v>3.4348450974129667</c:v>
                </c:pt>
                <c:pt idx="1528">
                  <c:v>3.4305886543989379</c:v>
                </c:pt>
                <c:pt idx="1529">
                  <c:v>3.4518155909883785</c:v>
                </c:pt>
                <c:pt idx="1530">
                  <c:v>3.4501326683536835</c:v>
                </c:pt>
                <c:pt idx="1531">
                  <c:v>3.4333280102203765</c:v>
                </c:pt>
                <c:pt idx="1532">
                  <c:v>3.4423629707883934</c:v>
                </c:pt>
                <c:pt idx="1533">
                  <c:v>3.4488428371373114</c:v>
                </c:pt>
                <c:pt idx="1534">
                  <c:v>3.4503722084367241</c:v>
                </c:pt>
                <c:pt idx="1535">
                  <c:v>3.4492420706090456</c:v>
                </c:pt>
                <c:pt idx="1536">
                  <c:v>3.4537871901334047</c:v>
                </c:pt>
                <c:pt idx="1537">
                  <c:v>3.4542724123528972</c:v>
                </c:pt>
                <c:pt idx="1538">
                  <c:v>3.444739945458565</c:v>
                </c:pt>
                <c:pt idx="1539">
                  <c:v>3.4468282436184059</c:v>
                </c:pt>
                <c:pt idx="1540">
                  <c:v>3.4532589735400334</c:v>
                </c:pt>
                <c:pt idx="1541">
                  <c:v>3.4694125740117432</c:v>
                </c:pt>
                <c:pt idx="1542">
                  <c:v>3.4650762843033682</c:v>
                </c:pt>
                <c:pt idx="1543">
                  <c:v>3.4727784192811337</c:v>
                </c:pt>
                <c:pt idx="1544">
                  <c:v>3.462459769550156</c:v>
                </c:pt>
                <c:pt idx="1545">
                  <c:v>3.4644252266417705</c:v>
                </c:pt>
                <c:pt idx="1546">
                  <c:v>3.4508021521755152</c:v>
                </c:pt>
                <c:pt idx="1547">
                  <c:v>3.4539960199493898</c:v>
                </c:pt>
                <c:pt idx="1548">
                  <c:v>3.4660098764218854</c:v>
                </c:pt>
                <c:pt idx="1549">
                  <c:v>3.4534370930889624</c:v>
                </c:pt>
                <c:pt idx="1550">
                  <c:v>3.4766847652507198</c:v>
                </c:pt>
                <c:pt idx="1551">
                  <c:v>3.4925066948382186</c:v>
                </c:pt>
                <c:pt idx="1552">
                  <c:v>3.4798786330245939</c:v>
                </c:pt>
                <c:pt idx="1553">
                  <c:v>3.479706655529077</c:v>
                </c:pt>
                <c:pt idx="1554">
                  <c:v>3.4958479718939639</c:v>
                </c:pt>
                <c:pt idx="1555">
                  <c:v>3.4983416455789498</c:v>
                </c:pt>
                <c:pt idx="1556">
                  <c:v>3.4771331351497423</c:v>
                </c:pt>
                <c:pt idx="1557">
                  <c:v>3.4695415571333807</c:v>
                </c:pt>
                <c:pt idx="1558">
                  <c:v>3.4592597597228703</c:v>
                </c:pt>
                <c:pt idx="1559">
                  <c:v>3.4756836105446771</c:v>
                </c:pt>
                <c:pt idx="1560">
                  <c:v>3.483760410780532</c:v>
                </c:pt>
                <c:pt idx="1561">
                  <c:v>3.4854310493084046</c:v>
                </c:pt>
                <c:pt idx="1562">
                  <c:v>3.4990418396678376</c:v>
                </c:pt>
                <c:pt idx="1563">
                  <c:v>3.4963577623271003</c:v>
                </c:pt>
                <c:pt idx="1564">
                  <c:v>3.4898164754440701</c:v>
                </c:pt>
                <c:pt idx="1565">
                  <c:v>3.4725695894651492</c:v>
                </c:pt>
                <c:pt idx="1566">
                  <c:v>3.4853819128811137</c:v>
                </c:pt>
                <c:pt idx="1567">
                  <c:v>3.5012591209493156</c:v>
                </c:pt>
                <c:pt idx="1568">
                  <c:v>3.5094464781465735</c:v>
                </c:pt>
                <c:pt idx="1569">
                  <c:v>3.529346731199174</c:v>
                </c:pt>
                <c:pt idx="1570">
                  <c:v>3.542460015232292</c:v>
                </c:pt>
                <c:pt idx="1571">
                  <c:v>3.5448984104365771</c:v>
                </c:pt>
                <c:pt idx="1572">
                  <c:v>3.5409060757192345</c:v>
                </c:pt>
                <c:pt idx="1573">
                  <c:v>3.5284745596147706</c:v>
                </c:pt>
                <c:pt idx="1574">
                  <c:v>3.5326818662015089</c:v>
                </c:pt>
                <c:pt idx="1575">
                  <c:v>3.5143048423949095</c:v>
                </c:pt>
                <c:pt idx="1576">
                  <c:v>3.5137643416947157</c:v>
                </c:pt>
                <c:pt idx="1577">
                  <c:v>3.513487949291207</c:v>
                </c:pt>
                <c:pt idx="1578">
                  <c:v>3.4972790703387959</c:v>
                </c:pt>
                <c:pt idx="1579">
                  <c:v>3.5020145935189055</c:v>
                </c:pt>
                <c:pt idx="1580">
                  <c:v>3.5231985357344664</c:v>
                </c:pt>
                <c:pt idx="1581">
                  <c:v>3.5099378424194776</c:v>
                </c:pt>
                <c:pt idx="1582">
                  <c:v>3.528314866226077</c:v>
                </c:pt>
                <c:pt idx="1583">
                  <c:v>3.5391678746038377</c:v>
                </c:pt>
                <c:pt idx="1584">
                  <c:v>3.555917254256443</c:v>
                </c:pt>
                <c:pt idx="1585">
                  <c:v>3.552932216298553</c:v>
                </c:pt>
                <c:pt idx="1586">
                  <c:v>3.5422327592560747</c:v>
                </c:pt>
                <c:pt idx="1587">
                  <c:v>3.5446711544603597</c:v>
                </c:pt>
                <c:pt idx="1588">
                  <c:v>3.5463786453086987</c:v>
                </c:pt>
                <c:pt idx="1589">
                  <c:v>3.5457337297005131</c:v>
                </c:pt>
                <c:pt idx="1590">
                  <c:v>3.5316254330147649</c:v>
                </c:pt>
                <c:pt idx="1591">
                  <c:v>3.516552833943444</c:v>
                </c:pt>
                <c:pt idx="1592">
                  <c:v>3.5372638380463366</c:v>
                </c:pt>
                <c:pt idx="1593">
                  <c:v>3.5444930349114321</c:v>
                </c:pt>
                <c:pt idx="1594">
                  <c:v>3.5341129646463414</c:v>
                </c:pt>
                <c:pt idx="1595">
                  <c:v>3.5469314301157175</c:v>
                </c:pt>
                <c:pt idx="1596">
                  <c:v>3.5568385622681387</c:v>
                </c:pt>
                <c:pt idx="1597">
                  <c:v>3.561076579121933</c:v>
                </c:pt>
                <c:pt idx="1598">
                  <c:v>3.5438726875168918</c:v>
                </c:pt>
                <c:pt idx="1599">
                  <c:v>3.5412745989239132</c:v>
                </c:pt>
                <c:pt idx="1600">
                  <c:v>3.5312139154362092</c:v>
                </c:pt>
                <c:pt idx="1601">
                  <c:v>3.5245252192713075</c:v>
                </c:pt>
                <c:pt idx="1602">
                  <c:v>3.5012836891629617</c:v>
                </c:pt>
                <c:pt idx="1603">
                  <c:v>3.4913458467434846</c:v>
                </c:pt>
                <c:pt idx="1604">
                  <c:v>3.5145873768518308</c:v>
                </c:pt>
                <c:pt idx="1605">
                  <c:v>3.5072291968650973</c:v>
                </c:pt>
                <c:pt idx="1606">
                  <c:v>3.5047478072869334</c:v>
                </c:pt>
                <c:pt idx="1607">
                  <c:v>3.4953136132471814</c:v>
                </c:pt>
                <c:pt idx="1608">
                  <c:v>3.5092130801169459</c:v>
                </c:pt>
                <c:pt idx="1609">
                  <c:v>3.5219578409453858</c:v>
                </c:pt>
                <c:pt idx="1610">
                  <c:v>3.4966402967840216</c:v>
                </c:pt>
                <c:pt idx="1611">
                  <c:v>3.4905965162273054</c:v>
                </c:pt>
                <c:pt idx="1612">
                  <c:v>3.4937228214136553</c:v>
                </c:pt>
                <c:pt idx="1613">
                  <c:v>3.4556666584772624</c:v>
                </c:pt>
                <c:pt idx="1614">
                  <c:v>3.4636636120187707</c:v>
                </c:pt>
                <c:pt idx="1615">
                  <c:v>3.4278431565240894</c:v>
                </c:pt>
                <c:pt idx="1616">
                  <c:v>3.4152089526570526</c:v>
                </c:pt>
                <c:pt idx="1617">
                  <c:v>3.4088887796968281</c:v>
                </c:pt>
                <c:pt idx="1618">
                  <c:v>3.409202024420805</c:v>
                </c:pt>
                <c:pt idx="1619">
                  <c:v>3.3947681989042584</c:v>
                </c:pt>
                <c:pt idx="1620">
                  <c:v>3.3881839176473485</c:v>
                </c:pt>
                <c:pt idx="1621">
                  <c:v>3.3978392256099061</c:v>
                </c:pt>
                <c:pt idx="1622">
                  <c:v>3.4008979682087324</c:v>
                </c:pt>
                <c:pt idx="1623">
                  <c:v>3.3766245731272884</c:v>
                </c:pt>
                <c:pt idx="1624">
                  <c:v>3.3675036238115132</c:v>
                </c:pt>
                <c:pt idx="1625">
                  <c:v>3.3787435815541857</c:v>
                </c:pt>
                <c:pt idx="1626">
                  <c:v>3.3614045647740953</c:v>
                </c:pt>
                <c:pt idx="1627">
                  <c:v>3.3503672947939962</c:v>
                </c:pt>
                <c:pt idx="1628">
                  <c:v>3.3344470923519149</c:v>
                </c:pt>
                <c:pt idx="1629">
                  <c:v>3.3558828587573397</c:v>
                </c:pt>
                <c:pt idx="1630">
                  <c:v>3.3557538756357026</c:v>
                </c:pt>
                <c:pt idx="1631">
                  <c:v>3.3675281920251581</c:v>
                </c:pt>
                <c:pt idx="1632">
                  <c:v>3.3549431245854118</c:v>
                </c:pt>
                <c:pt idx="1633">
                  <c:v>3.3595373805370614</c:v>
                </c:pt>
                <c:pt idx="1634">
                  <c:v>3.3702736899000074</c:v>
                </c:pt>
                <c:pt idx="1635">
                  <c:v>3.3697209050929913</c:v>
                </c:pt>
                <c:pt idx="1636">
                  <c:v>3.3821339950372211</c:v>
                </c:pt>
                <c:pt idx="1637">
                  <c:v>3.399251897894505</c:v>
                </c:pt>
                <c:pt idx="1638">
                  <c:v>3.4050499963147685</c:v>
                </c:pt>
                <c:pt idx="1639">
                  <c:v>3.4063521116379629</c:v>
                </c:pt>
                <c:pt idx="1640">
                  <c:v>3.4010208092769578</c:v>
                </c:pt>
                <c:pt idx="1641">
                  <c:v>3.4210131931307282</c:v>
                </c:pt>
                <c:pt idx="1642">
                  <c:v>3.3930054295752154</c:v>
                </c:pt>
                <c:pt idx="1643">
                  <c:v>3.3763911750976585</c:v>
                </c:pt>
                <c:pt idx="1644">
                  <c:v>3.3963712748446064</c:v>
                </c:pt>
                <c:pt idx="1645">
                  <c:v>3.4020833845171121</c:v>
                </c:pt>
                <c:pt idx="1646">
                  <c:v>3.4165909146745945</c:v>
                </c:pt>
                <c:pt idx="1647">
                  <c:v>3.4285863449868565</c:v>
                </c:pt>
                <c:pt idx="1648">
                  <c:v>3.4450470481291307</c:v>
                </c:pt>
                <c:pt idx="1649">
                  <c:v>3.4629634179298825</c:v>
                </c:pt>
                <c:pt idx="1650">
                  <c:v>3.4766356288234279</c:v>
                </c:pt>
                <c:pt idx="1651">
                  <c:v>3.490221850969216</c:v>
                </c:pt>
                <c:pt idx="1652">
                  <c:v>3.4889381618062556</c:v>
                </c:pt>
                <c:pt idx="1653">
                  <c:v>3.4752168144854192</c:v>
                </c:pt>
                <c:pt idx="1654">
                  <c:v>3.4952214824460119</c:v>
                </c:pt>
                <c:pt idx="1655">
                  <c:v>3.4894909466132722</c:v>
                </c:pt>
                <c:pt idx="1656">
                  <c:v>3.4868375795395918</c:v>
                </c:pt>
                <c:pt idx="1657">
                  <c:v>3.4810333390659172</c:v>
                </c:pt>
                <c:pt idx="1658">
                  <c:v>3.4966955752647224</c:v>
                </c:pt>
                <c:pt idx="1659">
                  <c:v>3.5126157777068023</c:v>
                </c:pt>
                <c:pt idx="1660">
                  <c:v>3.4850502419969045</c:v>
                </c:pt>
                <c:pt idx="1661">
                  <c:v>3.4862295162518735</c:v>
                </c:pt>
                <c:pt idx="1662">
                  <c:v>3.4628098665946005</c:v>
                </c:pt>
                <c:pt idx="1663">
                  <c:v>3.4711446330737301</c:v>
                </c:pt>
                <c:pt idx="1664">
                  <c:v>3.4901481463282811</c:v>
                </c:pt>
                <c:pt idx="1665">
                  <c:v>3.4773603911259614</c:v>
                </c:pt>
                <c:pt idx="1666">
                  <c:v>3.4729995332039416</c:v>
                </c:pt>
                <c:pt idx="1667">
                  <c:v>3.4750202687762584</c:v>
                </c:pt>
                <c:pt idx="1668">
                  <c:v>3.4598064024764765</c:v>
                </c:pt>
                <c:pt idx="1669">
                  <c:v>3.4596589931946053</c:v>
                </c:pt>
                <c:pt idx="1670">
                  <c:v>3.4526570523057272</c:v>
                </c:pt>
                <c:pt idx="1671">
                  <c:v>3.4661695698105799</c:v>
                </c:pt>
                <c:pt idx="1672">
                  <c:v>3.4685035501068722</c:v>
                </c:pt>
                <c:pt idx="1673">
                  <c:v>3.4692221703559936</c:v>
                </c:pt>
                <c:pt idx="1674">
                  <c:v>3.4637434587131168</c:v>
                </c:pt>
                <c:pt idx="1675">
                  <c:v>3.4596589931946053</c:v>
                </c:pt>
                <c:pt idx="1676">
                  <c:v>3.4434255460285486</c:v>
                </c:pt>
                <c:pt idx="1677">
                  <c:v>3.4384504827653988</c:v>
                </c:pt>
                <c:pt idx="1678">
                  <c:v>3.4216212564184461</c:v>
                </c:pt>
                <c:pt idx="1679">
                  <c:v>3.4161855391494487</c:v>
                </c:pt>
                <c:pt idx="1680">
                  <c:v>3.4009041102621431</c:v>
                </c:pt>
                <c:pt idx="1681">
                  <c:v>3.4079797557919567</c:v>
                </c:pt>
                <c:pt idx="1682">
                  <c:v>3.3956526545954842</c:v>
                </c:pt>
                <c:pt idx="1683">
                  <c:v>3.3884664521042676</c:v>
                </c:pt>
                <c:pt idx="1684">
                  <c:v>3.3983920104169223</c:v>
                </c:pt>
                <c:pt idx="1685">
                  <c:v>3.3892280667272683</c:v>
                </c:pt>
                <c:pt idx="1686">
                  <c:v>3.4029801243151612</c:v>
                </c:pt>
                <c:pt idx="1687">
                  <c:v>3.3991597670933351</c:v>
                </c:pt>
                <c:pt idx="1688">
                  <c:v>3.4021693732648695</c:v>
                </c:pt>
                <c:pt idx="1689">
                  <c:v>3.3803343733877114</c:v>
                </c:pt>
                <c:pt idx="1690">
                  <c:v>3.3941847038301849</c:v>
                </c:pt>
                <c:pt idx="1691">
                  <c:v>3.4065547994005363</c:v>
                </c:pt>
                <c:pt idx="1692">
                  <c:v>3.4089870525514097</c:v>
                </c:pt>
                <c:pt idx="1693">
                  <c:v>3.4383829201778742</c:v>
                </c:pt>
                <c:pt idx="1694">
                  <c:v>3.4214799891899861</c:v>
                </c:pt>
                <c:pt idx="1695">
                  <c:v>3.3979067881974303</c:v>
                </c:pt>
                <c:pt idx="1696">
                  <c:v>3.4170638527872645</c:v>
                </c:pt>
                <c:pt idx="1697">
                  <c:v>3.3943382551654673</c:v>
                </c:pt>
                <c:pt idx="1698">
                  <c:v>3.3897439992138172</c:v>
                </c:pt>
                <c:pt idx="1699">
                  <c:v>3.4329287767486423</c:v>
                </c:pt>
                <c:pt idx="1700">
                  <c:v>3.466390683733386</c:v>
                </c:pt>
                <c:pt idx="1701">
                  <c:v>3.4957005626120927</c:v>
                </c:pt>
                <c:pt idx="1702">
                  <c:v>3.5101835245559294</c:v>
                </c:pt>
                <c:pt idx="1703">
                  <c:v>3.536987445642827</c:v>
                </c:pt>
                <c:pt idx="1704">
                  <c:v>3.57982826818662</c:v>
                </c:pt>
                <c:pt idx="1705">
                  <c:v>3.6308011694469693</c:v>
                </c:pt>
                <c:pt idx="1706">
                  <c:v>3.6677026263420385</c:v>
                </c:pt>
                <c:pt idx="1707">
                  <c:v>3.7000405375525145</c:v>
                </c:pt>
                <c:pt idx="1708">
                  <c:v>3.7330663587450554</c:v>
                </c:pt>
                <c:pt idx="1709">
                  <c:v>3.7699616735867134</c:v>
                </c:pt>
                <c:pt idx="1710">
                  <c:v>3.7903840011792744</c:v>
                </c:pt>
                <c:pt idx="1711">
                  <c:v>3.830626735130088</c:v>
                </c:pt>
                <c:pt idx="1712">
                  <c:v>3.8539603960396032</c:v>
                </c:pt>
                <c:pt idx="1713">
                  <c:v>3.8969240596516226</c:v>
                </c:pt>
                <c:pt idx="1714">
                  <c:v>3.9147053042773252</c:v>
                </c:pt>
                <c:pt idx="1715">
                  <c:v>3.944021325209444</c:v>
                </c:pt>
                <c:pt idx="1716">
                  <c:v>3.9578532294916831</c:v>
                </c:pt>
                <c:pt idx="1717">
                  <c:v>3.9767339016780086</c:v>
                </c:pt>
                <c:pt idx="1718">
                  <c:v>4.0249551630100973</c:v>
                </c:pt>
                <c:pt idx="1719">
                  <c:v>4.072377957398718</c:v>
                </c:pt>
                <c:pt idx="1720">
                  <c:v>4.1219443284278796</c:v>
                </c:pt>
                <c:pt idx="1721">
                  <c:v>4.1302053902660729</c:v>
                </c:pt>
                <c:pt idx="1722">
                  <c:v>4.1747844139252637</c:v>
                </c:pt>
                <c:pt idx="1723">
                  <c:v>4.1985787288406256</c:v>
                </c:pt>
                <c:pt idx="1724">
                  <c:v>4.2003660663833129</c:v>
                </c:pt>
                <c:pt idx="1725">
                  <c:v>4.2404982433727243</c:v>
                </c:pt>
                <c:pt idx="1726">
                  <c:v>4.2790212023683765</c:v>
                </c:pt>
                <c:pt idx="1727">
                  <c:v>4.3015195440139555</c:v>
                </c:pt>
                <c:pt idx="1728">
                  <c:v>4.3539419698793713</c:v>
                </c:pt>
                <c:pt idx="1729">
                  <c:v>4.3759059528781661</c:v>
                </c:pt>
                <c:pt idx="1730">
                  <c:v>4.3577561850477853</c:v>
                </c:pt>
                <c:pt idx="1731">
                  <c:v>4.3536778615826845</c:v>
                </c:pt>
                <c:pt idx="1732">
                  <c:v>4.3517124044910691</c:v>
                </c:pt>
                <c:pt idx="1733">
                  <c:v>4.3522037687639727</c:v>
                </c:pt>
                <c:pt idx="1734">
                  <c:v>4.3549554086922333</c:v>
                </c:pt>
                <c:pt idx="1735">
                  <c:v>4.3584686632434932</c:v>
                </c:pt>
                <c:pt idx="1736">
                  <c:v>4.3553116477900895</c:v>
                </c:pt>
                <c:pt idx="1737">
                  <c:v>4.3572463946146467</c:v>
                </c:pt>
                <c:pt idx="1738">
                  <c:v>4.3483097069012109</c:v>
                </c:pt>
                <c:pt idx="1739">
                  <c:v>4.3535181681939896</c:v>
                </c:pt>
                <c:pt idx="1740">
                  <c:v>4.3555941822470077</c:v>
                </c:pt>
                <c:pt idx="1741">
                  <c:v>4.3602621428395931</c:v>
                </c:pt>
                <c:pt idx="1742">
                  <c:v>4.3645370120138569</c:v>
                </c:pt>
                <c:pt idx="1743">
                  <c:v>4.3296562906911022</c:v>
                </c:pt>
                <c:pt idx="1744">
                  <c:v>4.2767425005527837</c:v>
                </c:pt>
                <c:pt idx="1745">
                  <c:v>4.2532061518806952</c:v>
                </c:pt>
                <c:pt idx="1746">
                  <c:v>4.2114954671645819</c:v>
                </c:pt>
                <c:pt idx="1747">
                  <c:v>4.1873879075252427</c:v>
                </c:pt>
                <c:pt idx="1748">
                  <c:v>4.1676842001818049</c:v>
                </c:pt>
                <c:pt idx="1749">
                  <c:v>4.1456158022750165</c:v>
                </c:pt>
                <c:pt idx="1750">
                  <c:v>4.1067795985553888</c:v>
                </c:pt>
                <c:pt idx="1751">
                  <c:v>4.0777215438665442</c:v>
                </c:pt>
                <c:pt idx="1752">
                  <c:v>4.0417966734638719</c:v>
                </c:pt>
                <c:pt idx="1753">
                  <c:v>3.9988452939586758</c:v>
                </c:pt>
                <c:pt idx="1754">
                  <c:v>3.9583445937645871</c:v>
                </c:pt>
                <c:pt idx="1755">
                  <c:v>3.9385856079404458</c:v>
                </c:pt>
                <c:pt idx="1756">
                  <c:v>3.8968135026902191</c:v>
                </c:pt>
                <c:pt idx="1757">
                  <c:v>3.8775458811389822</c:v>
                </c:pt>
                <c:pt idx="1758">
                  <c:v>3.8413016239589219</c:v>
                </c:pt>
                <c:pt idx="1759">
                  <c:v>3.806248925140653</c:v>
                </c:pt>
                <c:pt idx="1760">
                  <c:v>3.7823194850502415</c:v>
                </c:pt>
                <c:pt idx="1761">
                  <c:v>3.7533658452693901</c:v>
                </c:pt>
                <c:pt idx="1762">
                  <c:v>3.7246087511977004</c:v>
                </c:pt>
                <c:pt idx="1763">
                  <c:v>3.692430533375918</c:v>
                </c:pt>
                <c:pt idx="1764">
                  <c:v>3.6606699751861043</c:v>
                </c:pt>
                <c:pt idx="1765">
                  <c:v>3.6494177333366089</c:v>
                </c:pt>
                <c:pt idx="1766">
                  <c:v>3.6105139670294579</c:v>
                </c:pt>
                <c:pt idx="1767">
                  <c:v>3.5891089108910896</c:v>
                </c:pt>
                <c:pt idx="1768">
                  <c:v>3.5494926663882276</c:v>
                </c:pt>
                <c:pt idx="1769">
                  <c:v>3.5237328943812503</c:v>
                </c:pt>
                <c:pt idx="1770">
                  <c:v>3.4881028425423199</c:v>
                </c:pt>
                <c:pt idx="1771">
                  <c:v>3.4523560916885745</c:v>
                </c:pt>
                <c:pt idx="1772">
                  <c:v>3.406499520919835</c:v>
                </c:pt>
                <c:pt idx="1773">
                  <c:v>3.3694875070633623</c:v>
                </c:pt>
                <c:pt idx="1774">
                  <c:v>3.3798184409011633</c:v>
                </c:pt>
                <c:pt idx="1775">
                  <c:v>3.387870672923373</c:v>
                </c:pt>
                <c:pt idx="1776">
                  <c:v>3.4054123774660354</c:v>
                </c:pt>
                <c:pt idx="1777">
                  <c:v>3.4147114463307391</c:v>
                </c:pt>
                <c:pt idx="1778">
                  <c:v>3.4365771564749541</c:v>
                </c:pt>
                <c:pt idx="1779">
                  <c:v>3.4342431761786618</c:v>
                </c:pt>
                <c:pt idx="1780">
                  <c:v>3.4162592437903858</c:v>
                </c:pt>
                <c:pt idx="1781">
                  <c:v>3.4145026165147545</c:v>
                </c:pt>
                <c:pt idx="1782">
                  <c:v>3.403717170724518</c:v>
                </c:pt>
                <c:pt idx="1783">
                  <c:v>3.4243851804535304</c:v>
                </c:pt>
                <c:pt idx="1784">
                  <c:v>3.4082622902488771</c:v>
                </c:pt>
                <c:pt idx="1785">
                  <c:v>3.4202147261872597</c:v>
                </c:pt>
                <c:pt idx="1786">
                  <c:v>3.4381863744687129</c:v>
                </c:pt>
                <c:pt idx="1787">
                  <c:v>3.4567292337174167</c:v>
                </c:pt>
                <c:pt idx="1788">
                  <c:v>3.4499545488047567</c:v>
                </c:pt>
                <c:pt idx="1789">
                  <c:v>3.4751431098444834</c:v>
                </c:pt>
                <c:pt idx="1790">
                  <c:v>3.4533511043412033</c:v>
                </c:pt>
                <c:pt idx="1791">
                  <c:v>3.4341387612706678</c:v>
                </c:pt>
                <c:pt idx="1792">
                  <c:v>3.4593580325774509</c:v>
                </c:pt>
                <c:pt idx="1793">
                  <c:v>3.4455629806156791</c:v>
                </c:pt>
                <c:pt idx="1794">
                  <c:v>3.4434562562956046</c:v>
                </c:pt>
                <c:pt idx="1795">
                  <c:v>3.4444205586811782</c:v>
                </c:pt>
                <c:pt idx="1796">
                  <c:v>3.4422278456133455</c:v>
                </c:pt>
                <c:pt idx="1797">
                  <c:v>3.4470309313809793</c:v>
                </c:pt>
                <c:pt idx="1798">
                  <c:v>3.4368351227182274</c:v>
                </c:pt>
                <c:pt idx="1799">
                  <c:v>3.4431552956784515</c:v>
                </c:pt>
                <c:pt idx="1800">
                  <c:v>3.4416689187529181</c:v>
                </c:pt>
                <c:pt idx="1801">
                  <c:v>3.442276982040636</c:v>
                </c:pt>
                <c:pt idx="1802">
                  <c:v>3.4380205390266076</c:v>
                </c:pt>
                <c:pt idx="1803">
                  <c:v>3.4506178905731764</c:v>
                </c:pt>
                <c:pt idx="1804">
                  <c:v>3.4391322506940529</c:v>
                </c:pt>
                <c:pt idx="1805">
                  <c:v>3.4289425840847114</c:v>
                </c:pt>
                <c:pt idx="1806">
                  <c:v>3.4425226641770879</c:v>
                </c:pt>
                <c:pt idx="1807">
                  <c:v>3.4230646389701005</c:v>
                </c:pt>
                <c:pt idx="1808">
                  <c:v>3.427904577058202</c:v>
                </c:pt>
                <c:pt idx="1809">
                  <c:v>3.4120089428297664</c:v>
                </c:pt>
                <c:pt idx="1810">
                  <c:v>3.4115052944500404</c:v>
                </c:pt>
                <c:pt idx="1811">
                  <c:v>3.4031766700243224</c:v>
                </c:pt>
                <c:pt idx="1812">
                  <c:v>3.3915129105962709</c:v>
                </c:pt>
                <c:pt idx="1813">
                  <c:v>3.3974522762449939</c:v>
                </c:pt>
                <c:pt idx="1814">
                  <c:v>3.4037171707245171</c:v>
                </c:pt>
                <c:pt idx="1815">
                  <c:v>3.4364420312999044</c:v>
                </c:pt>
                <c:pt idx="1816">
                  <c:v>3.4430017443431691</c:v>
                </c:pt>
                <c:pt idx="1817">
                  <c:v>3.4164066530722552</c:v>
                </c:pt>
                <c:pt idx="1818">
                  <c:v>3.3995405744048357</c:v>
                </c:pt>
                <c:pt idx="1819">
                  <c:v>3.4095705476254827</c:v>
                </c:pt>
                <c:pt idx="1820">
                  <c:v>3.3702859740068303</c:v>
                </c:pt>
                <c:pt idx="1821">
                  <c:v>3.4071382944746089</c:v>
                </c:pt>
                <c:pt idx="1822">
                  <c:v>3.4302078470874391</c:v>
                </c:pt>
                <c:pt idx="1823">
                  <c:v>3.4100434857381519</c:v>
                </c:pt>
                <c:pt idx="1824">
                  <c:v>3.4201164533326782</c:v>
                </c:pt>
                <c:pt idx="1825">
                  <c:v>3.4163329484313194</c:v>
                </c:pt>
                <c:pt idx="1826">
                  <c:v>3.4118123971206051</c:v>
                </c:pt>
                <c:pt idx="1827">
                  <c:v>3.3885647249588486</c:v>
                </c:pt>
                <c:pt idx="1828">
                  <c:v>3.3794683438567183</c:v>
                </c:pt>
                <c:pt idx="1829">
                  <c:v>3.3716310837039045</c:v>
                </c:pt>
                <c:pt idx="1830">
                  <c:v>3.3720364592290499</c:v>
                </c:pt>
                <c:pt idx="1831">
                  <c:v>3.383718644817336</c:v>
                </c:pt>
                <c:pt idx="1832">
                  <c:v>3.3860649092204516</c:v>
                </c:pt>
                <c:pt idx="1833">
                  <c:v>3.3880303663120661</c:v>
                </c:pt>
                <c:pt idx="1834">
                  <c:v>3.3869247966980329</c:v>
                </c:pt>
                <c:pt idx="1835">
                  <c:v>3.4051851214898172</c:v>
                </c:pt>
                <c:pt idx="1836">
                  <c:v>3.4003758936687718</c:v>
                </c:pt>
                <c:pt idx="1837">
                  <c:v>3.3978515097167294</c:v>
                </c:pt>
                <c:pt idx="1838">
                  <c:v>3.40391985848709</c:v>
                </c:pt>
                <c:pt idx="1839">
                  <c:v>3.3988772326364161</c:v>
                </c:pt>
                <c:pt idx="1840">
                  <c:v>3.3782399331744593</c:v>
                </c:pt>
                <c:pt idx="1841">
                  <c:v>3.3768395449966833</c:v>
                </c:pt>
                <c:pt idx="1842">
                  <c:v>3.3934046630469505</c:v>
                </c:pt>
                <c:pt idx="1843">
                  <c:v>3.4096381102130069</c:v>
                </c:pt>
                <c:pt idx="1844">
                  <c:v>3.4249133970469012</c:v>
                </c:pt>
                <c:pt idx="1845">
                  <c:v>3.395947473159227</c:v>
                </c:pt>
                <c:pt idx="1846">
                  <c:v>3.3822015576247439</c:v>
                </c:pt>
                <c:pt idx="1847">
                  <c:v>3.3873977348107021</c:v>
                </c:pt>
                <c:pt idx="1848">
                  <c:v>3.3960825983342748</c:v>
                </c:pt>
                <c:pt idx="1849">
                  <c:v>3.4202331523474925</c:v>
                </c:pt>
                <c:pt idx="1850">
                  <c:v>3.4279905658059602</c:v>
                </c:pt>
                <c:pt idx="1851">
                  <c:v>3.4682701520772432</c:v>
                </c:pt>
                <c:pt idx="1852">
                  <c:v>3.4671277301427419</c:v>
                </c:pt>
                <c:pt idx="1853">
                  <c:v>3.4416996290199751</c:v>
                </c:pt>
                <c:pt idx="1854">
                  <c:v>3.4560167555217065</c:v>
                </c:pt>
                <c:pt idx="1855">
                  <c:v>3.4614770410043487</c:v>
                </c:pt>
                <c:pt idx="1856">
                  <c:v>3.4591062083875892</c:v>
                </c:pt>
                <c:pt idx="1857">
                  <c:v>3.4887354740436827</c:v>
                </c:pt>
                <c:pt idx="1858">
                  <c:v>3.473546175957547</c:v>
                </c:pt>
                <c:pt idx="1859">
                  <c:v>3.4803392870304406</c:v>
                </c:pt>
                <c:pt idx="1860">
                  <c:v>3.4956698523450362</c:v>
                </c:pt>
                <c:pt idx="1861">
                  <c:v>3.4706102744269467</c:v>
                </c:pt>
                <c:pt idx="1862">
                  <c:v>3.4555499594624477</c:v>
                </c:pt>
                <c:pt idx="1863">
                  <c:v>3.460070510773162</c:v>
                </c:pt>
                <c:pt idx="1864">
                  <c:v>3.4567967963049409</c:v>
                </c:pt>
                <c:pt idx="1865">
                  <c:v>3.4553779819669312</c:v>
                </c:pt>
                <c:pt idx="1866">
                  <c:v>3.4630002702503502</c:v>
                </c:pt>
                <c:pt idx="1867">
                  <c:v>3.4657887624990789</c:v>
                </c:pt>
                <c:pt idx="1868">
                  <c:v>3.4726064417856177</c:v>
                </c:pt>
                <c:pt idx="1869">
                  <c:v>3.4891777018892958</c:v>
                </c:pt>
                <c:pt idx="1870">
                  <c:v>3.4957189887723268</c:v>
                </c:pt>
                <c:pt idx="1871">
                  <c:v>3.5253666805886548</c:v>
                </c:pt>
                <c:pt idx="1872">
                  <c:v>3.5104906272264942</c:v>
                </c:pt>
                <c:pt idx="1873">
                  <c:v>3.486432204014446</c:v>
                </c:pt>
                <c:pt idx="1874">
                  <c:v>3.4852897820799447</c:v>
                </c:pt>
                <c:pt idx="1875">
                  <c:v>3.4573557231653682</c:v>
                </c:pt>
                <c:pt idx="1876">
                  <c:v>3.4768874530132909</c:v>
                </c:pt>
                <c:pt idx="1877">
                  <c:v>3.4768014642655327</c:v>
                </c:pt>
                <c:pt idx="1878">
                  <c:v>3.4685465444807497</c:v>
                </c:pt>
                <c:pt idx="1879">
                  <c:v>3.4774402378203066</c:v>
                </c:pt>
                <c:pt idx="1880">
                  <c:v>3.4633626514016154</c:v>
                </c:pt>
                <c:pt idx="1881">
                  <c:v>3.4619069847431381</c:v>
                </c:pt>
                <c:pt idx="1882">
                  <c:v>3.4441318821708462</c:v>
                </c:pt>
                <c:pt idx="1883">
                  <c:v>3.4515391985848698</c:v>
                </c:pt>
                <c:pt idx="1884">
                  <c:v>3.4539591676289203</c:v>
                </c:pt>
                <c:pt idx="1885">
                  <c:v>3.463884725941575</c:v>
                </c:pt>
                <c:pt idx="1886">
                  <c:v>3.4742893644203119</c:v>
                </c:pt>
                <c:pt idx="1887">
                  <c:v>3.5187086946908077</c:v>
                </c:pt>
                <c:pt idx="1888">
                  <c:v>3.519820406358253</c:v>
                </c:pt>
                <c:pt idx="1889">
                  <c:v>3.5713890867994982</c:v>
                </c:pt>
                <c:pt idx="1890">
                  <c:v>3.611281723705869</c:v>
                </c:pt>
                <c:pt idx="1891">
                  <c:v>3.6260226518929803</c:v>
                </c:pt>
                <c:pt idx="1892">
                  <c:v>3.6849863646414271</c:v>
                </c:pt>
                <c:pt idx="1893">
                  <c:v>3.71858953885463</c:v>
                </c:pt>
                <c:pt idx="1894">
                  <c:v>3.749545488047564</c:v>
                </c:pt>
                <c:pt idx="1895">
                  <c:v>3.7886642262241117</c:v>
                </c:pt>
                <c:pt idx="1896">
                  <c:v>3.8256762400805844</c:v>
                </c:pt>
                <c:pt idx="1897">
                  <c:v>3.8354666732181908</c:v>
                </c:pt>
                <c:pt idx="1898">
                  <c:v>3.8806230498980425</c:v>
                </c:pt>
                <c:pt idx="1899">
                  <c:v>3.9029924084219836</c:v>
                </c:pt>
                <c:pt idx="1900">
                  <c:v>3.9177824730363864</c:v>
                </c:pt>
                <c:pt idx="1901">
                  <c:v>3.951490062157581</c:v>
                </c:pt>
                <c:pt idx="1902">
                  <c:v>3.9673181337984924</c:v>
                </c:pt>
                <c:pt idx="1903">
                  <c:v>4.0274918310689634</c:v>
                </c:pt>
                <c:pt idx="1904">
                  <c:v>4.0736800727219125</c:v>
                </c:pt>
                <c:pt idx="1905">
                  <c:v>4.102639854556176</c:v>
                </c:pt>
                <c:pt idx="1906">
                  <c:v>4.1397132889467612</c:v>
                </c:pt>
                <c:pt idx="1907">
                  <c:v>4.1636672972508171</c:v>
                </c:pt>
                <c:pt idx="1908">
                  <c:v>4.1991192295408197</c:v>
                </c:pt>
                <c:pt idx="1909">
                  <c:v>4.221635997346632</c:v>
                </c:pt>
                <c:pt idx="1910">
                  <c:v>4.238993440286956</c:v>
                </c:pt>
                <c:pt idx="1911">
                  <c:v>4.2648330589882804</c:v>
                </c:pt>
                <c:pt idx="1912">
                  <c:v>4.268647274156697</c:v>
                </c:pt>
                <c:pt idx="1913">
                  <c:v>4.2997629167383247</c:v>
                </c:pt>
                <c:pt idx="1914">
                  <c:v>4.3184838955359552</c:v>
                </c:pt>
                <c:pt idx="1915">
                  <c:v>4.3642176252364688</c:v>
                </c:pt>
                <c:pt idx="1916">
                  <c:v>4.3766245731272875</c:v>
                </c:pt>
                <c:pt idx="1917">
                  <c:v>4.3862000343954985</c:v>
                </c:pt>
                <c:pt idx="1918">
                  <c:v>4.3966108149276462</c:v>
                </c:pt>
                <c:pt idx="1919">
                  <c:v>4.4153563619389242</c:v>
                </c:pt>
                <c:pt idx="1920">
                  <c:v>4.417094563054321</c:v>
                </c:pt>
                <c:pt idx="1921">
                  <c:v>4.4005294450040546</c:v>
                </c:pt>
                <c:pt idx="1922">
                  <c:v>4.3998169668083449</c:v>
                </c:pt>
                <c:pt idx="1923">
                  <c:v>4.3886138613861405</c:v>
                </c:pt>
                <c:pt idx="1924">
                  <c:v>4.399552858511659</c:v>
                </c:pt>
                <c:pt idx="1925">
                  <c:v>4.4055966390683734</c:v>
                </c:pt>
                <c:pt idx="1926">
                  <c:v>4.4136795813576395</c:v>
                </c:pt>
                <c:pt idx="1927">
                  <c:v>4.4186914969412578</c:v>
                </c:pt>
                <c:pt idx="1928">
                  <c:v>4.4167260398496424</c:v>
                </c:pt>
                <c:pt idx="1929">
                  <c:v>4.4122054885389277</c:v>
                </c:pt>
                <c:pt idx="1930">
                  <c:v>4.410743679827041</c:v>
                </c:pt>
                <c:pt idx="1931">
                  <c:v>4.3995282902980133</c:v>
                </c:pt>
                <c:pt idx="1932">
                  <c:v>4.3615458320025553</c:v>
                </c:pt>
                <c:pt idx="1933">
                  <c:v>4.3413016239589215</c:v>
                </c:pt>
                <c:pt idx="1934">
                  <c:v>4.2924170208584131</c:v>
                </c:pt>
                <c:pt idx="1935">
                  <c:v>4.254274869174262</c:v>
                </c:pt>
                <c:pt idx="1936">
                  <c:v>4.237924722993391</c:v>
                </c:pt>
                <c:pt idx="1937">
                  <c:v>4.2102731985357336</c:v>
                </c:pt>
                <c:pt idx="1938">
                  <c:v>4.1698093506621126</c:v>
                </c:pt>
                <c:pt idx="1939">
                  <c:v>4.1327359162715265</c:v>
                </c:pt>
                <c:pt idx="1940">
                  <c:v>4.1120617644891038</c:v>
                </c:pt>
                <c:pt idx="1941">
                  <c:v>4.072040144461095</c:v>
                </c:pt>
                <c:pt idx="1942">
                  <c:v>4.0368830307348347</c:v>
                </c:pt>
                <c:pt idx="1943">
                  <c:v>4.02151561309977</c:v>
                </c:pt>
                <c:pt idx="1944">
                  <c:v>3.9767830381052978</c:v>
                </c:pt>
                <c:pt idx="1945">
                  <c:v>3.9433702675478455</c:v>
                </c:pt>
                <c:pt idx="1946">
                  <c:v>3.9211667444660088</c:v>
                </c:pt>
                <c:pt idx="1947">
                  <c:v>3.8759857995725127</c:v>
                </c:pt>
                <c:pt idx="1948">
                  <c:v>3.8409515269144778</c:v>
                </c:pt>
                <c:pt idx="1949">
                  <c:v>3.7890204653219657</c:v>
                </c:pt>
                <c:pt idx="1950">
                  <c:v>3.7455777215438664</c:v>
                </c:pt>
                <c:pt idx="1951">
                  <c:v>3.7092413335626357</c:v>
                </c:pt>
                <c:pt idx="1952">
                  <c:v>3.6992420706090461</c:v>
                </c:pt>
                <c:pt idx="1953">
                  <c:v>3.6754907500675627</c:v>
                </c:pt>
                <c:pt idx="1954">
                  <c:v>3.6472434464290098</c:v>
                </c:pt>
                <c:pt idx="1955">
                  <c:v>3.6261577770680291</c:v>
                </c:pt>
                <c:pt idx="1956">
                  <c:v>3.5823526521386637</c:v>
                </c:pt>
                <c:pt idx="1957">
                  <c:v>3.5433874652973985</c:v>
                </c:pt>
                <c:pt idx="1958">
                  <c:v>3.493968503550108</c:v>
                </c:pt>
                <c:pt idx="1959">
                  <c:v>3.4653833869739339</c:v>
                </c:pt>
                <c:pt idx="1960">
                  <c:v>3.4099820652040398</c:v>
                </c:pt>
                <c:pt idx="1961">
                  <c:v>3.3659435422450441</c:v>
                </c:pt>
                <c:pt idx="1962">
                  <c:v>3.3426528757094078</c:v>
                </c:pt>
                <c:pt idx="1963">
                  <c:v>3.3272486057538759</c:v>
                </c:pt>
                <c:pt idx="1964">
                  <c:v>3.3421123750092132</c:v>
                </c:pt>
                <c:pt idx="1965">
                  <c:v>3.3575534972852128</c:v>
                </c:pt>
                <c:pt idx="1966">
                  <c:v>3.3691619782325635</c:v>
                </c:pt>
                <c:pt idx="1967">
                  <c:v>3.3564909220450581</c:v>
                </c:pt>
                <c:pt idx="1968">
                  <c:v>3.3610544677296512</c:v>
                </c:pt>
                <c:pt idx="1969">
                  <c:v>3.3656180134142453</c:v>
                </c:pt>
                <c:pt idx="1970">
                  <c:v>3.3851865955826352</c:v>
                </c:pt>
                <c:pt idx="1971">
                  <c:v>3.3661462300076161</c:v>
                </c:pt>
                <c:pt idx="1972">
                  <c:v>3.382963172247746</c:v>
                </c:pt>
                <c:pt idx="1973">
                  <c:v>3.3948480455986045</c:v>
                </c:pt>
                <c:pt idx="1974">
                  <c:v>3.3896150160921801</c:v>
                </c:pt>
                <c:pt idx="1975">
                  <c:v>3.4082192958749973</c:v>
                </c:pt>
                <c:pt idx="1976">
                  <c:v>3.3985271355919711</c:v>
                </c:pt>
                <c:pt idx="1977">
                  <c:v>3.3687873129744736</c:v>
                </c:pt>
                <c:pt idx="1978">
                  <c:v>3.3660233889393907</c:v>
                </c:pt>
                <c:pt idx="1979">
                  <c:v>3.3623504409994354</c:v>
                </c:pt>
                <c:pt idx="1980">
                  <c:v>3.3568103088224461</c:v>
                </c:pt>
                <c:pt idx="1981">
                  <c:v>3.3698376041078055</c:v>
                </c:pt>
                <c:pt idx="1982">
                  <c:v>3.3653661892243822</c:v>
                </c:pt>
                <c:pt idx="1983">
                  <c:v>3.3565277743655266</c:v>
                </c:pt>
                <c:pt idx="1984">
                  <c:v>3.360139301771369</c:v>
                </c:pt>
                <c:pt idx="1985">
                  <c:v>3.3651942117288653</c:v>
                </c:pt>
                <c:pt idx="1986">
                  <c:v>3.3556310345674771</c:v>
                </c:pt>
                <c:pt idx="1987">
                  <c:v>3.3716495098641381</c:v>
                </c:pt>
                <c:pt idx="1988">
                  <c:v>3.3716495098641386</c:v>
                </c:pt>
                <c:pt idx="1989">
                  <c:v>3.3808257376606154</c:v>
                </c:pt>
                <c:pt idx="1990">
                  <c:v>3.3837616391912153</c:v>
                </c:pt>
                <c:pt idx="1991">
                  <c:v>3.4007567009802724</c:v>
                </c:pt>
                <c:pt idx="1992">
                  <c:v>3.4336781072648219</c:v>
                </c:pt>
                <c:pt idx="1993">
                  <c:v>3.4360489398815823</c:v>
                </c:pt>
                <c:pt idx="1994">
                  <c:v>3.4427560622067177</c:v>
                </c:pt>
                <c:pt idx="1995">
                  <c:v>3.4235621452964162</c:v>
                </c:pt>
                <c:pt idx="1996">
                  <c:v>3.4380573913470758</c:v>
                </c:pt>
                <c:pt idx="1997">
                  <c:v>3.4313625531287628</c:v>
                </c:pt>
                <c:pt idx="1998">
                  <c:v>3.4291268456870507</c:v>
                </c:pt>
                <c:pt idx="1999">
                  <c:v>3.4176719160749824</c:v>
                </c:pt>
                <c:pt idx="2000">
                  <c:v>3.4226592634449551</c:v>
                </c:pt>
                <c:pt idx="2001">
                  <c:v>3.4166277669950613</c:v>
                </c:pt>
                <c:pt idx="2002">
                  <c:v>3.4429157555954104</c:v>
                </c:pt>
                <c:pt idx="2003">
                  <c:v>3.4408520256492148</c:v>
                </c:pt>
                <c:pt idx="2004">
                  <c:v>3.4339606417217401</c:v>
                </c:pt>
                <c:pt idx="2005">
                  <c:v>3.4413311058152956</c:v>
                </c:pt>
                <c:pt idx="2006">
                  <c:v>3.4217993759673724</c:v>
                </c:pt>
                <c:pt idx="2007">
                  <c:v>3.415251947030931</c:v>
                </c:pt>
                <c:pt idx="2008">
                  <c:v>3.4207245166203961</c:v>
                </c:pt>
                <c:pt idx="2009">
                  <c:v>3.4227329680858909</c:v>
                </c:pt>
                <c:pt idx="2010">
                  <c:v>3.425091516595828</c:v>
                </c:pt>
                <c:pt idx="2011">
                  <c:v>3.430140284499914</c:v>
                </c:pt>
                <c:pt idx="2012">
                  <c:v>3.421572119991156</c:v>
                </c:pt>
                <c:pt idx="2013">
                  <c:v>3.4144043436601725</c:v>
                </c:pt>
                <c:pt idx="2014">
                  <c:v>3.4095029850379581</c:v>
                </c:pt>
                <c:pt idx="2015">
                  <c:v>3.3968380709038657</c:v>
                </c:pt>
                <c:pt idx="2016">
                  <c:v>3.4128074097732362</c:v>
                </c:pt>
                <c:pt idx="2017">
                  <c:v>3.3994300174434327</c:v>
                </c:pt>
                <c:pt idx="2018">
                  <c:v>3.3877846841756147</c:v>
                </c:pt>
                <c:pt idx="2019">
                  <c:v>3.3862368867159676</c:v>
                </c:pt>
                <c:pt idx="2020">
                  <c:v>3.3802913790138325</c:v>
                </c:pt>
                <c:pt idx="2021">
                  <c:v>3.3831412917966746</c:v>
                </c:pt>
                <c:pt idx="2022">
                  <c:v>3.3832211384910207</c:v>
                </c:pt>
                <c:pt idx="2023">
                  <c:v>3.3767535562489259</c:v>
                </c:pt>
                <c:pt idx="2024">
                  <c:v>3.3949708866668304</c:v>
                </c:pt>
                <c:pt idx="2025">
                  <c:v>3.4225364223767283</c:v>
                </c:pt>
                <c:pt idx="2026">
                  <c:v>3.4041409724098952</c:v>
                </c:pt>
                <c:pt idx="2027">
                  <c:v>3.3955420976340807</c:v>
                </c:pt>
                <c:pt idx="2028">
                  <c:v>3.3849654816598282</c:v>
                </c:pt>
                <c:pt idx="2029">
                  <c:v>3.3732218755374288</c:v>
                </c:pt>
                <c:pt idx="2030">
                  <c:v>3.3859297840454015</c:v>
                </c:pt>
                <c:pt idx="2031">
                  <c:v>3.3784426209370317</c:v>
                </c:pt>
                <c:pt idx="2032">
                  <c:v>3.3666130260668745</c:v>
                </c:pt>
                <c:pt idx="2033">
                  <c:v>3.3498943566813257</c:v>
                </c:pt>
                <c:pt idx="2034">
                  <c:v>3.3439857012996579</c:v>
                </c:pt>
                <c:pt idx="2035">
                  <c:v>3.3508893693339563</c:v>
                </c:pt>
                <c:pt idx="2036">
                  <c:v>3.3404601626415751</c:v>
                </c:pt>
                <c:pt idx="2037">
                  <c:v>3.3700894282976694</c:v>
                </c:pt>
                <c:pt idx="2038">
                  <c:v>3.3782460752278705</c:v>
                </c:pt>
                <c:pt idx="2039">
                  <c:v>3.3961194506547425</c:v>
                </c:pt>
                <c:pt idx="2040">
                  <c:v>3.4211360341989536</c:v>
                </c:pt>
                <c:pt idx="2041">
                  <c:v>3.4328796403213522</c:v>
                </c:pt>
                <c:pt idx="2042">
                  <c:v>3.4377134363560429</c:v>
                </c:pt>
                <c:pt idx="2043">
                  <c:v>3.4225118541630843</c:v>
                </c:pt>
                <c:pt idx="2044">
                  <c:v>3.4269464167260399</c:v>
                </c:pt>
                <c:pt idx="2045">
                  <c:v>3.4274992015330557</c:v>
                </c:pt>
                <c:pt idx="2046">
                  <c:v>3.4220757683708807</c:v>
                </c:pt>
                <c:pt idx="2047">
                  <c:v>3.3914822003292131</c:v>
                </c:pt>
                <c:pt idx="2048">
                  <c:v>3.4075682382133987</c:v>
                </c:pt>
                <c:pt idx="2049">
                  <c:v>3.4153072255116323</c:v>
                </c:pt>
                <c:pt idx="2050">
                  <c:v>3.4067206348426398</c:v>
                </c:pt>
                <c:pt idx="2051">
                  <c:v>3.4209947669704937</c:v>
                </c:pt>
                <c:pt idx="2052">
                  <c:v>3.4102461735007243</c:v>
                </c:pt>
                <c:pt idx="2053">
                  <c:v>3.3996818416332948</c:v>
                </c:pt>
                <c:pt idx="2054">
                  <c:v>3.3692971034076113</c:v>
                </c:pt>
                <c:pt idx="2055">
                  <c:v>3.3472102793405889</c:v>
                </c:pt>
                <c:pt idx="2056">
                  <c:v>3.3184838955359557</c:v>
                </c:pt>
                <c:pt idx="2057">
                  <c:v>3.3161990516669535</c:v>
                </c:pt>
                <c:pt idx="2058">
                  <c:v>3.3027848070166819</c:v>
                </c:pt>
                <c:pt idx="2059">
                  <c:v>3.3290298012431521</c:v>
                </c:pt>
                <c:pt idx="2060">
                  <c:v>3.3442129572758765</c:v>
                </c:pt>
                <c:pt idx="2061">
                  <c:v>3.3418789769795842</c:v>
                </c:pt>
                <c:pt idx="2062">
                  <c:v>3.3367933567550305</c:v>
                </c:pt>
                <c:pt idx="2063">
                  <c:v>3.3409576689678899</c:v>
                </c:pt>
                <c:pt idx="2064">
                  <c:v>3.3483281330614458</c:v>
                </c:pt>
                <c:pt idx="2065">
                  <c:v>3.3486229516251873</c:v>
                </c:pt>
                <c:pt idx="2066">
                  <c:v>3.344870156990885</c:v>
                </c:pt>
                <c:pt idx="2067">
                  <c:v>3.3531619290961352</c:v>
                </c:pt>
                <c:pt idx="2068">
                  <c:v>3.3342198363756967</c:v>
                </c:pt>
                <c:pt idx="2069">
                  <c:v>3.3356447927671176</c:v>
                </c:pt>
                <c:pt idx="2070">
                  <c:v>3.3297852738127411</c:v>
                </c:pt>
                <c:pt idx="2071">
                  <c:v>3.3134965481659826</c:v>
                </c:pt>
                <c:pt idx="2072">
                  <c:v>3.3041114905535216</c:v>
                </c:pt>
                <c:pt idx="2073">
                  <c:v>3.3143380094833303</c:v>
                </c:pt>
                <c:pt idx="2074">
                  <c:v>3.3271196226322388</c:v>
                </c:pt>
                <c:pt idx="2075">
                  <c:v>3.334858609930472</c:v>
                </c:pt>
                <c:pt idx="2076">
                  <c:v>3.3370328968380716</c:v>
                </c:pt>
                <c:pt idx="2077">
                  <c:v>3.3380647618111694</c:v>
                </c:pt>
                <c:pt idx="2078">
                  <c:v>3.3394221556150661</c:v>
                </c:pt>
                <c:pt idx="2079">
                  <c:v>3.3344716605655611</c:v>
                </c:pt>
                <c:pt idx="2080">
                  <c:v>3.3278382428813602</c:v>
                </c:pt>
                <c:pt idx="2081">
                  <c:v>3.3491327420583259</c:v>
                </c:pt>
                <c:pt idx="2082">
                  <c:v>3.3539235437191373</c:v>
                </c:pt>
                <c:pt idx="2083">
                  <c:v>3.3681731076333445</c:v>
                </c:pt>
                <c:pt idx="2084">
                  <c:v>3.4007996953541517</c:v>
                </c:pt>
                <c:pt idx="2085">
                  <c:v>3.4167076136894097</c:v>
                </c:pt>
                <c:pt idx="2086">
                  <c:v>3.436018229614525</c:v>
                </c:pt>
                <c:pt idx="2087">
                  <c:v>3.4644375107485943</c:v>
                </c:pt>
                <c:pt idx="2088">
                  <c:v>3.4665565191754917</c:v>
                </c:pt>
                <c:pt idx="2089">
                  <c:v>3.4689887723263655</c:v>
                </c:pt>
                <c:pt idx="2090">
                  <c:v>3.4546409355575762</c:v>
                </c:pt>
                <c:pt idx="2091">
                  <c:v>3.4562870058718036</c:v>
                </c:pt>
                <c:pt idx="2092">
                  <c:v>3.4543891113677128</c:v>
                </c:pt>
                <c:pt idx="2093">
                  <c:v>3.4878141660319879</c:v>
                </c:pt>
                <c:pt idx="2094">
                  <c:v>3.4784291084195273</c:v>
                </c:pt>
                <c:pt idx="2095">
                  <c:v>3.4658624671400147</c:v>
                </c:pt>
                <c:pt idx="2096">
                  <c:v>3.4631353954253985</c:v>
                </c:pt>
                <c:pt idx="2097">
                  <c:v>3.4503537822764909</c:v>
                </c:pt>
                <c:pt idx="2098">
                  <c:v>3.4515699088519276</c:v>
                </c:pt>
                <c:pt idx="2099">
                  <c:v>3.4369026853057516</c:v>
                </c:pt>
                <c:pt idx="2100">
                  <c:v>3.4236112817237059</c:v>
                </c:pt>
                <c:pt idx="2101">
                  <c:v>3.4182124167751762</c:v>
                </c:pt>
                <c:pt idx="2102">
                  <c:v>3.4026853057514188</c:v>
                </c:pt>
                <c:pt idx="2103">
                  <c:v>3.4240596516227306</c:v>
                </c:pt>
                <c:pt idx="2104">
                  <c:v>3.4236911284180533</c:v>
                </c:pt>
                <c:pt idx="2105">
                  <c:v>3.4381802324153021</c:v>
                </c:pt>
                <c:pt idx="2106">
                  <c:v>3.4437633589661698</c:v>
                </c:pt>
                <c:pt idx="2107">
                  <c:v>3.4270201213669758</c:v>
                </c:pt>
                <c:pt idx="2108">
                  <c:v>3.4349925066948384</c:v>
                </c:pt>
                <c:pt idx="2109">
                  <c:v>3.4415153674176358</c:v>
                </c:pt>
                <c:pt idx="2110">
                  <c:v>3.4481794953688922</c:v>
                </c:pt>
                <c:pt idx="2111">
                  <c:v>3.4523315234749283</c:v>
                </c:pt>
                <c:pt idx="2112">
                  <c:v>3.4362147753236862</c:v>
                </c:pt>
                <c:pt idx="2113">
                  <c:v>3.4212588752671795</c:v>
                </c:pt>
                <c:pt idx="2114">
                  <c:v>3.4069478908188584</c:v>
                </c:pt>
                <c:pt idx="2115">
                  <c:v>3.3999275237697466</c:v>
                </c:pt>
                <c:pt idx="2116">
                  <c:v>3.4014016165884575</c:v>
                </c:pt>
                <c:pt idx="2117">
                  <c:v>3.3929071567206344</c:v>
                </c:pt>
                <c:pt idx="2118">
                  <c:v>3.3937056236641028</c:v>
                </c:pt>
                <c:pt idx="2119">
                  <c:v>3.4180711495467158</c:v>
                </c:pt>
                <c:pt idx="2120">
                  <c:v>3.4110692086578376</c:v>
                </c:pt>
                <c:pt idx="2121">
                  <c:v>3.4139928260816146</c:v>
                </c:pt>
                <c:pt idx="2122">
                  <c:v>3.4049148711397188</c:v>
                </c:pt>
                <c:pt idx="2123">
                  <c:v>3.4179851607989575</c:v>
                </c:pt>
                <c:pt idx="2124">
                  <c:v>3.3999766601970367</c:v>
                </c:pt>
                <c:pt idx="2125">
                  <c:v>3.4116465616784999</c:v>
                </c:pt>
                <c:pt idx="2126">
                  <c:v>3.4104672874235313</c:v>
                </c:pt>
                <c:pt idx="2127">
                  <c:v>3.4213632901751714</c:v>
                </c:pt>
                <c:pt idx="2128">
                  <c:v>3.4343844434071205</c:v>
                </c:pt>
                <c:pt idx="2129">
                  <c:v>3.4481119327813681</c:v>
                </c:pt>
                <c:pt idx="2130">
                  <c:v>3.471642139400045</c:v>
                </c:pt>
                <c:pt idx="2131">
                  <c:v>3.4956698523450367</c:v>
                </c:pt>
                <c:pt idx="2132">
                  <c:v>3.5010687172935655</c:v>
                </c:pt>
                <c:pt idx="2133">
                  <c:v>3.5341375328599862</c:v>
                </c:pt>
                <c:pt idx="2134">
                  <c:v>3.5127631869886744</c:v>
                </c:pt>
                <c:pt idx="2135">
                  <c:v>3.4906702208682407</c:v>
                </c:pt>
                <c:pt idx="2136">
                  <c:v>3.4736997272928285</c:v>
                </c:pt>
                <c:pt idx="2137">
                  <c:v>3.4663538314129179</c:v>
                </c:pt>
                <c:pt idx="2138">
                  <c:v>3.4890302926074246</c:v>
                </c:pt>
                <c:pt idx="2139">
                  <c:v>3.4915731027197014</c:v>
                </c:pt>
                <c:pt idx="2140">
                  <c:v>3.4984583445937649</c:v>
                </c:pt>
                <c:pt idx="2141">
                  <c:v>3.4898594698179495</c:v>
                </c:pt>
                <c:pt idx="2142">
                  <c:v>3.4779684544136802</c:v>
                </c:pt>
                <c:pt idx="2143">
                  <c:v>3.497137803110336</c:v>
                </c:pt>
                <c:pt idx="2144">
                  <c:v>3.5002518241898635</c:v>
                </c:pt>
                <c:pt idx="2145">
                  <c:v>3.4972790703387964</c:v>
                </c:pt>
                <c:pt idx="2146">
                  <c:v>3.4876176203228271</c:v>
                </c:pt>
                <c:pt idx="2147">
                  <c:v>3.4972606441785627</c:v>
                </c:pt>
                <c:pt idx="2148">
                  <c:v>3.5140591602584581</c:v>
                </c:pt>
                <c:pt idx="2149">
                  <c:v>3.4971685133773929</c:v>
                </c:pt>
                <c:pt idx="2150">
                  <c:v>3.4741542392452649</c:v>
                </c:pt>
                <c:pt idx="2151">
                  <c:v>3.481764243421861</c:v>
                </c:pt>
                <c:pt idx="2152">
                  <c:v>3.4758310198265483</c:v>
                </c:pt>
                <c:pt idx="2153">
                  <c:v>3.4751553939513058</c:v>
                </c:pt>
                <c:pt idx="2154">
                  <c:v>3.4830110802643537</c:v>
                </c:pt>
                <c:pt idx="2155">
                  <c:v>3.4942019015797352</c:v>
                </c:pt>
                <c:pt idx="2156">
                  <c:v>3.4914011252241846</c:v>
                </c:pt>
                <c:pt idx="2157">
                  <c:v>3.4988882883325552</c:v>
                </c:pt>
                <c:pt idx="2158">
                  <c:v>3.4771208510429208</c:v>
                </c:pt>
                <c:pt idx="2159">
                  <c:v>3.4627852983809544</c:v>
                </c:pt>
                <c:pt idx="2160">
                  <c:v>3.4514163575166452</c:v>
                </c:pt>
                <c:pt idx="2161">
                  <c:v>3.4514163575166457</c:v>
                </c:pt>
                <c:pt idx="2162">
                  <c:v>3.4509004250300968</c:v>
                </c:pt>
                <c:pt idx="2163">
                  <c:v>3.4639829987961583</c:v>
                </c:pt>
                <c:pt idx="2164">
                  <c:v>3.4430385966636377</c:v>
                </c:pt>
                <c:pt idx="2165">
                  <c:v>3.4610962336928499</c:v>
                </c:pt>
                <c:pt idx="2166">
                  <c:v>3.4896260717883214</c:v>
                </c:pt>
                <c:pt idx="2167">
                  <c:v>3.4781527160160191</c:v>
                </c:pt>
                <c:pt idx="2168">
                  <c:v>3.4689150676854288</c:v>
                </c:pt>
                <c:pt idx="2169">
                  <c:v>3.4465579932683097</c:v>
                </c:pt>
                <c:pt idx="2170">
                  <c:v>3.4406984743139324</c:v>
                </c:pt>
                <c:pt idx="2171">
                  <c:v>3.4446416726039844</c:v>
                </c:pt>
                <c:pt idx="2172">
                  <c:v>3.4275974743876367</c:v>
                </c:pt>
                <c:pt idx="2173">
                  <c:v>3.4259084096995305</c:v>
                </c:pt>
                <c:pt idx="2174">
                  <c:v>3.4082315799818192</c:v>
                </c:pt>
                <c:pt idx="2175">
                  <c:v>3.4006338599120456</c:v>
                </c:pt>
                <c:pt idx="2176">
                  <c:v>3.4130530919096866</c:v>
                </c:pt>
                <c:pt idx="2177">
                  <c:v>3.4284082254379276</c:v>
                </c:pt>
                <c:pt idx="2178">
                  <c:v>3.4152150947104629</c:v>
                </c:pt>
                <c:pt idx="2179">
                  <c:v>3.388116355059823</c:v>
                </c:pt>
                <c:pt idx="2180">
                  <c:v>3.3669631231113177</c:v>
                </c:pt>
                <c:pt idx="2181">
                  <c:v>3.3642790457705818</c:v>
                </c:pt>
                <c:pt idx="2182">
                  <c:v>3.3613861386138608</c:v>
                </c:pt>
                <c:pt idx="2183">
                  <c:v>3.3546237378080237</c:v>
                </c:pt>
                <c:pt idx="2184">
                  <c:v>3.3773001990025309</c:v>
                </c:pt>
                <c:pt idx="2185">
                  <c:v>3.3649239613787678</c:v>
                </c:pt>
                <c:pt idx="2186">
                  <c:v>3.3590767265312143</c:v>
                </c:pt>
                <c:pt idx="2187">
                  <c:v>3.3485615310910752</c:v>
                </c:pt>
                <c:pt idx="2188">
                  <c:v>3.3520747856423365</c:v>
                </c:pt>
                <c:pt idx="2189">
                  <c:v>3.3752426111097469</c:v>
                </c:pt>
                <c:pt idx="2190">
                  <c:v>3.3846952313097325</c:v>
                </c:pt>
                <c:pt idx="2191">
                  <c:v>3.3793700710021386</c:v>
                </c:pt>
                <c:pt idx="2192">
                  <c:v>3.3729024887600429</c:v>
                </c:pt>
                <c:pt idx="2193">
                  <c:v>3.3648686828980674</c:v>
                </c:pt>
                <c:pt idx="2194">
                  <c:v>3.3438628602314338</c:v>
                </c:pt>
                <c:pt idx="2195">
                  <c:v>3.3380279094907013</c:v>
                </c:pt>
                <c:pt idx="2196">
                  <c:v>3.3371004594255953</c:v>
                </c:pt>
                <c:pt idx="2197">
                  <c:v>3.3438567181780212</c:v>
                </c:pt>
                <c:pt idx="2198">
                  <c:v>3.3558091541164039</c:v>
                </c:pt>
                <c:pt idx="2199">
                  <c:v>3.3494337026754786</c:v>
                </c:pt>
                <c:pt idx="2200">
                  <c:v>3.3687381765471831</c:v>
                </c:pt>
                <c:pt idx="2201">
                  <c:v>3.3866484042945233</c:v>
                </c:pt>
                <c:pt idx="2202">
                  <c:v>3.3942584084711198</c:v>
                </c:pt>
                <c:pt idx="2203">
                  <c:v>3.4044787853475169</c:v>
                </c:pt>
                <c:pt idx="2204">
                  <c:v>3.4106638331326922</c:v>
                </c:pt>
                <c:pt idx="2205">
                  <c:v>3.4080718865931252</c:v>
                </c:pt>
                <c:pt idx="2206">
                  <c:v>3.4401763997739723</c:v>
                </c:pt>
                <c:pt idx="2207">
                  <c:v>3.4424980959634421</c:v>
                </c:pt>
                <c:pt idx="2208">
                  <c:v>3.4277203154558631</c:v>
                </c:pt>
                <c:pt idx="2209">
                  <c:v>3.4258039947915391</c:v>
                </c:pt>
                <c:pt idx="2210">
                  <c:v>3.4344274377809993</c:v>
                </c:pt>
                <c:pt idx="2211">
                  <c:v>3.4607522787018161</c:v>
                </c:pt>
                <c:pt idx="2212">
                  <c:v>3.4632705206004473</c:v>
                </c:pt>
                <c:pt idx="2213">
                  <c:v>3.4551015895634234</c:v>
                </c:pt>
                <c:pt idx="2214">
                  <c:v>3.4613050635088332</c:v>
                </c:pt>
                <c:pt idx="2215">
                  <c:v>3.4351890524040005</c:v>
                </c:pt>
                <c:pt idx="2216">
                  <c:v>3.4389111367712455</c:v>
                </c:pt>
                <c:pt idx="2217">
                  <c:v>3.451096970739258</c:v>
                </c:pt>
                <c:pt idx="2218">
                  <c:v>3.4762793897255735</c:v>
                </c:pt>
                <c:pt idx="2219">
                  <c:v>3.4898963221384176</c:v>
                </c:pt>
                <c:pt idx="2220">
                  <c:v>3.4883239564651256</c:v>
                </c:pt>
                <c:pt idx="2221">
                  <c:v>3.5061789057317641</c:v>
                </c:pt>
                <c:pt idx="2222">
                  <c:v>3.5046126821118837</c:v>
                </c:pt>
                <c:pt idx="2223">
                  <c:v>3.5472508168931038</c:v>
                </c:pt>
                <c:pt idx="2224">
                  <c:v>3.5871311696926518</c:v>
                </c:pt>
                <c:pt idx="2225">
                  <c:v>3.6523106404933294</c:v>
                </c:pt>
                <c:pt idx="2226">
                  <c:v>3.709407169004741</c:v>
                </c:pt>
                <c:pt idx="2227">
                  <c:v>3.7485873277154012</c:v>
                </c:pt>
                <c:pt idx="2228">
                  <c:v>3.7778419281134066</c:v>
                </c:pt>
                <c:pt idx="2229">
                  <c:v>3.8374198462029825</c:v>
                </c:pt>
                <c:pt idx="2230">
                  <c:v>3.897237304375599</c:v>
                </c:pt>
                <c:pt idx="2231">
                  <c:v>3.9299805911112204</c:v>
                </c:pt>
                <c:pt idx="2232">
                  <c:v>3.9687860845637917</c:v>
                </c:pt>
                <c:pt idx="2233">
                  <c:v>3.9933788664226224</c:v>
                </c:pt>
                <c:pt idx="2234">
                  <c:v>4.0330872417266548</c:v>
                </c:pt>
                <c:pt idx="2235">
                  <c:v>4.0816340318895419</c:v>
                </c:pt>
                <c:pt idx="2236">
                  <c:v>4.1313600963073975</c:v>
                </c:pt>
                <c:pt idx="2237">
                  <c:v>4.1717870918605513</c:v>
                </c:pt>
                <c:pt idx="2238">
                  <c:v>4.2211262069134952</c:v>
                </c:pt>
                <c:pt idx="2239">
                  <c:v>4.2667493796526053</c:v>
                </c:pt>
                <c:pt idx="2240">
                  <c:v>4.309092695870083</c:v>
                </c:pt>
                <c:pt idx="2241">
                  <c:v>4.3477139277203154</c:v>
                </c:pt>
                <c:pt idx="2242">
                  <c:v>4.376372748937424</c:v>
                </c:pt>
                <c:pt idx="2243">
                  <c:v>4.4155221973810272</c:v>
                </c:pt>
                <c:pt idx="2244">
                  <c:v>4.4641242660246165</c:v>
                </c:pt>
                <c:pt idx="2245">
                  <c:v>4.5198388325184862</c:v>
                </c:pt>
                <c:pt idx="2246">
                  <c:v>4.5620961599882071</c:v>
                </c:pt>
                <c:pt idx="2247">
                  <c:v>4.6132226125838383</c:v>
                </c:pt>
                <c:pt idx="2248">
                  <c:v>4.6295236223374188</c:v>
                </c:pt>
                <c:pt idx="2249">
                  <c:v>4.6484902832715029</c:v>
                </c:pt>
                <c:pt idx="2250">
                  <c:v>4.6584035574773353</c:v>
                </c:pt>
                <c:pt idx="2251">
                  <c:v>4.6872220720831388</c:v>
                </c:pt>
                <c:pt idx="2252">
                  <c:v>4.6983883251848759</c:v>
                </c:pt>
                <c:pt idx="2253">
                  <c:v>4.7414932560253549</c:v>
                </c:pt>
                <c:pt idx="2254">
                  <c:v>4.7367515907918341</c:v>
                </c:pt>
                <c:pt idx="2255">
                  <c:v>4.7450802152175511</c:v>
                </c:pt>
                <c:pt idx="2256">
                  <c:v>4.7429366385770093</c:v>
                </c:pt>
                <c:pt idx="2257">
                  <c:v>4.7429366385770102</c:v>
                </c:pt>
                <c:pt idx="2258">
                  <c:v>4.742801513401961</c:v>
                </c:pt>
                <c:pt idx="2259">
                  <c:v>4.7372552391715601</c:v>
                </c:pt>
                <c:pt idx="2260">
                  <c:v>4.734374616121662</c:v>
                </c:pt>
                <c:pt idx="2261">
                  <c:v>4.7398103333906594</c:v>
                </c:pt>
                <c:pt idx="2262">
                  <c:v>4.7570142249956993</c:v>
                </c:pt>
                <c:pt idx="2263">
                  <c:v>4.7563508832272801</c:v>
                </c:pt>
                <c:pt idx="2264">
                  <c:v>4.772295653883007</c:v>
                </c:pt>
                <c:pt idx="2265">
                  <c:v>4.792601282460752</c:v>
                </c:pt>
                <c:pt idx="2266">
                  <c:v>4.8540463847873614</c:v>
                </c:pt>
                <c:pt idx="2267">
                  <c:v>4.9228650222342321</c:v>
                </c:pt>
                <c:pt idx="2268">
                  <c:v>4.994333955728079</c:v>
                </c:pt>
                <c:pt idx="2269">
                  <c:v>5.0619641058398637</c:v>
                </c:pt>
                <c:pt idx="2270">
                  <c:v>5.1338691251259103</c:v>
                </c:pt>
                <c:pt idx="2271">
                  <c:v>5.2181672726826021</c:v>
                </c:pt>
                <c:pt idx="2272">
                  <c:v>5.2824745718988773</c:v>
                </c:pt>
                <c:pt idx="2273">
                  <c:v>5.3777884922487278</c:v>
                </c:pt>
                <c:pt idx="2274">
                  <c:v>5.4826333439795585</c:v>
                </c:pt>
                <c:pt idx="2275">
                  <c:v>5.3301691521509458</c:v>
                </c:pt>
                <c:pt idx="2276">
                  <c:v>5.1684181755644536</c:v>
                </c:pt>
                <c:pt idx="2277">
                  <c:v>5.0234657150578572</c:v>
                </c:pt>
                <c:pt idx="2278">
                  <c:v>4.8505177751025705</c:v>
                </c:pt>
                <c:pt idx="2279">
                  <c:v>4.7028750952018266</c:v>
                </c:pt>
                <c:pt idx="2280">
                  <c:v>4.5559571776036147</c:v>
                </c:pt>
                <c:pt idx="2281">
                  <c:v>4.4175030096061709</c:v>
                </c:pt>
                <c:pt idx="2282">
                  <c:v>4.272157457681252</c:v>
                </c:pt>
                <c:pt idx="2283">
                  <c:v>4.1371674078077776</c:v>
                </c:pt>
                <c:pt idx="2284">
                  <c:v>3.9818471611429138</c:v>
                </c:pt>
                <c:pt idx="2285">
                  <c:v>3.8313668525661506</c:v>
                </c:pt>
                <c:pt idx="2286">
                  <c:v>3.6696527283001252</c:v>
                </c:pt>
                <c:pt idx="2287">
                  <c:v>3.5060099992629543</c:v>
                </c:pt>
                <c:pt idx="2288">
                  <c:v>3.353072869321672</c:v>
                </c:pt>
                <c:pt idx="2289">
                  <c:v>3.1966593371495962</c:v>
                </c:pt>
                <c:pt idx="2290">
                  <c:v>3.0433536840036362</c:v>
                </c:pt>
                <c:pt idx="2291">
                  <c:v>2.9914226224111244</c:v>
                </c:pt>
                <c:pt idx="2292">
                  <c:v>2.9323974891285656</c:v>
                </c:pt>
                <c:pt idx="2293">
                  <c:v>2.8945931503820361</c:v>
                </c:pt>
                <c:pt idx="2294">
                  <c:v>2.8582444782939835</c:v>
                </c:pt>
                <c:pt idx="2295">
                  <c:v>2.8132600791096478</c:v>
                </c:pt>
                <c:pt idx="2296">
                  <c:v>2.7487685182910346</c:v>
                </c:pt>
                <c:pt idx="2297">
                  <c:v>2.6452564921504558</c:v>
                </c:pt>
                <c:pt idx="2298">
                  <c:v>2.5260238803036641</c:v>
                </c:pt>
                <c:pt idx="2299">
                  <c:v>2.3867159668820488</c:v>
                </c:pt>
                <c:pt idx="2300">
                  <c:v>2.276472250202688</c:v>
                </c:pt>
                <c:pt idx="2301">
                  <c:v>2.1531336756504431</c:v>
                </c:pt>
                <c:pt idx="2302">
                  <c:v>2.0441813257008081</c:v>
                </c:pt>
                <c:pt idx="2303">
                  <c:v>1.9250869100557697</c:v>
                </c:pt>
                <c:pt idx="2304">
                  <c:v>1.7815640124806524</c:v>
                </c:pt>
                <c:pt idx="2305">
                  <c:v>1.656769771269931</c:v>
                </c:pt>
                <c:pt idx="2306">
                  <c:v>1.7900523302950642</c:v>
                </c:pt>
                <c:pt idx="2307">
                  <c:v>1.8991536250399232</c:v>
                </c:pt>
                <c:pt idx="2308">
                  <c:v>2.0166818170650811</c:v>
                </c:pt>
                <c:pt idx="2309">
                  <c:v>2.1331167235830284</c:v>
                </c:pt>
                <c:pt idx="2310">
                  <c:v>2.2473589170331425</c:v>
                </c:pt>
                <c:pt idx="2311">
                  <c:v>2.3635174311475815</c:v>
                </c:pt>
                <c:pt idx="2312">
                  <c:v>2.4740743925509179</c:v>
                </c:pt>
                <c:pt idx="2313">
                  <c:v>2.5723963835589516</c:v>
                </c:pt>
                <c:pt idx="2314">
                  <c:v>2.6831498906714493</c:v>
                </c:pt>
                <c:pt idx="2315">
                  <c:v>2.7987310517652264</c:v>
                </c:pt>
                <c:pt idx="2316">
                  <c:v>2.9136980075178736</c:v>
                </c:pt>
                <c:pt idx="2317">
                  <c:v>3.0488231825663954</c:v>
                </c:pt>
                <c:pt idx="2318">
                  <c:v>3.1530783971697414</c:v>
                </c:pt>
                <c:pt idx="2319">
                  <c:v>3.2792607424514162</c:v>
                </c:pt>
                <c:pt idx="2320">
                  <c:v>3.3832395646512539</c:v>
                </c:pt>
                <c:pt idx="2321">
                  <c:v>3.4946809817458169</c:v>
                </c:pt>
                <c:pt idx="2322">
                  <c:v>3.4998648748249512</c:v>
                </c:pt>
                <c:pt idx="2323">
                  <c:v>3.5131501363535858</c:v>
                </c:pt>
                <c:pt idx="2324">
                  <c:v>3.4895646512542076</c:v>
                </c:pt>
                <c:pt idx="2325">
                  <c:v>3.4810026287988598</c:v>
                </c:pt>
                <c:pt idx="2326">
                  <c:v>3.4669741788074586</c:v>
                </c:pt>
                <c:pt idx="2327">
                  <c:v>3.473730437559885</c:v>
                </c:pt>
                <c:pt idx="2328">
                  <c:v>3.4682824361840652</c:v>
                </c:pt>
                <c:pt idx="2329">
                  <c:v>3.4892268383165868</c:v>
                </c:pt>
                <c:pt idx="2330">
                  <c:v>3.4967999901727151</c:v>
                </c:pt>
                <c:pt idx="2331">
                  <c:v>3.4879370071002143</c:v>
                </c:pt>
                <c:pt idx="2332">
                  <c:v>3.4754747807286934</c:v>
                </c:pt>
                <c:pt idx="2333">
                  <c:v>3.4650455740363126</c:v>
                </c:pt>
                <c:pt idx="2334">
                  <c:v>3.4622693658944059</c:v>
                </c:pt>
                <c:pt idx="2335">
                  <c:v>3.457005626120925</c:v>
                </c:pt>
                <c:pt idx="2336">
                  <c:v>3.4354347345404519</c:v>
                </c:pt>
                <c:pt idx="2337">
                  <c:v>3.3941908458835957</c:v>
                </c:pt>
                <c:pt idx="2338">
                  <c:v>3.394184703830184</c:v>
                </c:pt>
                <c:pt idx="2339">
                  <c:v>3.39605803012063</c:v>
                </c:pt>
                <c:pt idx="2340">
                  <c:v>3.3745547011276806</c:v>
                </c:pt>
                <c:pt idx="2341">
                  <c:v>3.3498636464142693</c:v>
                </c:pt>
                <c:pt idx="2342">
                  <c:v>3.3429968307004398</c:v>
                </c:pt>
                <c:pt idx="2343">
                  <c:v>3.3356755030341736</c:v>
                </c:pt>
                <c:pt idx="2344">
                  <c:v>3.3393423089207181</c:v>
                </c:pt>
                <c:pt idx="2345">
                  <c:v>3.3455703510797727</c:v>
                </c:pt>
                <c:pt idx="2346">
                  <c:v>3.3411235044099952</c:v>
                </c:pt>
                <c:pt idx="2347">
                  <c:v>3.3289745227624503</c:v>
                </c:pt>
                <c:pt idx="2348">
                  <c:v>3.3194420558681186</c:v>
                </c:pt>
                <c:pt idx="2349">
                  <c:v>3.319595607203401</c:v>
                </c:pt>
                <c:pt idx="2350">
                  <c:v>3.3197184482716264</c:v>
                </c:pt>
                <c:pt idx="2351">
                  <c:v>3.3323649362454857</c:v>
                </c:pt>
                <c:pt idx="2352">
                  <c:v>3.3407181288848489</c:v>
                </c:pt>
                <c:pt idx="2353">
                  <c:v>3.3191595214111986</c:v>
                </c:pt>
                <c:pt idx="2354">
                  <c:v>3.3244601135051477</c:v>
                </c:pt>
                <c:pt idx="2355">
                  <c:v>3.3330098518536726</c:v>
                </c:pt>
                <c:pt idx="2356">
                  <c:v>3.3440901162076511</c:v>
                </c:pt>
                <c:pt idx="2357">
                  <c:v>3.361410706827507</c:v>
                </c:pt>
                <c:pt idx="2358">
                  <c:v>3.3523204677787874</c:v>
                </c:pt>
                <c:pt idx="2359">
                  <c:v>3.3665086111588822</c:v>
                </c:pt>
                <c:pt idx="2360">
                  <c:v>3.3369039137164331</c:v>
                </c:pt>
                <c:pt idx="2361">
                  <c:v>3.3511043412033508</c:v>
                </c:pt>
                <c:pt idx="2362">
                  <c:v>3.3397538264992748</c:v>
                </c:pt>
                <c:pt idx="2363">
                  <c:v>3.3353622583101981</c:v>
                </c:pt>
                <c:pt idx="2364">
                  <c:v>3.327752254133602</c:v>
                </c:pt>
                <c:pt idx="2365">
                  <c:v>3.3458958799105716</c:v>
                </c:pt>
                <c:pt idx="2366">
                  <c:v>3.3665331793725275</c:v>
                </c:pt>
                <c:pt idx="2367">
                  <c:v>3.3712748446060492</c:v>
                </c:pt>
                <c:pt idx="2368">
                  <c:v>3.4073286981303594</c:v>
                </c:pt>
                <c:pt idx="2369">
                  <c:v>3.4047367515907925</c:v>
                </c:pt>
                <c:pt idx="2370">
                  <c:v>3.4063951060118427</c:v>
                </c:pt>
                <c:pt idx="2371">
                  <c:v>3.4217379554332616</c:v>
                </c:pt>
                <c:pt idx="2372">
                  <c:v>3.4384566248188113</c:v>
                </c:pt>
                <c:pt idx="2373">
                  <c:v>3.4416566346460966</c:v>
                </c:pt>
                <c:pt idx="2374">
                  <c:v>3.4515207724246388</c:v>
                </c:pt>
                <c:pt idx="2375">
                  <c:v>3.4760091393754773</c:v>
                </c:pt>
                <c:pt idx="2376">
                  <c:v>3.4523868019556314</c:v>
                </c:pt>
                <c:pt idx="2377">
                  <c:v>3.4472213350367307</c:v>
                </c:pt>
                <c:pt idx="2378">
                  <c:v>3.4419146008893704</c:v>
                </c:pt>
                <c:pt idx="2379">
                  <c:v>3.4123836080878571</c:v>
                </c:pt>
                <c:pt idx="2380">
                  <c:v>3.4096135419993625</c:v>
                </c:pt>
                <c:pt idx="2381">
                  <c:v>3.4044050807065833</c:v>
                </c:pt>
                <c:pt idx="2382">
                  <c:v>3.3978883620371967</c:v>
                </c:pt>
                <c:pt idx="2383">
                  <c:v>3.3800518389307923</c:v>
                </c:pt>
                <c:pt idx="2384">
                  <c:v>3.3855919711077811</c:v>
                </c:pt>
                <c:pt idx="2385">
                  <c:v>3.3883620371962762</c:v>
                </c:pt>
                <c:pt idx="2386">
                  <c:v>3.4026177431638955</c:v>
                </c:pt>
                <c:pt idx="2387">
                  <c:v>3.4056027811217855</c:v>
                </c:pt>
                <c:pt idx="2388">
                  <c:v>3.4029924084219845</c:v>
                </c:pt>
                <c:pt idx="2389">
                  <c:v>3.3956833648625415</c:v>
                </c:pt>
                <c:pt idx="2390">
                  <c:v>3.3906775913323353</c:v>
                </c:pt>
                <c:pt idx="2391">
                  <c:v>3.3978453676633178</c:v>
                </c:pt>
                <c:pt idx="2392">
                  <c:v>3.3851681694224021</c:v>
                </c:pt>
                <c:pt idx="2393">
                  <c:v>3.3871152003537834</c:v>
                </c:pt>
                <c:pt idx="2394">
                  <c:v>3.4104058668894197</c:v>
                </c:pt>
                <c:pt idx="2395">
                  <c:v>3.4144043436601739</c:v>
                </c:pt>
                <c:pt idx="2396">
                  <c:v>3.4203068569884296</c:v>
                </c:pt>
                <c:pt idx="2397">
                  <c:v>3.4299867331646321</c:v>
                </c:pt>
                <c:pt idx="2398">
                  <c:v>3.4377257204628662</c:v>
                </c:pt>
                <c:pt idx="2399">
                  <c:v>3.4294278063042043</c:v>
                </c:pt>
                <c:pt idx="2400">
                  <c:v>3.4123528978208002</c:v>
                </c:pt>
                <c:pt idx="2401">
                  <c:v>3.4116772719455573</c:v>
                </c:pt>
                <c:pt idx="2402">
                  <c:v>3.4180281551728373</c:v>
                </c:pt>
                <c:pt idx="2403">
                  <c:v>3.4261848021030392</c:v>
                </c:pt>
                <c:pt idx="2404">
                  <c:v>3.434617841436749</c:v>
                </c:pt>
                <c:pt idx="2405">
                  <c:v>3.4220143478367686</c:v>
                </c:pt>
                <c:pt idx="2406">
                  <c:v>3.3967029457288156</c:v>
                </c:pt>
                <c:pt idx="2407">
                  <c:v>3.4317126501732051</c:v>
                </c:pt>
                <c:pt idx="2408">
                  <c:v>3.4528843082819436</c:v>
                </c:pt>
                <c:pt idx="2409">
                  <c:v>3.4702663194359129</c:v>
                </c:pt>
                <c:pt idx="2410">
                  <c:v>3.4862356583052843</c:v>
                </c:pt>
                <c:pt idx="2411">
                  <c:v>3.4838156892612333</c:v>
                </c:pt>
                <c:pt idx="2412">
                  <c:v>3.4605495909392423</c:v>
                </c:pt>
                <c:pt idx="2413">
                  <c:v>3.4465027147876079</c:v>
                </c:pt>
                <c:pt idx="2414">
                  <c:v>3.4570547625482146</c:v>
                </c:pt>
                <c:pt idx="2415">
                  <c:v>3.4860636808097683</c:v>
                </c:pt>
                <c:pt idx="2416">
                  <c:v>3.4725450212515052</c:v>
                </c:pt>
                <c:pt idx="2417">
                  <c:v>3.4668390536324107</c:v>
                </c:pt>
                <c:pt idx="2418">
                  <c:v>3.4369333955728076</c:v>
                </c:pt>
                <c:pt idx="2419">
                  <c:v>3.4468159595115835</c:v>
                </c:pt>
                <c:pt idx="2420">
                  <c:v>3.4558939144534802</c:v>
                </c:pt>
                <c:pt idx="2421">
                  <c:v>3.437308060830897</c:v>
                </c:pt>
                <c:pt idx="2422">
                  <c:v>3.4461710439033975</c:v>
                </c:pt>
                <c:pt idx="2423">
                  <c:v>3.4437547600913936</c:v>
                </c:pt>
                <c:pt idx="2424">
                  <c:v>3.4540601938177899</c:v>
                </c:pt>
                <c:pt idx="2425">
                  <c:v>3.4520794799260139</c:v>
                </c:pt>
                <c:pt idx="2426">
                  <c:v>3.4576951284872073</c:v>
                </c:pt>
                <c:pt idx="2427">
                  <c:v>3.4469799050911005</c:v>
                </c:pt>
                <c:pt idx="2428">
                  <c:v>3.43110434120335</c:v>
                </c:pt>
                <c:pt idx="2429">
                  <c:v>3.4354531607006855</c:v>
                </c:pt>
                <c:pt idx="2430">
                  <c:v>3.423358389350641</c:v>
                </c:pt>
                <c:pt idx="2431">
                  <c:v>3.4529529876064529</c:v>
                </c:pt>
                <c:pt idx="2432">
                  <c:v>3.4396692416494394</c:v>
                </c:pt>
                <c:pt idx="2433">
                  <c:v>3.4308834729626803</c:v>
                </c:pt>
                <c:pt idx="2434">
                  <c:v>3.4247604922435566</c:v>
                </c:pt>
                <c:pt idx="2435">
                  <c:v>3.4067656765676566</c:v>
                </c:pt>
                <c:pt idx="2436">
                  <c:v>3.4239057389901895</c:v>
                </c:pt>
                <c:pt idx="2437">
                  <c:v>3.4418911843107391</c:v>
                </c:pt>
                <c:pt idx="2438">
                  <c:v>3.406054836252856</c:v>
                </c:pt>
                <c:pt idx="2439">
                  <c:v>3.3678190621259927</c:v>
                </c:pt>
                <c:pt idx="2440">
                  <c:v>3.3529058527154496</c:v>
                </c:pt>
                <c:pt idx="2441">
                  <c:v>3.34290111703478</c:v>
                </c:pt>
                <c:pt idx="2442">
                  <c:v>3.3671847954026166</c:v>
                </c:pt>
                <c:pt idx="2443">
                  <c:v>3.4006283320639752</c:v>
                </c:pt>
                <c:pt idx="2444">
                  <c:v>3.447596682745198</c:v>
                </c:pt>
                <c:pt idx="2445">
                  <c:v>3.442569497334349</c:v>
                </c:pt>
                <c:pt idx="2446">
                  <c:v>3.355402023718856</c:v>
                </c:pt>
                <c:pt idx="2447">
                  <c:v>3.3657654226961156</c:v>
                </c:pt>
                <c:pt idx="2448">
                  <c:v>3.302284843869002</c:v>
                </c:pt>
                <c:pt idx="2449">
                  <c:v>3.3700019040365579</c:v>
                </c:pt>
                <c:pt idx="2450">
                  <c:v>3.1414699162223916</c:v>
                </c:pt>
                <c:pt idx="2451">
                  <c:v>3.1701256664127953</c:v>
                </c:pt>
              </c:numCache>
            </c:numRef>
          </c:val>
          <c:smooth val="0"/>
          <c:extLst>
            <c:ext xmlns:c16="http://schemas.microsoft.com/office/drawing/2014/chart" uri="{C3380CC4-5D6E-409C-BE32-E72D297353CC}">
              <c16:uniqueId val="{00000006-29A8-CF42-9633-B19AC805DF98}"/>
            </c:ext>
          </c:extLst>
        </c:ser>
        <c:ser>
          <c:idx val="7"/>
          <c:order val="7"/>
          <c:tx>
            <c:strRef>
              <c:f>'DRT Rolling Mean'!$J$1</c:f>
              <c:strCache>
                <c:ptCount val="1"/>
                <c:pt idx="0">
                  <c:v>PUMP FAILURE (1 or 0)</c:v>
                </c:pt>
              </c:strCache>
            </c:strRef>
          </c:tx>
          <c:spPr>
            <a:ln w="28575" cap="rnd">
              <a:solidFill>
                <a:schemeClr val="accent2">
                  <a:lumMod val="60000"/>
                </a:schemeClr>
              </a:solidFill>
              <a:round/>
            </a:ln>
            <a:effectLst/>
          </c:spPr>
          <c:marker>
            <c:symbol val="none"/>
          </c:marker>
          <c:cat>
            <c:numRef>
              <c:f>'DRT Rolling Mean'!$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J$2:$J$2453</c:f>
              <c:numCache>
                <c:formatCode>General</c:formatCode>
                <c:ptCount val="24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7-29A8-CF42-9633-B19AC805DF98}"/>
            </c:ext>
          </c:extLst>
        </c:ser>
        <c:dLbls>
          <c:showLegendKey val="0"/>
          <c:showVal val="0"/>
          <c:showCatName val="0"/>
          <c:showSerName val="0"/>
          <c:showPercent val="0"/>
          <c:showBubbleSize val="0"/>
        </c:dLbls>
        <c:marker val="1"/>
        <c:smooth val="0"/>
        <c:axId val="2065883247"/>
        <c:axId val="2065581919"/>
      </c:lineChart>
      <c:catAx>
        <c:axId val="2091304751"/>
        <c:scaling>
          <c:orientation val="minMax"/>
        </c:scaling>
        <c:delete val="0"/>
        <c:axPos val="b"/>
        <c:numFmt formatCode="m/d/yy\ h:mm"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2043863151"/>
        <c:crosses val="autoZero"/>
        <c:auto val="0"/>
        <c:lblAlgn val="ctr"/>
        <c:lblOffset val="100"/>
        <c:noMultiLvlLbl val="0"/>
      </c:catAx>
      <c:valAx>
        <c:axId val="2043863151"/>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2091304751"/>
        <c:crosses val="autoZero"/>
        <c:crossBetween val="between"/>
      </c:valAx>
      <c:valAx>
        <c:axId val="2065581919"/>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2065883247"/>
        <c:crosses val="max"/>
        <c:crossBetween val="between"/>
      </c:valAx>
      <c:dateAx>
        <c:axId val="2065883247"/>
        <c:scaling>
          <c:orientation val="minMax"/>
        </c:scaling>
        <c:delete val="1"/>
        <c:axPos val="b"/>
        <c:numFmt formatCode="m/d/yy\ h:mm" sourceLinked="1"/>
        <c:majorTickMark val="out"/>
        <c:minorTickMark val="none"/>
        <c:tickLblPos val="nextTo"/>
        <c:crossAx val="2065581919"/>
        <c:crosses val="autoZero"/>
        <c:auto val="1"/>
        <c:lblOffset val="100"/>
        <c:baseTimeUnit val="day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100" b="1"/>
              <a:t>Correlation Strength associated with Pump Failure (Raw)</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cat>
            <c:strRef>
              <c:f>'Inferential Statistics'!$B$15:$H$15</c:f>
              <c:strCache>
                <c:ptCount val="7"/>
                <c:pt idx="0">
                  <c:v>Volumetric Flow Meter 1</c:v>
                </c:pt>
                <c:pt idx="1">
                  <c:v>Volumetric Flow Meter 2</c:v>
                </c:pt>
                <c:pt idx="2">
                  <c:v>Pump Speed (RPM)</c:v>
                </c:pt>
                <c:pt idx="3">
                  <c:v>Pump Torque </c:v>
                </c:pt>
                <c:pt idx="4">
                  <c:v>Ambient Temperature</c:v>
                </c:pt>
                <c:pt idx="5">
                  <c:v>Pump Efficiency</c:v>
                </c:pt>
                <c:pt idx="6">
                  <c:v>Horse Power</c:v>
                </c:pt>
              </c:strCache>
            </c:strRef>
          </c:cat>
          <c:val>
            <c:numRef>
              <c:f>'Inferential Statistics'!$B$23:$H$23</c:f>
              <c:numCache>
                <c:formatCode>General</c:formatCode>
                <c:ptCount val="7"/>
                <c:pt idx="0">
                  <c:v>-0.10248792792254234</c:v>
                </c:pt>
                <c:pt idx="1">
                  <c:v>-0.11211257847446812</c:v>
                </c:pt>
                <c:pt idx="2">
                  <c:v>0.26001285258420193</c:v>
                </c:pt>
                <c:pt idx="3">
                  <c:v>0.23317535657717167</c:v>
                </c:pt>
                <c:pt idx="4">
                  <c:v>0.20801103648864624</c:v>
                </c:pt>
                <c:pt idx="5">
                  <c:v>-0.10268235109678094</c:v>
                </c:pt>
                <c:pt idx="6">
                  <c:v>0.42183658455829925</c:v>
                </c:pt>
              </c:numCache>
            </c:numRef>
          </c:val>
          <c:extLst>
            <c:ext xmlns:c16="http://schemas.microsoft.com/office/drawing/2014/chart" uri="{C3380CC4-5D6E-409C-BE32-E72D297353CC}">
              <c16:uniqueId val="{00000000-741A-524F-A5D7-62752ADAD803}"/>
            </c:ext>
          </c:extLst>
        </c:ser>
        <c:dLbls>
          <c:showLegendKey val="0"/>
          <c:showVal val="0"/>
          <c:showCatName val="0"/>
          <c:showSerName val="0"/>
          <c:showPercent val="0"/>
          <c:showBubbleSize val="0"/>
        </c:dLbls>
        <c:gapWidth val="219"/>
        <c:overlap val="-27"/>
        <c:axId val="612256496"/>
        <c:axId val="612258144"/>
      </c:barChart>
      <c:catAx>
        <c:axId val="6122564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612258144"/>
        <c:crosses val="autoZero"/>
        <c:auto val="1"/>
        <c:lblAlgn val="ctr"/>
        <c:lblOffset val="100"/>
        <c:noMultiLvlLbl val="0"/>
      </c:catAx>
      <c:valAx>
        <c:axId val="6122581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6122564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r>
              <a:rPr lang="en-US" sz="1100" b="1" i="0" baseline="0">
                <a:effectLst/>
              </a:rPr>
              <a:t>Correlation Strength associated with Pump Failure (Rolling Mean)</a:t>
            </a:r>
            <a:endParaRPr lang="en-US" sz="1100">
              <a:effectLst/>
            </a:endParaRPr>
          </a:p>
          <a:p>
            <a:pPr marL="0" marR="0" lvl="0" indent="0" algn="ctr" defTabSz="914400" rtl="0" eaLnBrk="1" fontAlgn="auto" latinLnBrk="0" hangingPunct="1">
              <a:lnSpc>
                <a:spcPct val="100000"/>
              </a:lnSpc>
              <a:spcBef>
                <a:spcPts val="0"/>
              </a:spcBef>
              <a:spcAft>
                <a:spcPts val="0"/>
              </a:spcAft>
              <a:buClrTx/>
              <a:buSzTx/>
              <a:buFontTx/>
              <a:buNone/>
              <a:tabLst/>
              <a:defRPr>
                <a:solidFill>
                  <a:sysClr val="windowText" lastClr="000000">
                    <a:lumMod val="65000"/>
                    <a:lumOff val="35000"/>
                  </a:sysClr>
                </a:solidFill>
              </a:defRPr>
            </a:pPr>
            <a:endParaRPr lang="en-US"/>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cat>
            <c:strRef>
              <c:f>'Inferential Statistics'!$N$15:$T$15</c:f>
              <c:strCache>
                <c:ptCount val="7"/>
                <c:pt idx="0">
                  <c:v>Volumetric Flow Meter 1</c:v>
                </c:pt>
                <c:pt idx="1">
                  <c:v>Volumetric Flow Meter 2</c:v>
                </c:pt>
                <c:pt idx="2">
                  <c:v>Pump Speed (RPM)</c:v>
                </c:pt>
                <c:pt idx="3">
                  <c:v>Pump Torque </c:v>
                </c:pt>
                <c:pt idx="4">
                  <c:v>Ambient Temperature</c:v>
                </c:pt>
                <c:pt idx="5">
                  <c:v>Horse Power</c:v>
                </c:pt>
                <c:pt idx="6">
                  <c:v>Pump Efficiency</c:v>
                </c:pt>
              </c:strCache>
            </c:strRef>
          </c:cat>
          <c:val>
            <c:numRef>
              <c:f>'Inferential Statistics'!$N$23:$T$23</c:f>
              <c:numCache>
                <c:formatCode>General</c:formatCode>
                <c:ptCount val="7"/>
                <c:pt idx="0">
                  <c:v>-0.69244309318419739</c:v>
                </c:pt>
                <c:pt idx="1">
                  <c:v>-0.69773116823026105</c:v>
                </c:pt>
                <c:pt idx="2">
                  <c:v>-0.18417032717917944</c:v>
                </c:pt>
                <c:pt idx="3">
                  <c:v>-0.21602721504457051</c:v>
                </c:pt>
                <c:pt idx="4">
                  <c:v>-0.30265189651678887</c:v>
                </c:pt>
                <c:pt idx="5">
                  <c:v>0.2180319818536855</c:v>
                </c:pt>
                <c:pt idx="6">
                  <c:v>-0.69502775093101643</c:v>
                </c:pt>
              </c:numCache>
            </c:numRef>
          </c:val>
          <c:extLst>
            <c:ext xmlns:c16="http://schemas.microsoft.com/office/drawing/2014/chart" uri="{C3380CC4-5D6E-409C-BE32-E72D297353CC}">
              <c16:uniqueId val="{00000000-F79E-4445-9F02-32FDFF6FC879}"/>
            </c:ext>
          </c:extLst>
        </c:ser>
        <c:dLbls>
          <c:showLegendKey val="0"/>
          <c:showVal val="0"/>
          <c:showCatName val="0"/>
          <c:showSerName val="0"/>
          <c:showPercent val="0"/>
          <c:showBubbleSize val="0"/>
        </c:dLbls>
        <c:gapWidth val="219"/>
        <c:overlap val="-27"/>
        <c:axId val="478553136"/>
        <c:axId val="478559344"/>
      </c:barChart>
      <c:catAx>
        <c:axId val="4785531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478559344"/>
        <c:crosses val="autoZero"/>
        <c:auto val="1"/>
        <c:lblAlgn val="ctr"/>
        <c:lblOffset val="100"/>
        <c:noMultiLvlLbl val="0"/>
      </c:catAx>
      <c:valAx>
        <c:axId val="4785593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4785531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sz="1100" b="1" i="0" baseline="0">
                <a:effectLst/>
              </a:rPr>
              <a:t>Correlation Strength associated with Pump Failure (Rolling Stdev)</a:t>
            </a:r>
            <a:endParaRPr lang="en-US" sz="1100" b="1">
              <a:effectLst/>
            </a:endParaRP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cat>
            <c:strRef>
              <c:f>'Inferential Statistics'!$X$15:$AD$15</c:f>
              <c:strCache>
                <c:ptCount val="7"/>
                <c:pt idx="0">
                  <c:v>Volumetric Flow Meter 1</c:v>
                </c:pt>
                <c:pt idx="1">
                  <c:v>Volumetric Flow Meter 2</c:v>
                </c:pt>
                <c:pt idx="2">
                  <c:v>Pump Speed (RPM)</c:v>
                </c:pt>
                <c:pt idx="3">
                  <c:v>Pump Torque </c:v>
                </c:pt>
                <c:pt idx="4">
                  <c:v>Ambient Temperature</c:v>
                </c:pt>
                <c:pt idx="5">
                  <c:v>Horse Power</c:v>
                </c:pt>
                <c:pt idx="6">
                  <c:v>Pump Efficiency</c:v>
                </c:pt>
              </c:strCache>
            </c:strRef>
          </c:cat>
          <c:val>
            <c:numRef>
              <c:f>'Inferential Statistics'!$X$23:$AD$23</c:f>
              <c:numCache>
                <c:formatCode>General</c:formatCode>
                <c:ptCount val="7"/>
                <c:pt idx="0">
                  <c:v>0.64488041602710289</c:v>
                </c:pt>
                <c:pt idx="1">
                  <c:v>0.62592087058373946</c:v>
                </c:pt>
                <c:pt idx="2">
                  <c:v>0.62455590762221425</c:v>
                </c:pt>
                <c:pt idx="3">
                  <c:v>0.59726041395457108</c:v>
                </c:pt>
                <c:pt idx="4">
                  <c:v>0.60005043132418734</c:v>
                </c:pt>
                <c:pt idx="5">
                  <c:v>0.69010189460739213</c:v>
                </c:pt>
                <c:pt idx="6">
                  <c:v>0.64355468682792749</c:v>
                </c:pt>
              </c:numCache>
            </c:numRef>
          </c:val>
          <c:extLst>
            <c:ext xmlns:c16="http://schemas.microsoft.com/office/drawing/2014/chart" uri="{C3380CC4-5D6E-409C-BE32-E72D297353CC}">
              <c16:uniqueId val="{00000000-F907-604E-AFC8-7A8BBFA27DC6}"/>
            </c:ext>
          </c:extLst>
        </c:ser>
        <c:dLbls>
          <c:showLegendKey val="0"/>
          <c:showVal val="0"/>
          <c:showCatName val="0"/>
          <c:showSerName val="0"/>
          <c:showPercent val="0"/>
          <c:showBubbleSize val="0"/>
        </c:dLbls>
        <c:gapWidth val="219"/>
        <c:overlap val="-27"/>
        <c:axId val="553151632"/>
        <c:axId val="478332560"/>
      </c:barChart>
      <c:catAx>
        <c:axId val="553151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478332560"/>
        <c:crosses val="autoZero"/>
        <c:auto val="1"/>
        <c:lblAlgn val="ctr"/>
        <c:lblOffset val="100"/>
        <c:noMultiLvlLbl val="0"/>
      </c:catAx>
      <c:valAx>
        <c:axId val="47833256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5531516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Coefficient Ranking</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cat>
            <c:strRef>
              <c:f>('Data Preparation'!$O$3:$O$8,'Data Preparation'!$O$10)</c:f>
              <c:strCache>
                <c:ptCount val="7"/>
                <c:pt idx="0">
                  <c:v>Horse Power</c:v>
                </c:pt>
                <c:pt idx="1">
                  <c:v>Pump Efficiency</c:v>
                </c:pt>
                <c:pt idx="2">
                  <c:v>Volumetric Flow Meter 1</c:v>
                </c:pt>
                <c:pt idx="3">
                  <c:v>Ambient Temperature</c:v>
                </c:pt>
                <c:pt idx="4">
                  <c:v>Pump Speed (RPM)</c:v>
                </c:pt>
                <c:pt idx="5">
                  <c:v>Pump Torque </c:v>
                </c:pt>
                <c:pt idx="6">
                  <c:v>Volumetric Flow Meter 2</c:v>
                </c:pt>
              </c:strCache>
            </c:strRef>
          </c:cat>
          <c:val>
            <c:numRef>
              <c:f>('Data Preparation'!$P$3:$P$8,'Data Preparation'!$P$10)</c:f>
              <c:numCache>
                <c:formatCode>General</c:formatCode>
                <c:ptCount val="7"/>
                <c:pt idx="0">
                  <c:v>0.76484538773206445</c:v>
                </c:pt>
                <c:pt idx="1">
                  <c:v>0.34236588972424131</c:v>
                </c:pt>
                <c:pt idx="2">
                  <c:v>5.0933943927024217E-2</c:v>
                </c:pt>
                <c:pt idx="3">
                  <c:v>1.8206887296729E-2</c:v>
                </c:pt>
                <c:pt idx="4">
                  <c:v>-1.7867336051636543E-2</c:v>
                </c:pt>
                <c:pt idx="5">
                  <c:v>-1.8901994708885334E-2</c:v>
                </c:pt>
                <c:pt idx="6">
                  <c:v>-0.61136432959094578</c:v>
                </c:pt>
              </c:numCache>
            </c:numRef>
          </c:val>
          <c:extLst>
            <c:ext xmlns:c16="http://schemas.microsoft.com/office/drawing/2014/chart" uri="{C3380CC4-5D6E-409C-BE32-E72D297353CC}">
              <c16:uniqueId val="{00000000-A555-334B-909B-6A1C5DD35FF5}"/>
            </c:ext>
          </c:extLst>
        </c:ser>
        <c:dLbls>
          <c:showLegendKey val="0"/>
          <c:showVal val="0"/>
          <c:showCatName val="0"/>
          <c:showSerName val="0"/>
          <c:showPercent val="0"/>
          <c:showBubbleSize val="0"/>
        </c:dLbls>
        <c:gapWidth val="219"/>
        <c:overlap val="-27"/>
        <c:axId val="549440816"/>
        <c:axId val="568437664"/>
      </c:barChart>
      <c:catAx>
        <c:axId val="5494408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568437664"/>
        <c:crosses val="autoZero"/>
        <c:auto val="1"/>
        <c:lblAlgn val="ctr"/>
        <c:lblOffset val="100"/>
        <c:noMultiLvlLbl val="0"/>
      </c:catAx>
      <c:valAx>
        <c:axId val="5684376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54944081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RT Rolling Stdev'!$L$2:$L$53</cx:f>
        <cx:lvl ptCount="52" formatCode="#,##0.00">
          <cx:pt idx="0">3.6859447236423835</cx:pt>
          <cx:pt idx="1">3.6262514922516709</cx:pt>
          <cx:pt idx="2">3.549750922134594</cx:pt>
          <cx:pt idx="3">3.6957160039171288</cx:pt>
          <cx:pt idx="4">3.7049840460667567</cx:pt>
          <cx:pt idx="5">3.8056543533893437</cx:pt>
          <cx:pt idx="6">3.8042768430873397</cx:pt>
          <cx:pt idx="7">3.7540697303366497</cx:pt>
          <cx:pt idx="8">3.6815697551545816</cx:pt>
          <cx:pt idx="9">3.7168944675304707</cx:pt>
          <cx:pt idx="10">3.7393320443537825</cx:pt>
          <cx:pt idx="11">3.6925906552346737</cx:pt>
          <cx:pt idx="12">3.7510804726963243</cx:pt>
          <cx:pt idx="13">3.6521676133307563</cx:pt>
          <cx:pt idx="14">3.6787869065016907</cx:pt>
          <cx:pt idx="15">3.6275002633934488</cx:pt>
          <cx:pt idx="16">3.6352075309538314</cx:pt>
          <cx:pt idx="17">3.6307562462302854</cx:pt>
          <cx:pt idx="18">3.6082160396109528</cx:pt>
          <cx:pt idx="19">3.6289000423325772</cx:pt>
          <cx:pt idx="20">3.6305926972511435</cx:pt>
          <cx:pt idx="21">3.3859207477944353</cx:pt>
          <cx:pt idx="22">3.3891540327154308</cx:pt>
          <cx:pt idx="23">7.592318478900749</cx:pt>
          <cx:pt idx="24">10.125905896752407</cx:pt>
          <cx:pt idx="25">12.025120182447221</cx:pt>
          <cx:pt idx="26">13.539455433963202</cx:pt>
          <cx:pt idx="27">14.813072857151017</cx:pt>
          <cx:pt idx="28">15.803068652972888</cx:pt>
          <cx:pt idx="29">16.708645170936975</cx:pt>
          <cx:pt idx="30">17.500400376372333</cx:pt>
          <cx:pt idx="31">18.062269778193155</cx:pt>
          <cx:pt idx="32">18.498970648592074</cx:pt>
          <cx:pt idx="33">18.653300789533933</cx:pt>
          <cx:pt idx="34">18.687649375868599</cx:pt>
          <cx:pt idx="35">18.619695245478177</cx:pt>
          <cx:pt idx="36">18.576639108695428</cx:pt>
          <cx:pt idx="37">18.597607870523216</cx:pt>
          <cx:pt idx="38">18.548949023733325</cx:pt>
          <cx:pt idx="39">18.68809665099101</cx:pt>
          <cx:pt idx="40">18.874144401708694</cx:pt>
          <cx:pt idx="41">19.051476489678734</cx:pt>
          <cx:pt idx="42">19.370010251066898</cx:pt>
          <cx:pt idx="43">19.582697233004964</cx:pt>
          <cx:pt idx="44">19.879510936073636</cx:pt>
          <cx:pt idx="45">20.068964330785604</cx:pt>
          <cx:pt idx="46">20.235473563641342</cx:pt>
          <cx:pt idx="47">20.367988522109432</cx:pt>
          <cx:pt idx="48">20.595699096276579</cx:pt>
          <cx:pt idx="49">20.740150258824563</cx:pt>
          <cx:pt idx="50">20.960055850697721</cx:pt>
          <cx:pt idx="51">21.100652340517868</cx:pt>
        </cx:lvl>
      </cx:numDim>
    </cx:data>
    <cx:data id="1">
      <cx:numDim type="val">
        <cx:f>'DRT Rolling Stdev'!$M$2:$M$53</cx:f>
        <cx:lvl ptCount="52" formatCode="#,##0.00">
          <cx:pt idx="0">3.3233478481104313</cx:pt>
          <cx:pt idx="1">3.2450060836242858</cx:pt>
          <cx:pt idx="2">3.2750340175472923</cx:pt>
          <cx:pt idx="3">3.2154637140779134</cx:pt>
          <cx:pt idx="4">3.0898896308823858</cx:pt>
          <cx:pt idx="5">3.2022363772982083</cx:pt>
          <cx:pt idx="6">3.2256755329199129</cx:pt>
          <cx:pt idx="7">3.2884237218936136</cx:pt>
          <cx:pt idx="8">3.3174300397997123</cx:pt>
          <cx:pt idx="9">3.3679238974938768</cx:pt>
          <cx:pt idx="10">3.2687457786614802</cx:pt>
          <cx:pt idx="11">3.1541285478800205</cx:pt>
          <cx:pt idx="12">2.954604510944224</cx:pt>
          <cx:pt idx="13">3.0336049834153256</cx:pt>
          <cx:pt idx="14">2.8609749162242526</cx:pt>
          <cx:pt idx="15">2.8537981144714708</cx:pt>
          <cx:pt idx="16">2.8630175584913702</cx:pt>
          <cx:pt idx="17">2.8710314739023555</cx:pt>
          <cx:pt idx="18">2.8275439364656529</cx:pt>
          <cx:pt idx="19">2.8324586006044172</cx:pt>
          <cx:pt idx="20">2.9002193535749274</cx:pt>
          <cx:pt idx="21">2.9025030022656169</cx:pt>
          <cx:pt idx="22">2.8980953713791404</cx:pt>
          <cx:pt idx="23">7.4396718194829923</cx:pt>
          <cx:pt idx="24">10.020698285944512</cx:pt>
          <cx:pt idx="25">11.929076950734771</cx:pt>
          <cx:pt idx="26">13.289192934507895</cx:pt>
          <cx:pt idx="27">14.4487448287537</cx:pt>
          <cx:pt idx="28">15.354131455690373</cx:pt>
          <cx:pt idx="29">16.140814490408882</cx:pt>
          <cx:pt idx="30">16.697098808496335</cx:pt>
          <cx:pt idx="31">17.290679985697967</cx:pt>
          <cx:pt idx="32">17.789734961488332</cx:pt>
          <cx:pt idx="33">18.131687700006719</cx:pt>
          <cx:pt idx="34">18.258665462808572</cx:pt>
          <cx:pt idx="35">18.490391667646975</cx:pt>
          <cx:pt idx="36">18.586752175589517</cx:pt>
          <cx:pt idx="37">18.634483696729522</cx:pt>
          <cx:pt idx="38">18.557030442680606</cx:pt>
          <cx:pt idx="39">18.826168801010414</cx:pt>
          <cx:pt idx="40">19.058814342396303</cx:pt>
          <cx:pt idx="41">19.199724626856668</cx:pt>
          <cx:pt idx="42">19.423466033605351</cx:pt>
          <cx:pt idx="43">19.711591668151865</cx:pt>
          <cx:pt idx="44">19.818303118727073</cx:pt>
          <cx:pt idx="45">20.07091829076295</cx:pt>
          <cx:pt idx="46">20.264715637902682</cx:pt>
          <cx:pt idx="47">20.419601254733131</cx:pt>
          <cx:pt idx="48">20.62527909947001</cx:pt>
          <cx:pt idx="49">20.768136004549088</cx:pt>
          <cx:pt idx="50">21.035136727067801</cx:pt>
          <cx:pt idx="51">21.297591761220005</cx:pt>
        </cx:lvl>
      </cx:numDim>
    </cx:data>
    <cx:data id="2">
      <cx:numDim type="val">
        <cx:f>'DRT Rolling Stdev'!$N$2:$N$53</cx:f>
        <cx:lvl ptCount="52" formatCode="#,##0.00">
          <cx:pt idx="0">4.9597228324486684</cx:pt>
          <cx:pt idx="1">4.9785747856742812</cx:pt>
          <cx:pt idx="2">4.8953414401951525</cx:pt>
          <cx:pt idx="3">4.9452171250404264</cx:pt>
          <cx:pt idx="4">4.8457826194952558</cx:pt>
          <cx:pt idx="5">4.9304356199324664</cx:pt>
          <cx:pt idx="6">4.8258165886331028</cx:pt>
          <cx:pt idx="7">4.7773411544233602</cx:pt>
          <cx:pt idx="8">4.9251874344402182</cx:pt>
          <cx:pt idx="9">4.9874555279900159</cx:pt>
          <cx:pt idx="10">5.1523903614518192</cx:pt>
          <cx:pt idx="11">5.1417828653573814</cx:pt>
          <cx:pt idx="12">5.3170729135320389</cx:pt>
          <cx:pt idx="13">5.4810016703468385</cx:pt>
          <cx:pt idx="14">5.7300378125570282</cx:pt>
          <cx:pt idx="15">6.0114832640940428</cx:pt>
          <cx:pt idx="16">6.7654463539234495</cx:pt>
          <cx:pt idx="17">6.9725240733914271</cx:pt>
          <cx:pt idx="18">7.079596715574441</cx:pt>
          <cx:pt idx="19">7.4358559711030248</cx:pt>
          <cx:pt idx="20">7.4633972727287343</cx:pt>
          <cx:pt idx="21">7.5197823397211181</cx:pt>
          <cx:pt idx="22">7.5539439344965524</cx:pt>
          <cx:pt idx="23">21.554235256006294</cx:pt>
          <cx:pt idx="24">29.085466608189257</cx:pt>
          <cx:pt idx="25">34.607237964625703</cx:pt>
          <cx:pt idx="26">39.109689542259908</cx:pt>
          <cx:pt idx="27">42.84937532236895</cx:pt>
          <cx:pt idx="28">46.03866441035899</cx:pt>
          <cx:pt idx="29">48.776336829273667</cx:pt>
          <cx:pt idx="30">51.170674521980686</cx:pt>
          <cx:pt idx="31">53.087392706440347</cx:pt>
          <cx:pt idx="32">54.850853156118028</cx:pt>
          <cx:pt idx="33">56.083732556520026</cx:pt>
          <cx:pt idx="34">57.183672615468694</cx:pt>
          <cx:pt idx="35">58.19582479000109</cx:pt>
          <cx:pt idx="36">58.825369849504852</cx:pt>
          <cx:pt idx="37">59.309058058749272</cx:pt>
          <cx:pt idx="38">59.29920237489582</cx:pt>
          <cx:pt idx="39">58.951138933944229</cx:pt>
          <cx:pt idx="40">58.282861580596645</cx:pt>
          <cx:pt idx="41">58.041602202272955</cx:pt>
          <cx:pt idx="42">57.533038983810371</cx:pt>
          <cx:pt idx="43">56.787251685770002</cx:pt>
          <cx:pt idx="44">55.963463039757457</cx:pt>
          <cx:pt idx="45">55.177133777988345</cx:pt>
          <cx:pt idx="46">53.750049451995423</cx:pt>
          <cx:pt idx="47">52.755878901035189</cx:pt>
          <cx:pt idx="48">51.678003947076199</cx:pt>
          <cx:pt idx="49">50.215180651035119</cx:pt>
          <cx:pt idx="50">48.962112962443996</cx:pt>
          <cx:pt idx="51">47.295063045795246</cx:pt>
        </cx:lvl>
      </cx:numDim>
    </cx:data>
    <cx:data id="3">
      <cx:numDim type="val">
        <cx:f>'DRT Rolling Stdev'!$O$2:$O$53</cx:f>
        <cx:lvl ptCount="52" formatCode="#,##0.00">
          <cx:pt idx="0">9.2331860231412541</cx:pt>
          <cx:pt idx="1">9.2501009624810013</cx:pt>
          <cx:pt idx="2">9.0114231465644075</cx:pt>
          <cx:pt idx="3">8.9776862595388476</cx:pt>
          <cx:pt idx="4">8.9776862595388476</cx:pt>
          <cx:pt idx="5">9.2973856169540916</cx:pt>
          <cx:pt idx="6">9.2828478587024197</cx:pt>
          <cx:pt idx="7">8.9499887625948844</cx:pt>
          <cx:pt idx="8">8.7913881581424018</cx:pt>
          <cx:pt idx="9">8.4189168495442601</cx:pt>
          <cx:pt idx="10">8.3891692627780632</cx:pt>
          <cx:pt idx="11">8.4074406017089629</cx:pt>
          <cx:pt idx="12">8.2684833005790122</cx:pt>
          <cx:pt idx="13">8.143045830787079</cx:pt>
          <cx:pt idx="14">7.8198832927764128</cx:pt>
          <cx:pt idx="15">7.6282144157341172</cx:pt>
          <cx:pt idx="16">8.2101703119803879</cx:pt>
          <cx:pt idx="17">8.865599278938376</cx:pt>
          <cx:pt idx="18">9.3526688059132859</cx:pt>
          <cx:pt idx="19">9.302329457363534</cx:pt>
          <cx:pt idx="20">9.2828478587024179</cx:pt>
          <cx:pt idx="21">9.635900306283979</cx:pt>
          <cx:pt idx="22">10.611260555405876</cx:pt>
          <cx:pt idx="23">45.1796414328401</cx:pt>
          <cx:pt idx="24">62.013309657787538</cx:pt>
          <cx:pt idx="25">74.18483440146251</cx:pt>
          <cx:pt idx="26">83.916084247313989</cx:pt>
          <cx:pt idx="27">92.024116029628246</cx:pt>
          <cx:pt idx="28">98.960435609853462</cx:pt>
          <cx:pt idx="29">104.76179877588309</cx:pt>
          <cx:pt idx="30">109.848359427738</cx:pt>
          <cx:pt idx="31">114.04558475582846</cx:pt>
          <cx:pt idx="32">117.2801391305568</cx:pt>
          <cx:pt idx="33">120.14414713981711</cx:pt>
          <cx:pt idx="34">122.008050422159</cx:pt>
          <cx:pt idx="35">123.2671148733327</cx:pt>
          <cx:pt idx="36">124.28598833557918</cx:pt>
          <cx:pt idx="37">124.71141860725699</cx:pt>
          <cx:pt idx="38">124.7081420343322</cx:pt>
          <cx:pt idx="39">123.47762140770993</cx:pt>
          <cx:pt idx="40">122.00275105245707</cx:pt>
          <cx:pt idx="41">120.90021058517735</cx:pt>
          <cx:pt idx="42">119.85961136588759</cx:pt>
          <cx:pt idx="43">119.34548034241146</cx:pt>
          <cx:pt idx="44">117.41524700772491</cx:pt>
          <cx:pt idx="45">115.90071553734673</cx:pt>
          <cx:pt idx="46">113.66840258896241</cx:pt>
          <cx:pt idx="47">111.23840505248486</cx:pt>
          <cx:pt idx="48">109.7465209041941</cx:pt>
          <cx:pt idx="49">108.29910157660059</cx:pt>
          <cx:pt idx="50">107.511902575493</cx:pt>
          <cx:pt idx="51">104.92712851713124</cx:pt>
        </cx:lvl>
      </cx:numDim>
    </cx:data>
    <cx:data id="4">
      <cx:numDim type="val">
        <cx:f>'DRT Rolling Stdev'!$P$2:$P$53</cx:f>
        <cx:lvl ptCount="52" formatCode="#,##0.00">
          <cx:pt idx="0">1.943157757096813</cx:pt>
          <cx:pt idx="1">1.959650449712262</cx:pt>
          <cx:pt idx="2">1.9241358711314307</cx:pt>
          <cx:pt idx="3">1.8708286933869707</cx:pt>
          <cx:pt idx="4">1.9226418606016904</cx:pt>
          <cx:pt idx="5">1.9678449616530895</cx:pt>
          <cx:pt idx="6">1.9678449616530895</cx:pt>
          <cx:pt idx="7">1.9678449616530895</cx:pt>
          <cx:pt idx="8">1.9771685315872416</cx:pt>
          <cx:pt idx="9">1.9369367924460095</cx:pt>
          <cx:pt idx="10">1.9596504497122615</cx:pt>
          <cx:pt idx="11">1.9988502442280593</cx:pt>
          <cx:pt idx="12">1.9428619723691549</cx:pt>
          <cx:pt idx="13">1.9025089303036291</cx:pt>
          <cx:pt idx="14">2.1668876987168884</cx:pt>
          <cx:pt idx="15">2.5152408993194264</cx:pt>
          <cx:pt idx="16">2.6952491194863519</cx:pt>
          <cx:pt idx="17">2.7628487713469467</cx:pt>
          <cx:pt idx="18">2.7728154909994349</cx:pt>
          <cx:pt idx="19">2.9796242916750817</cx:pt>
          <cx:pt idx="20">2.9703515794846789</cx:pt>
          <cx:pt idx="21">3.0820205344404576</cx:pt>
          <cx:pt idx="22">3.110974271758002</cx:pt>
          <cx:pt idx="23">11.156978126694534</cx:pt>
          <cx:pt idx="24">15.22686675795017</cx:pt>
          <cx:pt idx="25">18.202848078279381</cx:pt>
          <cx:pt idx="26">20.562771851258201</cx:pt>
          <cx:pt idx="27">22.501315414932936</cx:pt>
          <cx:pt idx="28">24.164783913976876</cx:pt>
          <cx:pt idx="29">25.606415324037968</cx:pt>
          <cx:pt idx="30">26.832473035398774</cx:pt>
          <cx:pt idx="31">27.880471474764779</cx:pt>
          <cx:pt idx="32">28.7098245029207</cx:pt>
          <cx:pt idx="33">29.407638385329395</cx:pt>
          <cx:pt idx="34">29.914072342928016</cx:pt>
          <cx:pt idx="35">30.280223810648899</cx:pt>
          <cx:pt idx="36">30.511143620937439</cx:pt>
          <cx:pt idx="37">30.641962813394827</cx:pt>
          <cx:pt idx="38">30.646313835829229</cx:pt>
          <cx:pt idx="39">30.438273698538268</cx:pt>
          <cx:pt idx="40">30.184204592742738</cx:pt>
          <cx:pt idx="41">30.071734160209299</cx:pt>
          <cx:pt idx="42">29.728058652800854</cx:pt>
          <cx:pt idx="43">29.58807230943756</cx:pt>
          <cx:pt idx="44">29.25244856634119</cx:pt>
          <cx:pt idx="45">28.666933973626755</cx:pt>
          <cx:pt idx="46">28.072177087585878</cx:pt>
          <cx:pt idx="47">27.519710804414728</cx:pt>
          <cx:pt idx="48">27.19467916178905</cx:pt>
          <cx:pt idx="49">26.54514696863076</cx:pt>
          <cx:pt idx="50">26.173690396379286</cx:pt>
          <cx:pt idx="51">25.640216256014153</cx:pt>
        </cx:lvl>
      </cx:numDim>
    </cx:data>
    <cx:data id="5">
      <cx:numDim type="val">
        <cx:f>'DRT Rolling Stdev'!$Q$2:$Q$53</cx:f>
        <cx:lvl ptCount="52" formatCode="#,##0.00">
          <cx:pt idx="0">0.29841759708900018</cx:pt>
          <cx:pt idx="1">0.29844375424646186</cx:pt>
          <cx:pt idx="2">0.29873212587542813</cx:pt>
          <cx:pt idx="3">0.29370314730846692</cx:pt>
          <cx:pt idx="4">0.30023569702807384</cx:pt>
          <cx:pt idx="5">0.29951609052471112</cx:pt>
          <cx:pt idx="6">0.29822002425930011</cx:pt>
          <cx:pt idx="7">0.28581105405410567</cx:pt>
          <cx:pt idx="8">0.29395908129424941</cx:pt>
          <cx:pt idx="9">0.29229332491972737</cx:pt>
          <cx:pt idx="10">0.29579066277669624</cx:pt>
          <cx:pt idx="11">0.29631333839124308</cx:pt>
          <cx:pt idx="12">0.29824386325746671</cx:pt>
          <cx:pt idx="13">0.30377961612123633</cx:pt>
          <cx:pt idx="14">0.46516556678584514</cx:pt>
          <cx:pt idx="15">0.57266424350409362</cx:pt>
          <cx:pt idx="16">0.74938209397867328</cx:pt>
          <cx:pt idx="17">0.84432825697973757</cx:pt>
          <cx:pt idx="18">0.91708550563110436</cx:pt>
          <cx:pt idx="19">0.98082833049188589</cx:pt>
          <cx:pt idx="20">1.011056306955358</cx:pt>
          <cx:pt idx="21">1.0667784825930073</cx:pt>
          <cx:pt idx="22">1.1222239680811481</cx:pt>
          <cx:pt idx="23">1.5060433095362169</cx:pt>
          <cx:pt idx="24">1.789905892300542</cx:pt>
          <cx:pt idx="25">2.0245690458905723</cx:pt>
          <cx:pt idx="26">2.2213846184880786</cx:pt>
          <cx:pt idx="27">2.3920374019345618</cx:pt>
          <cx:pt idx="28">2.5414503714833838</cx:pt>
          <cx:pt idx="29">2.674702046732405</cx:pt>
          <cx:pt idx="30">2.7935807069300411</cx:pt>
          <cx:pt idx="31">2.8978632053102724</cx:pt>
          <cx:pt idx="32">2.9909762875525292</cx:pt>
          <cx:pt idx="33">3.0690770506035996</cx:pt>
          <cx:pt idx="34">3.1351082192197852</cx:pt>
          <cx:pt idx="35">3.1957076560828463</cx:pt>
          <cx:pt idx="36">3.2455269463201248</cx:pt>
          <cx:pt idx="37">3.2880552526116289</cx:pt>
          <cx:pt idx="38">3.3152274545059544</cx:pt>
          <cx:pt idx="39">3.2973429668077778</cx:pt>
          <cx:pt idx="40">3.2729573897718822</cx:pt>
          <cx:pt idx="41">3.2560311824202768</cx:pt>
          <cx:pt idx="42">3.2326202285102652</cx:pt>
          <cx:pt idx="43">3.2082985273695468</cx:pt>
          <cx:pt idx="44">3.1194549881200064</cx:pt>
          <cx:pt idx="45">3.0267268085841139</cx:pt>
          <cx:pt idx="46">2.8756596821642089</cx:pt>
          <cx:pt idx="47">2.7375017523261929</cx:pt>
          <cx:pt idx="48">2.5935841793959136</cx:pt>
          <cx:pt idx="49">2.4285217210060339</cx:pt>
          <cx:pt idx="50">2.2812875734014408</cx:pt>
          <cx:pt idx="51">2.0341035040468922</cx:pt>
        </cx:lvl>
      </cx:numDim>
    </cx:data>
    <cx:data id="6">
      <cx:numDim type="val">
        <cx:f>'DRT Rolling Stdev'!$R$2:$R$53</cx:f>
        <cx:lvl ptCount="52" formatCode="#,##0.00">
          <cx:pt idx="0">6.7017176793497866</cx:pt>
          <cx:pt idx="1">6.5931845313666742</cx:pt>
          <cx:pt idx="2">6.4540925856992617</cx:pt>
          <cx:pt idx="3">6.7194836434856899</cx:pt>
          <cx:pt idx="4">6.7363346292122834</cx:pt>
          <cx:pt idx="5">6.9193715516169885</cx:pt>
          <cx:pt idx="6">6.9168669874315256</cx:pt>
          <cx:pt idx="7">6.8255813278848168</cx:pt>
          <cx:pt idx="8">6.693763191190147</cx:pt>
          <cx:pt idx="9">6.7579899409644915</cx:pt>
          <cx:pt idx="10">6.798785535188693</cx:pt>
          <cx:pt idx="11">6.7138011913357687</cx:pt>
          <cx:pt idx="12">6.8201463139933143</cx:pt>
          <cx:pt idx="13">6.6403047515104632</cx:pt>
          <cx:pt idx="14">6.6887034663667082</cx:pt>
          <cx:pt idx="15">6.5954550243517236</cx:pt>
          <cx:pt idx="16">6.6094682380978726</cx:pt>
          <cx:pt idx="17">6.6013749931459706</cx:pt>
          <cx:pt idx="18">6.5603927992926385</cx:pt>
          <cx:pt idx="19">6.5980000769683205</cx:pt>
          <cx:pt idx="20">6.6010776313657145</cx:pt>
          <cx:pt idx="21">6.1562195414444263</cx:pt>
          <cx:pt idx="22">6.1620982413007823</cx:pt>
          <cx:pt idx="23">13.804215416183176</cx:pt>
          <cx:pt idx="24">18.410737994095275</cx:pt>
          <cx:pt idx="25">21.86385487717672</cx:pt>
          <cx:pt idx="26">24.617191698114919</cx:pt>
          <cx:pt idx="27">26.932859740274562</cx:pt>
          <cx:pt idx="28">28.732852096314367</cx:pt>
          <cx:pt idx="29">30.379354856249055</cx:pt>
          <cx:pt idx="30">31.818909775222433</cx:pt>
          <cx:pt idx="31">32.840490505805725</cx:pt>
          <cx:pt idx="32">33.634492088349234</cx:pt>
          <cx:pt idx="33">33.915092344607167</cx:pt>
          <cx:pt idx="34">33.977544319761115</cx:pt>
          <cx:pt idx="35">33.853991355414891</cx:pt>
          <cx:pt idx="36">33.775707470355343</cx:pt>
          <cx:pt idx="37">33.813832491860396</cx:pt>
          <cx:pt idx="38">33.725361861333319</cx:pt>
          <cx:pt idx="39">34.18087142133561</cx:pt>
          <cx:pt idx="40">34.592669071510272</cx:pt>
          <cx:pt idx="41">34.88653313754989</cx:pt>
          <cx:pt idx="42">35.366721378949286</cx:pt>
          <cx:pt idx="43">35.846069104944156</cx:pt>
          <cx:pt idx="44">36.132396212351559</cx:pt>
          <cx:pt idx="45">36.708872042006021</cx:pt>
          <cx:pt idx="46">37.000003830561624</cx:pt>
          <cx:pt idx="47">37.225328498076195</cx:pt>
          <cx:pt idx="48">37.565696209180523</cx:pt>
          <cx:pt idx="49">37.884744172032306</cx:pt>
          <cx:pt idx="50">38.258184088607315</cx:pt>
          <cx:pt idx="51">38.737927606451912</cx:pt>
        </cx:lvl>
      </cx:numDim>
    </cx:data>
  </cx:chartData>
  <cx:chart>
    <cx:title pos="t" align="ctr" overlay="0">
      <cx:tx>
        <cx:txData>
          <cx:v>Stdev pump failure=1</cx:v>
        </cx:txData>
      </cx:tx>
      <cx:txPr>
        <a:bodyPr spcFirstLastPara="1" vertOverflow="ellipsis" horzOverflow="overflow" wrap="square" lIns="0" tIns="0" rIns="0" bIns="0" anchor="ctr" anchorCtr="1"/>
        <a:lstStyle/>
        <a:p>
          <a:pPr algn="ctr" rtl="0">
            <a:defRPr b="1"/>
          </a:pPr>
          <a:r>
            <a:rPr lang="en-US" sz="1400" b="1" i="0" u="none" strike="noStrike" baseline="0">
              <a:solidFill>
                <a:sysClr val="windowText" lastClr="000000">
                  <a:lumMod val="65000"/>
                  <a:lumOff val="35000"/>
                </a:sysClr>
              </a:solidFill>
              <a:latin typeface="Calibri" panose="020F0502020204030204"/>
            </a:rPr>
            <a:t>Stdev pump failure=1</a:t>
          </a:r>
        </a:p>
      </cx:txPr>
    </cx:title>
    <cx:plotArea>
      <cx:plotAreaRegion>
        <cx:series layoutId="boxWhisker" uniqueId="{DD6C8BDB-F145-B94A-B3B0-0CA140C68CEB}">
          <cx:tx>
            <cx:txData>
              <cx:f>'DRT Rolling Stdev'!$L$1</cx:f>
              <cx:v>Volumetric Flow Meter 1</cx:v>
            </cx:txData>
          </cx:tx>
          <cx:dataId val="0"/>
          <cx:layoutPr>
            <cx:visibility meanLine="0" meanMarker="1" nonoutliers="0" outliers="1"/>
            <cx:statistics quartileMethod="exclusive"/>
          </cx:layoutPr>
        </cx:series>
        <cx:series layoutId="boxWhisker" uniqueId="{B8681A42-3F2D-644C-82F5-8CFA768B6751}">
          <cx:tx>
            <cx:txData>
              <cx:f>'DRT Rolling Stdev'!$M$1</cx:f>
              <cx:v>Volumetric Flow Meter 2</cx:v>
            </cx:txData>
          </cx:tx>
          <cx:dataId val="1"/>
          <cx:layoutPr>
            <cx:visibility meanLine="0" meanMarker="1" nonoutliers="0" outliers="1"/>
            <cx:statistics quartileMethod="exclusive"/>
          </cx:layoutPr>
        </cx:series>
        <cx:series layoutId="boxWhisker" uniqueId="{05051138-9549-6743-A08B-67F76DF168AE}">
          <cx:tx>
            <cx:txData>
              <cx:f>'DRT Rolling Stdev'!$N$1</cx:f>
              <cx:v>Pump Speed (RPM)</cx:v>
            </cx:txData>
          </cx:tx>
          <cx:dataId val="2"/>
          <cx:layoutPr>
            <cx:visibility meanLine="0" meanMarker="1" nonoutliers="0" outliers="1"/>
            <cx:statistics quartileMethod="exclusive"/>
          </cx:layoutPr>
        </cx:series>
        <cx:series layoutId="boxWhisker" uniqueId="{5F403B2D-910A-274C-B1C7-B00070B9F892}">
          <cx:tx>
            <cx:txData>
              <cx:f>'DRT Rolling Stdev'!$O$1</cx:f>
              <cx:v>Pump Torque </cx:v>
            </cx:txData>
          </cx:tx>
          <cx:dataId val="3"/>
          <cx:layoutPr>
            <cx:visibility meanLine="0" meanMarker="1" nonoutliers="0" outliers="1"/>
            <cx:statistics quartileMethod="exclusive"/>
          </cx:layoutPr>
        </cx:series>
        <cx:series layoutId="boxWhisker" uniqueId="{2EF6256E-7063-8942-AE65-F9277EC2A908}">
          <cx:tx>
            <cx:txData>
              <cx:f>'DRT Rolling Stdev'!$P$1</cx:f>
              <cx:v>Ambient Temperature</cx:v>
            </cx:txData>
          </cx:tx>
          <cx:dataId val="4"/>
          <cx:layoutPr>
            <cx:visibility meanLine="0" meanMarker="1" nonoutliers="0" outliers="1"/>
            <cx:statistics quartileMethod="exclusive"/>
          </cx:layoutPr>
        </cx:series>
        <cx:series layoutId="boxWhisker" uniqueId="{467C8768-64F4-6F4B-8524-4861E7F0E0E9}">
          <cx:tx>
            <cx:txData>
              <cx:f>'DRT Rolling Stdev'!$Q$1</cx:f>
              <cx:v>Horse Power</cx:v>
            </cx:txData>
          </cx:tx>
          <cx:dataId val="5"/>
          <cx:layoutPr>
            <cx:visibility meanLine="0" meanMarker="1" nonoutliers="0" outliers="1"/>
            <cx:statistics quartileMethod="exclusive"/>
          </cx:layoutPr>
        </cx:series>
        <cx:series layoutId="boxWhisker" uniqueId="{E3CE2E0C-8D14-294E-9EBA-CED0C777898E}">
          <cx:tx>
            <cx:txData>
              <cx:f>'DRT Rolling Stdev'!$R$1</cx:f>
              <cx:v>Pump Efficiency</cx:v>
            </cx:txData>
          </cx:tx>
          <cx:dataId val="6"/>
          <cx:layoutPr>
            <cx:visibility meanLine="0" meanMarker="1" nonoutliers="0" outliers="1"/>
            <cx:statistics quartileMethod="exclusive"/>
          </cx:layoutPr>
        </cx:series>
      </cx:plotAreaRegion>
      <cx:axis id="0">
        <cx:catScaling gapWidth="1"/>
        <cx:tickLabels/>
      </cx:axis>
      <cx:axis id="1">
        <cx:valScaling/>
        <cx:majorGridlines/>
        <cx:tickLabels/>
        <cx:txPr>
          <a:bodyPr spcFirstLastPara="1" vertOverflow="ellipsis" horzOverflow="overflow" wrap="square" lIns="0" tIns="0" rIns="0" bIns="0" anchor="ctr" anchorCtr="1"/>
          <a:lstStyle/>
          <a:p>
            <a:pPr algn="ctr" rtl="0">
              <a:defRPr b="1"/>
            </a:pPr>
            <a:endParaRPr lang="en-US" sz="900" b="1" i="0" u="none" strike="noStrike" baseline="0">
              <a:solidFill>
                <a:sysClr val="windowText" lastClr="000000">
                  <a:lumMod val="65000"/>
                  <a:lumOff val="35000"/>
                </a:sysClr>
              </a:solidFill>
              <a:latin typeface="Calibri" panose="020F0502020204030204"/>
            </a:endParaRPr>
          </a:p>
        </cx:txPr>
      </cx:axis>
    </cx:plotArea>
    <cx:legend pos="b" align="ctr" overlay="0">
      <cx:txPr>
        <a:bodyPr spcFirstLastPara="1" vertOverflow="ellipsis" horzOverflow="overflow" wrap="square" lIns="0" tIns="0" rIns="0" bIns="0" anchor="ctr" anchorCtr="1"/>
        <a:lstStyle/>
        <a:p>
          <a:pPr algn="ctr" rtl="0">
            <a:defRPr b="1"/>
          </a:pPr>
          <a:endParaRPr lang="en-US" sz="900" b="1" i="0" u="none" strike="noStrike" baseline="0">
            <a:solidFill>
              <a:sysClr val="windowText" lastClr="000000">
                <a:lumMod val="65000"/>
                <a:lumOff val="35000"/>
              </a:sysClr>
            </a:solidFill>
            <a:latin typeface="Calibri" panose="020F0502020204030204"/>
          </a:endParaRPr>
        </a:p>
      </cx:txPr>
    </cx:legend>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RT Rolling Mean'!$M$2:$M$53</cx:f>
        <cx:lvl ptCount="52" formatCode="#,##0.00">
          <cx:pt idx="0">39.913870967741936</cx:pt>
          <cx:pt idx="1">40.062258064516129</cx:pt>
          <cx:pt idx="2">40.114838709677414</cx:pt>
          <cx:pt idx="3">40.329354838709669</cx:pt>
          <cx:pt idx="4">40.317419354838705</cx:pt>
          <cx:pt idx="5">40.364193548387092</cx:pt>
          <cx:pt idx="6">40.219999999999999</cx:pt>
          <cx:pt idx="7">39.964193548387101</cx:pt>
          <cx:pt idx="8">39.702258064516137</cx:pt>
          <cx:pt idx="9">39.594838709677425</cx:pt>
          <cx:pt idx="10">39.562258064516136</cx:pt>
          <cx:pt idx="11">39.539999999999999</cx:pt>
          <cx:pt idx="12">39.509032258064515</cx:pt>
          <cx:pt idx="13">39.207096774193552</cx:pt>
          <cx:pt idx="14">39.008387096774186</cx:pt>
          <cx:pt idx="15">38.766129032258057</cx:pt>
          <cx:pt idx="16">38.671935483870968</cx:pt>
          <cx:pt idx="17">38.686129032258059</cx:pt>
          <cx:pt idx="18">38.656774193548387</cx:pt>
          <cx:pt idx="19">38.531612903225806</cx:pt>
          <cx:pt idx="20">38.483225806451607</cx:pt>
          <cx:pt idx="21">38.206451612903216</cx:pt>
          <cx:pt idx="22">36.960645161290316</cx:pt>
          <cx:pt idx="23">35.497096774193544</cx:pt>
          <cx:pt idx="24">34.36677419354838</cx:pt>
          <cx:pt idx="25">33.237419354838707</cx:pt>
          <cx:pt idx="26">32.027419354838713</cx:pt>
          <cx:pt idx="27">30.880967741935489</cx:pt>
          <cx:pt idx="28">29.557419354838718</cx:pt>
          <cx:pt idx="29">28.381935483870972</cx:pt>
          <cx:pt idx="30">27.249032258064521</cx:pt>
          <cx:pt idx="31">25.935161290322579</cx:pt>
          <cx:pt idx="32">24.615161290322582</cx:pt>
          <cx:pt idx="33">23.140645161290323</cx:pt>
          <cx:pt idx="34">21.673225806451615</cx:pt>
          <cx:pt idx="35">20.223870967741938</cx:pt>
          <cx:pt idx="36">18.884193548387099</cx:pt>
          <cx:pt idx="37">17.684838709677418</cx:pt>
          <cx:pt idx="38">17.801935483870967</cx:pt>
          <cx:pt idx="39">17.957096774193552</cx:pt>
          <cx:pt idx="40">18.107741935483872</cx:pt>
          <cx:pt idx="41">18.297741935483867</cx:pt>
          <cx:pt idx="42">18.507096774193549</cx:pt>
          <cx:pt idx="43">18.764193548387098</cx:pt>
          <cx:pt idx="44">18.919032258064515</cx:pt>
          <cx:pt idx="45">19.112580645161291</cx:pt>
          <cx:pt idx="46">19.274193548387096</cx:pt>
          <cx:pt idx="47">19.47258064516129</cx:pt>
          <cx:pt idx="48">19.545483870967736</cx:pt>
          <cx:pt idx="49">19.804516129032258</cx:pt>
          <cx:pt idx="50">19.907419354838709</cx:pt>
          <cx:pt idx="51">20.160322580645161</cx:pt>
        </cx:lvl>
      </cx:numDim>
    </cx:data>
    <cx:data id="1">
      <cx:numDim type="val">
        <cx:f>'DRT Rolling Mean'!$N$2:$N$53</cx:f>
        <cx:lvl ptCount="52" formatCode="#,##0.00">
          <cx:pt idx="0">40.378064516129037</cx:pt>
          <cx:pt idx="1">40.417096774193546</cx:pt>
          <cx:pt idx="2">40.458387096774196</cx:pt>
          <cx:pt idx="3">40.631290322580654</cx:pt>
          <cx:pt idx="4">40.317419354838712</cx:pt>
          <cx:pt idx="5">40.222258064516133</cx:pt>
          <cx:pt idx="6">40.155161290322589</cx:pt>
          <cx:pt idx="7">40.021612903225801</cx:pt>
          <cx:pt idx="8">39.927096774193544</cx:pt>
          <cx:pt idx="9">39.772580645161284</cx:pt>
          <cx:pt idx="10">39.548387096774185</cx:pt>
          <cx:pt idx="11">39.289677419354831</cx:pt>
          <cx:pt idx="12">38.940967741935481</cx:pt>
          <cx:pt idx="13">38.942580645161286</cx:pt>
          <cx:pt idx="14">38.714516129032255</cx:pt>
          <cx:pt idx="15">38.662580645161292</cx:pt>
          <cx:pt idx="16">38.505483870967744</cx:pt>
          <cx:pt idx="17">38.504838709677422</cx:pt>
          <cx:pt idx="18">38.539032258064523</cx:pt>
          <cx:pt idx="19">38.372580645161285</cx:pt>
          <cx:pt idx="20">38.285161290322577</cx:pt>
          <cx:pt idx="21">38.171290322580646</cx:pt>
          <cx:pt idx="22">36.985806451612902</cx:pt>
          <cx:pt idx="23">35.563870967741934</cx:pt>
          <cx:pt idx="24">34.410000000000004</cx:pt>
          <cx:pt idx="25">33.206129032258069</cx:pt>
          <cx:pt idx="26">31.753225806451614</cx:pt>
          <cx:pt idx="27">30.397419354838711</cx:pt>
          <cx:pt idx="28">29.000322580645165</cx:pt>
          <cx:pt idx="29">27.675483870967739</cx:pt>
          <cx:pt idx="30">26.269354838709678</cx:pt>
          <cx:pt idx="31">25.062903225806448</cx:pt>
          <cx:pt idx="32">23.877096774193546</cx:pt>
          <cx:pt idx="33">22.622580645161285</cx:pt>
          <cx:pt idx="34">21.262258064516129</cx:pt>
          <cx:pt idx="35">20.105483870967738</cx:pt>
          <cx:pt idx="36">18.894516129032255</cx:pt>
          <cx:pt idx="37">17.719677419354838</cx:pt>
          <cx:pt idx="38">17.88967741935484</cx:pt>
          <cx:pt idx="39">18.09225806451613</cx:pt>
          <cx:pt idx="40">18.239032258064519</cx:pt>
          <cx:pt idx="41">18.373870967741937</cx:pt>
          <cx:pt idx="42">18.58258064516129</cx:pt>
          <cx:pt idx="43">18.758709677419354</cx:pt>
          <cx:pt idx="44">18.963225806451611</cx:pt>
          <cx:pt idx="45">19.083548387096776</cx:pt>
          <cx:pt idx="46">19.273548387096771</cx:pt>
          <cx:pt idx="47">19.472258064516129</cx:pt>
          <cx:pt idx="48">19.59225806451613</cx:pt>
          <cx:pt idx="49">19.80290322580645</cx:pt>
          <cx:pt idx="50">20.085161290322585</cx:pt>
          <cx:pt idx="51">20.3441935483871</cx:pt>
        </cx:lvl>
      </cx:numDim>
    </cx:data>
    <cx:data id="2">
      <cx:numDim type="val">
        <cx:f>'DRT Rolling Mean'!$O$2:$O$53</cx:f>
        <cx:lvl ptCount="52" formatCode="#,##0.00">
          <cx:pt idx="0">105.87096774193549</cx:pt>
          <cx:pt idx="1">105.61290322580645</cx:pt>
          <cx:pt idx="2">105.61290322580645</cx:pt>
          <cx:pt idx="3">105.45161290322581</cx:pt>
          <cx:pt idx="4">105.45161290322581</cx:pt>
          <cx:pt idx="5">105.41935483870968</cx:pt>
          <cx:pt idx="6">105.19354838709677</cx:pt>
          <cx:pt idx="7">105.3225806451613</cx:pt>
          <cx:pt idx="8">105.61290322580645</cx:pt>
          <cx:pt idx="9">105.80645161290323</cx:pt>
          <cx:pt idx="10">105.80645161290323</cx:pt>
          <cx:pt idx="11">106.16129032258064</cx:pt>
          <cx:pt idx="12">106.51612903225806</cx:pt>
          <cx:pt idx="13">106.90322580645162</cx:pt>
          <cx:pt idx="14">107.2258064516129</cx:pt>
          <cx:pt idx="15">107.54838709677419</cx:pt>
          <cx:pt idx="16">107.87096774193549</cx:pt>
          <cx:pt idx="17">108.25806451612904</cx:pt>
          <cx:pt idx="18">108.90322580645162</cx:pt>
          <cx:pt idx="19">109.2258064516129</cx:pt>
          <cx:pt idx="20">109.93548387096774</cx:pt>
          <cx:pt idx="21">110.54838709677419</cx:pt>
          <cx:pt idx="22">107.2258064516129</cx:pt>
          <cx:pt idx="23">103.51612903225806</cx:pt>
          <cx:pt idx="24">100.29032258064517</cx:pt>
          <cx:pt idx="25">96.612903225806448</cx:pt>
          <cx:pt idx="26">93.354838709677423</cx:pt>
          <cx:pt idx="27">90</cx:pt>
          <cx:pt idx="28">86.709677419354833</cx:pt>
          <cx:pt idx="29">83.41935483870968</cx:pt>
          <cx:pt idx="30">80.225806451612897</cx:pt>
          <cx:pt idx="31">76.709677419354833</cx:pt>
          <cx:pt idx="32">73.483870967741936</cx:pt>
          <cx:pt idx="33">69.838709677419359</cx:pt>
          <cx:pt idx="34">66.387096774193552</cx:pt>
          <cx:pt idx="35">63.161290322580648</cx:pt>
          <cx:pt idx="36">59.70967741935484</cx:pt>
          <cx:pt idx="37">56.354838709677416</cx:pt>
          <cx:pt idx="38">55.87096774193548</cx:pt>
          <cx:pt idx="39">55.193548387096776</cx:pt>
          <cx:pt idx="40">54.774193548387096</cx:pt>
          <cx:pt idx="41">54.451612903225808</cx:pt>
          <cx:pt idx="42">53.645161290322584</cx:pt>
          <cx:pt idx="43">52.87096774193548</cx:pt>
          <cx:pt idx="44">52.258064516129032</cx:pt>
          <cx:pt idx="45">51.064516129032256</cx:pt>
          <cx:pt idx="46">49.935483870967744</cx:pt>
          <cx:pt idx="47">49.032258064516128</cx:pt>
          <cx:pt idx="48">47.87096774193548</cx:pt>
          <cx:pt idx="49">46.87096774193548</cx:pt>
          <cx:pt idx="50">45.58064516129032</cx:pt>
          <cx:pt idx="51">44.548387096774192</cx:pt>
        </cx:lvl>
      </cx:numDim>
    </cx:data>
    <cx:data id="3">
      <cx:numDim type="val">
        <cx:f>'DRT Rolling Mean'!$P$2:$P$53</cx:f>
        <cx:lvl ptCount="52" formatCode="#,##0.00">
          <cx:pt idx="0">235.19354838709677</cx:pt>
          <cx:pt idx="1">235.54838709677421</cx:pt>
          <cx:pt idx="2">235.93548387096774</cx:pt>
          <cx:pt idx="3">236.19354838709677</cx:pt>
          <cx:pt idx="4">236.19354838709677</cx:pt>
          <cx:pt idx="5">236.25806451612902</cx:pt>
          <cx:pt idx="6">236.48387096774192</cx:pt>
          <cx:pt idx="7">236.06451612903226</cx:pt>
          <cx:pt idx="8">235.67741935483872</cx:pt>
          <cx:pt idx="9">236.09677419354838</cx:pt>
          <cx:pt idx="10">236.06451612903226</cx:pt>
          <cx:pt idx="11">236.06451612903226</cx:pt>
          <cx:pt idx="12">236.29032258064515</cx:pt>
          <cx:pt idx="13">236.29032258064515</cx:pt>
          <cx:pt idx="14">236.80645161290323</cx:pt>
          <cx:pt idx="15">237.12903225806451</cx:pt>
          <cx:pt idx="16">237.41935483870967</cx:pt>
          <cx:pt idx="17">237.7741935483871</cx:pt>
          <cx:pt idx="18">238.19354838709677</cx:pt>
          <cx:pt idx="19">238.48387096774192</cx:pt>
          <cx:pt idx="20">239.09677419354838</cx:pt>
          <cx:pt idx="21">240.45161290322579</cx:pt>
          <cx:pt idx="22">232.67741935483872</cx:pt>
          <cx:pt idx="23">225.29032258064515</cx:pt>
          <cx:pt idx="24">217.67741935483872</cx:pt>
          <cx:pt idx="25">209.70967741935485</cx:pt>
          <cx:pt idx="26">202.03225806451613</cx:pt>
          <cx:pt idx="27">194.61290322580646</cx:pt>
          <cx:pt idx="28">187.48387096774192</cx:pt>
          <cx:pt idx="29">180</cx:pt>
          <cx:pt idx="30">172.83870967741936</cx:pt>
          <cx:pt idx="31">165.35483870967741</cx:pt>
          <cx:pt idx="32">157.45161290322579</cx:pt>
          <cx:pt idx="33">149.93548387096774</cx:pt>
          <cx:pt idx="34">141.90322580645162</cx:pt>
          <cx:pt idx="35">133.87096774193549</cx:pt>
          <cx:pt idx="36">126.19354838709677</cx:pt>
          <cx:pt idx="37">118.45161290322581</cx:pt>
          <cx:pt idx="38">116.83870967741936</cx:pt>
          <cx:pt idx="39">115.12903225806451</cx:pt>
          <cx:pt idx="40">114.12903225806451</cx:pt>
          <cx:pt idx="41">112.96774193548387</cx:pt>
          <cx:pt idx="42">112.45161290322581</cx:pt>
          <cx:pt idx="43">110.70967741935483</cx:pt>
          <cx:pt idx="44">109</cx:pt>
          <cx:pt idx="45">107.61290322580645</cx:pt>
          <cx:pt idx="46">105.51612903225806</cx:pt>
          <cx:pt idx="47">104.3225806451613</cx:pt>
          <cx:pt idx="48">102.96774193548387</cx:pt>
          <cx:pt idx="49">102.03225806451613</cx:pt>
          <cx:pt idx="50">100.90322580645162</cx:pt>
          <cx:pt idx="51">98.322580645161295</cx:pt>
        </cx:lvl>
      </cx:numDim>
    </cx:data>
    <cx:data id="4">
      <cx:numDim type="val">
        <cx:f>'DRT Rolling Mean'!$Q$2:$Q$53</cx:f>
        <cx:lvl ptCount="52" formatCode="#,##0.00">
          <cx:pt idx="0">56.451612903225808</cx:pt>
          <cx:pt idx="1">56.483870967741936</cx:pt>
          <cx:pt idx="2">56.58064516129032</cx:pt>
          <cx:pt idx="3">56.58064516129032</cx:pt>
          <cx:pt idx="4">56.677419354838712</cx:pt>
          <cx:pt idx="5">56.774193548387096</cx:pt>
          <cx:pt idx="6">56.741935483870968</cx:pt>
          <cx:pt idx="7">56.741935483870968</cx:pt>
          <cx:pt idx="8">56.70967741935484</cx:pt>
          <cx:pt idx="9">56.741935483870968</cx:pt>
          <cx:pt idx="10">56.677419354838712</cx:pt>
          <cx:pt idx="11">56.774193548387096</cx:pt>
          <cx:pt idx="12">56.935483870967744</cx:pt>
          <cx:pt idx="13">57.225806451612904</cx:pt>
          <cx:pt idx="14">57.41935483870968</cx:pt>
          <cx:pt idx="15">57.70967741935484</cx:pt>
          <cx:pt idx="16">57.774193548387096</cx:pt>
          <cx:pt idx="17">57.87096774193548</cx:pt>
          <cx:pt idx="18">58.161290322580648</cx:pt>
          <cx:pt idx="19">58.193548387096776</cx:pt>
          <cx:pt idx="20">58.41935483870968</cx:pt>
          <cx:pt idx="21">58.58064516129032</cx:pt>
          <cx:pt idx="22">56.774193548387096</cx:pt>
          <cx:pt idx="23">54.903225806451616</cx:pt>
          <cx:pt idx="24">53.161290322580648</cx:pt>
          <cx:pt idx="25">51.258064516129032</cx:pt>
          <cx:pt idx="26">49.354838709677416</cx:pt>
          <cx:pt idx="27">47.451612903225808</cx:pt>
          <cx:pt idx="28">45.645161290322584</cx:pt>
          <cx:pt idx="29">43.903225806451616</cx:pt>
          <cx:pt idx="30">42.12903225806452</cx:pt>
          <cx:pt idx="31">40.354838709677416</cx:pt>
          <cx:pt idx="32">38.483870967741936</cx:pt>
          <cx:pt idx="33">36.645161290322584</cx:pt>
          <cx:pt idx="34">34.741935483870968</cx:pt>
          <cx:pt idx="35">32.838709677419352</cx:pt>
          <cx:pt idx="36">30.93548387096774</cx:pt>
          <cx:pt idx="37">29.06451612903226</cx:pt>
          <cx:pt idx="38">28.70967741935484</cx:pt>
          <cx:pt idx="39">28.387096774193548</cx:pt>
          <cx:pt idx="40">28.225806451612904</cx:pt>
          <cx:pt idx="41">27.967741935483872</cx:pt>
          <cx:pt idx="42">27.870967741935484</cx:pt>
          <cx:pt idx="43">27.70967741935484</cx:pt>
          <cx:pt idx="44">27.258064516129032</cx:pt>
          <cx:pt idx="45">26.64516129032258</cx:pt>
          <cx:pt idx="46">26.06451612903226</cx:pt>
          <cx:pt idx="47">25.806451612903224</cx:pt>
          <cx:pt idx="48">25.387096774193548</cx:pt>
          <cx:pt idx="49">24.967741935483872</cx:pt>
          <cx:pt idx="50">24.677419354838708</cx:pt>
          <cx:pt idx="51">24.129032258064516</cx:pt>
        </cx:lvl>
      </cx:numDim>
    </cx:data>
    <cx:data id="5">
      <cx:numDim type="val">
        <cx:f>'DRT Rolling Mean'!$R$2:$R$53</cx:f>
        <cx:lvl ptCount="52" formatCode="#,##0.00">
          <cx:pt idx="0">4.7414932560253549</cx:pt>
          <cx:pt idx="1">4.7367515907918341</cx:pt>
          <cx:pt idx="2">4.7450802152175511</cx:pt>
          <cx:pt idx="3">4.7429366385770093</cx:pt>
          <cx:pt idx="4">4.7429366385770102</cx:pt>
          <cx:pt idx="5">4.742801513401961</cx:pt>
          <cx:pt idx="6">4.7372552391715601</cx:pt>
          <cx:pt idx="7">4.734374616121662</cx:pt>
          <cx:pt idx="8">4.7398103333906594</cx:pt>
          <cx:pt idx="9">4.7570142249956993</cx:pt>
          <cx:pt idx="10">4.7563508832272801</cx:pt>
          <cx:pt idx="11">4.772295653883007</cx:pt>
          <cx:pt idx="12">4.792601282460752</cx:pt>
          <cx:pt idx="13">4.8540463847873614</cx:pt>
          <cx:pt idx="14">4.9228650222342321</cx:pt>
          <cx:pt idx="15">4.994333955728079</cx:pt>
          <cx:pt idx="16">5.0619641058398637</cx:pt>
          <cx:pt idx="17">5.1338691251259103</cx:pt>
          <cx:pt idx="18">5.2181672726826021</cx:pt>
          <cx:pt idx="19">5.2824745718988773</cx:pt>
          <cx:pt idx="20">5.3777884922487278</cx:pt>
          <cx:pt idx="21">5.4826333439795585</cx:pt>
          <cx:pt idx="22">5.3301691521509458</cx:pt>
          <cx:pt idx="23">5.1684181755644536</cx:pt>
          <cx:pt idx="24">5.0234657150578572</cx:pt>
          <cx:pt idx="25">4.8505177751025705</cx:pt>
          <cx:pt idx="26">4.7028750952018266</cx:pt>
          <cx:pt idx="27">4.5559571776036147</cx:pt>
          <cx:pt idx="28">4.4175030096061709</cx:pt>
          <cx:pt idx="29">4.272157457681252</cx:pt>
          <cx:pt idx="30">4.1371674078077776</cx:pt>
          <cx:pt idx="31">3.9818471611429138</cx:pt>
          <cx:pt idx="32">3.8313668525661506</cx:pt>
          <cx:pt idx="33">3.6696527283001252</cx:pt>
          <cx:pt idx="34">3.5060099992629543</cx:pt>
          <cx:pt idx="35">3.353072869321672</cx:pt>
          <cx:pt idx="36">3.1966593371495962</cx:pt>
          <cx:pt idx="37">3.0433536840036362</cx:pt>
          <cx:pt idx="38">2.9914226224111244</cx:pt>
          <cx:pt idx="39">2.9323974891285656</cx:pt>
          <cx:pt idx="40">2.8945931503820361</cx:pt>
          <cx:pt idx="41">2.8582444782939835</cx:pt>
          <cx:pt idx="42">2.8132600791096478</cx:pt>
          <cx:pt idx="43">2.7487685182910346</cx:pt>
          <cx:pt idx="44">2.6452564921504558</cx:pt>
          <cx:pt idx="45">2.5260238803036641</cx:pt>
          <cx:pt idx="46">2.3867159668820488</cx:pt>
          <cx:pt idx="47">2.276472250202688</cx:pt>
          <cx:pt idx="48">2.1531336756504431</cx:pt>
          <cx:pt idx="49">2.0441813257008081</cx:pt>
          <cx:pt idx="50">1.9250869100557697</cx:pt>
          <cx:pt idx="51">1.7815640124806524</cx:pt>
        </cx:lvl>
      </cx:numDim>
    </cx:data>
    <cx:data id="6">
      <cx:numDim type="val">
        <cx:f>'DRT Rolling Mean'!$S$2:$S$53</cx:f>
        <cx:lvl ptCount="52" formatCode="#,##0.00">
          <cx:pt idx="0">72.570674486803526</cx:pt>
          <cx:pt idx="1">72.840469208211161</cx:pt>
          <cx:pt idx="2">72.936070381231687</cx:pt>
          <cx:pt idx="3">73.32609970674487</cx:pt>
          <cx:pt idx="4">73.304398826979465</cx:pt>
          <cx:pt idx="5">73.389442815249254</cx:pt>
          <cx:pt idx="6">73.127272727272725</cx:pt>
          <cx:pt idx="7">72.662170087976534</cx:pt>
          <cx:pt idx="8">72.185923753665691</cx:pt>
          <cx:pt idx="9">71.99061583577712</cx:pt>
          <cx:pt idx="10">71.93137829912024</cx:pt>
          <cx:pt idx="11">71.890909090909091</cx:pt>
          <cx:pt idx="12">71.834604105571856</cx:pt>
          <cx:pt idx="13">71.28563049853372</cx:pt>
          <cx:pt idx="14">70.924340175953077</cx:pt>
          <cx:pt idx="15">70.483870967741936</cx:pt>
          <cx:pt idx="16">70.312609970674487</cx:pt>
          <cx:pt idx="17">70.338416422287381</cx:pt>
          <cx:pt idx="18">70.285043988269791</cx:pt>
          <cx:pt idx="19">70.057478005865079</cx:pt>
          <cx:pt idx="20">69.969501466275645</cx:pt>
          <cx:pt idx="21">69.466275659824035</cx:pt>
          <cx:pt idx="22">67.201173020527847</cx:pt>
          <cx:pt idx="23">64.540175953079171</cx:pt>
          <cx:pt idx="24">62.485043988269794</cx:pt>
          <cx:pt idx="25">60.431671554252205</cx:pt>
          <cx:pt idx="26">58.231671554252209</cx:pt>
          <cx:pt idx="27">56.14721407624635</cx:pt>
          <cx:pt idx="28">53.74076246334311</cx:pt>
          <cx:pt idx="29">51.603519061583576</cx:pt>
          <cx:pt idx="30">49.543695014662759</cx:pt>
          <cx:pt idx="31">47.154838709677428</cx:pt>
          <cx:pt idx="32">44.754838709677422</cx:pt>
          <cx:pt idx="33">42.073900293255129</cx:pt>
          <cx:pt idx="34">39.405865102639297</cx:pt>
          <cx:pt idx="35">36.770674486803514</cx:pt>
          <cx:pt idx="36">34.334897360703806</cx:pt>
          <cx:pt idx="37">32.154252199413492</cx:pt>
          <cx:pt idx="38">32.512609970674482</cx:pt>
          <cx:pt idx="39">32.849853372434012</cx:pt>
          <cx:pt idx="40">33.105571847507328</cx:pt>
          <cx:pt idx="41">33.383577712609977</cx:pt>
          <cx:pt idx="42">33.836950146627565</cx:pt>
          <cx:pt idx="43">34.111436950146626</cx:pt>
          <cx:pt idx="44">34.575366568914951</cx:pt>
          <cx:pt idx="45">34.920234604105573</cx:pt>
          <cx:pt idx="46">35.202932551319648</cx:pt>
          <cx:pt idx="47">35.508504398826979</cx:pt>
          <cx:pt idx="48">35.693841642228747</cx:pt>
          <cx:pt idx="49">36.146041055718477</cx:pt>
          <cx:pt idx="50">36.531964809384164</cx:pt>
          <cx:pt idx="51">37.006451612903227</cx:pt>
        </cx:lvl>
      </cx:numDim>
    </cx:data>
  </cx:chartData>
  <cx:chart>
    <cx:title pos="t" align="ctr" overlay="0">
      <cx:tx>
        <cx:txData>
          <cx:v>Mean pump failure =1</cx:v>
        </cx:txData>
      </cx:tx>
      <cx:txPr>
        <a:bodyPr spcFirstLastPara="1" vertOverflow="ellipsis" horzOverflow="overflow" wrap="square" lIns="0" tIns="0" rIns="0" bIns="0" anchor="ctr" anchorCtr="1"/>
        <a:lstStyle/>
        <a:p>
          <a:pPr algn="ctr" rtl="0">
            <a:defRPr b="1"/>
          </a:pPr>
          <a:r>
            <a:rPr lang="en-US" sz="1400" b="1" i="0" u="none" strike="noStrike" baseline="0">
              <a:solidFill>
                <a:sysClr val="windowText" lastClr="000000">
                  <a:lumMod val="65000"/>
                  <a:lumOff val="35000"/>
                </a:sysClr>
              </a:solidFill>
              <a:latin typeface="Calibri" panose="020F0502020204030204"/>
            </a:rPr>
            <a:t>Mean pump failure =1</a:t>
          </a:r>
        </a:p>
      </cx:txPr>
    </cx:title>
    <cx:plotArea>
      <cx:plotAreaRegion>
        <cx:series layoutId="boxWhisker" uniqueId="{BB5F21D5-7DB3-B64D-8B2C-926AFA7C8FFF}">
          <cx:tx>
            <cx:txData>
              <cx:f>'DRT Rolling Mean'!$M$1</cx:f>
              <cx:v>Volumetric Flow Meter 1</cx:v>
            </cx:txData>
          </cx:tx>
          <cx:dataId val="0"/>
          <cx:layoutPr>
            <cx:visibility meanLine="0" meanMarker="1" nonoutliers="0" outliers="1"/>
            <cx:statistics quartileMethod="exclusive"/>
          </cx:layoutPr>
        </cx:series>
        <cx:series layoutId="boxWhisker" uniqueId="{B6C5FFE3-94B3-7B44-924D-30412370DE32}">
          <cx:tx>
            <cx:txData>
              <cx:f>'DRT Rolling Mean'!$N$1</cx:f>
              <cx:v>Volumetric Flow Meter 2</cx:v>
            </cx:txData>
          </cx:tx>
          <cx:dataId val="1"/>
          <cx:layoutPr>
            <cx:visibility meanLine="0" meanMarker="1" nonoutliers="0" outliers="1"/>
            <cx:statistics quartileMethod="exclusive"/>
          </cx:layoutPr>
        </cx:series>
        <cx:series layoutId="boxWhisker" uniqueId="{24ECB7D0-B2B9-2F42-8736-F9706F837699}">
          <cx:tx>
            <cx:txData>
              <cx:f>'DRT Rolling Mean'!$O$1</cx:f>
              <cx:v>Pump Speed (RPM)</cx:v>
            </cx:txData>
          </cx:tx>
          <cx:dataId val="2"/>
          <cx:layoutPr>
            <cx:visibility meanLine="0" meanMarker="1" nonoutliers="0" outliers="1"/>
            <cx:statistics quartileMethod="exclusive"/>
          </cx:layoutPr>
        </cx:series>
        <cx:series layoutId="boxWhisker" uniqueId="{8BD4A161-9CBB-354B-8365-BD9ADEFA5EDA}">
          <cx:tx>
            <cx:txData>
              <cx:f>'DRT Rolling Mean'!$P$1</cx:f>
              <cx:v>Pump Torque </cx:v>
            </cx:txData>
          </cx:tx>
          <cx:dataId val="3"/>
          <cx:layoutPr>
            <cx:visibility meanLine="0" meanMarker="1" nonoutliers="0" outliers="1"/>
            <cx:statistics quartileMethod="exclusive"/>
          </cx:layoutPr>
        </cx:series>
        <cx:series layoutId="boxWhisker" uniqueId="{55DC56E7-9E1E-BA46-89F9-746B2FD5D49E}">
          <cx:tx>
            <cx:txData>
              <cx:f>'DRT Rolling Mean'!$Q$1</cx:f>
              <cx:v>Ambient Temperature</cx:v>
            </cx:txData>
          </cx:tx>
          <cx:dataId val="4"/>
          <cx:layoutPr>
            <cx:visibility meanLine="0" meanMarker="1" nonoutliers="0" outliers="1"/>
            <cx:statistics quartileMethod="exclusive"/>
          </cx:layoutPr>
        </cx:series>
        <cx:series layoutId="boxWhisker" uniqueId="{E0E1BFF7-82E9-A641-982A-2ADA2AFA5FF5}">
          <cx:tx>
            <cx:txData>
              <cx:f>'DRT Rolling Mean'!$R$1</cx:f>
              <cx:v>Horse Power</cx:v>
            </cx:txData>
          </cx:tx>
          <cx:dataId val="5"/>
          <cx:layoutPr>
            <cx:visibility meanLine="0" meanMarker="1" nonoutliers="0" outliers="1"/>
            <cx:statistics quartileMethod="exclusive"/>
          </cx:layoutPr>
        </cx:series>
        <cx:series layoutId="boxWhisker" uniqueId="{708FE17E-2672-A84D-905B-47D1A9A4E8FA}">
          <cx:tx>
            <cx:txData>
              <cx:f>'DRT Rolling Mean'!$S$1</cx:f>
              <cx:v>Pump Efficiency</cx:v>
            </cx:txData>
          </cx:tx>
          <cx:dataId val="6"/>
          <cx:layoutPr>
            <cx:visibility meanLine="0" meanMarker="1" nonoutliers="0" outliers="1"/>
            <cx:statistics quartileMethod="exclusive"/>
          </cx:layoutPr>
        </cx:series>
      </cx:plotAreaRegion>
      <cx:axis id="0">
        <cx:catScaling gapWidth="1"/>
        <cx:tickLabels/>
      </cx:axis>
      <cx:axis id="1">
        <cx:valScaling/>
        <cx:majorGridlines/>
        <cx:tickLabels/>
        <cx:txPr>
          <a:bodyPr spcFirstLastPara="1" vertOverflow="ellipsis" horzOverflow="overflow" wrap="square" lIns="0" tIns="0" rIns="0" bIns="0" anchor="ctr" anchorCtr="1"/>
          <a:lstStyle/>
          <a:p>
            <a:pPr algn="ctr" rtl="0">
              <a:defRPr b="1"/>
            </a:pPr>
            <a:endParaRPr lang="en-US" sz="900" b="1" i="0" u="none" strike="noStrike" baseline="0">
              <a:solidFill>
                <a:sysClr val="windowText" lastClr="000000">
                  <a:lumMod val="65000"/>
                  <a:lumOff val="35000"/>
                </a:sysClr>
              </a:solidFill>
              <a:latin typeface="Calibri" panose="020F0502020204030204"/>
            </a:endParaRPr>
          </a:p>
        </cx:txPr>
      </cx:axis>
    </cx:plotArea>
    <cx:legend pos="b" align="ctr" overlay="0">
      <cx:txPr>
        <a:bodyPr spcFirstLastPara="1" vertOverflow="ellipsis" horzOverflow="overflow" wrap="square" lIns="0" tIns="0" rIns="0" bIns="0" anchor="ctr" anchorCtr="1"/>
        <a:lstStyle/>
        <a:p>
          <a:pPr algn="ctr" rtl="0">
            <a:defRPr b="1"/>
          </a:pPr>
          <a:endParaRPr lang="en-US" sz="900" b="1" i="0" u="none" strike="noStrike" baseline="0">
            <a:solidFill>
              <a:sysClr val="windowText" lastClr="000000">
                <a:lumMod val="65000"/>
                <a:lumOff val="35000"/>
              </a:sysClr>
            </a:solidFill>
            <a:latin typeface="Calibri" panose="020F0502020204030204"/>
          </a:endParaRPr>
        </a:p>
      </cx:txPr>
    </cx:legend>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1/4/2022</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7"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3"/>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theme" Target="../theme/theme1.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oleObject" Target="../embeddings/oleObject1.bin"/><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vmlDrawing" Target="../drawings/vmlDrawing1.v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3"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6"/>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7"/>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1"/>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8"/>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9"/>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9"/>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7"/>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10"/>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5"/>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1"/>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3"/>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image" Target="../media/image3.png"/><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3" Type="http://schemas.microsoft.com/office/2014/relationships/chartEx" Target="../charts/chartEx2.xml"/><Relationship Id="rId2" Type="http://schemas.openxmlformats.org/officeDocument/2006/relationships/image" Target="../media/image5.png"/><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23248"/>
          </a:xfrm>
        </p:spPr>
        <p:txBody>
          <a:bodyPr/>
          <a:lstStyle/>
          <a:p>
            <a:pPr algn="just"/>
            <a:r>
              <a:rPr lang="en-GB" sz="1350" b="1" dirty="0"/>
              <a:t>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a:t>
            </a:r>
            <a:endParaRPr lang="en-AU" sz="135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886AAF85-948B-4B7E-9992-F6813CD2E6D1}"/>
              </a:ext>
            </a:extLst>
          </p:cNvPr>
          <p:cNvSpPr/>
          <p:nvPr/>
        </p:nvSpPr>
        <p:spPr>
          <a:xfrm>
            <a:off x="303213" y="1238975"/>
            <a:ext cx="3665537" cy="4524315"/>
          </a:xfrm>
          <a:prstGeom prst="rect">
            <a:avLst/>
          </a:prstGeom>
        </p:spPr>
        <p:txBody>
          <a:bodyPr wrap="square">
            <a:spAutoFit/>
          </a:bodyPr>
          <a:lstStyle/>
          <a:p>
            <a:pPr lvl="0">
              <a:defRPr/>
            </a:pPr>
            <a:r>
              <a:rPr lang="en-AU" sz="1200" b="1" dirty="0"/>
              <a:t>The first slide we want to show is our overall conclusion showcasing that we have been able to effectively create a multivariate regressive equation that models Pump Failure.</a:t>
            </a:r>
          </a:p>
          <a:p>
            <a:pPr lvl="0">
              <a:defRPr/>
            </a:pPr>
            <a:br>
              <a:rPr lang="en-AU" sz="1200" b="1" dirty="0"/>
            </a:br>
            <a:r>
              <a:rPr lang="en-AU" sz="1200" b="1" dirty="0"/>
              <a:t>On this slide, we would like you to show two charts:</a:t>
            </a:r>
            <a:br>
              <a:rPr lang="en-AU" sz="1200" b="1" dirty="0"/>
            </a:br>
            <a:r>
              <a:rPr lang="en-AU" sz="1200" b="1" dirty="0"/>
              <a:t>A) Using a line-series chart, show the Multivariate Regression Equation Values you’ve developed versus the Pump Failure (1 or 0)</a:t>
            </a:r>
          </a:p>
          <a:p>
            <a:pPr lvl="0">
              <a:defRPr/>
            </a:pPr>
            <a:endParaRPr lang="en-AU" sz="1200" b="1" dirty="0"/>
          </a:p>
          <a:p>
            <a:pPr lvl="0">
              <a:defRPr/>
            </a:pPr>
            <a:r>
              <a:rPr lang="en-AU" sz="1200" b="1" dirty="0"/>
              <a:t>B) Using a Column Chart, show the correlations ranked from highest-to-lowest for the Rolling Standard Deviation Dataset</a:t>
            </a:r>
          </a:p>
          <a:p>
            <a:pPr lvl="0">
              <a:defRPr/>
            </a:pPr>
            <a:endParaRPr lang="en-AU" sz="1200" b="1" dirty="0"/>
          </a:p>
          <a:p>
            <a:r>
              <a:rPr lang="en-AU" sz="1200" b="1" dirty="0"/>
              <a:t>Hint: The Chart you’ve created for the Inferential Statistics Tab, Q8 may be helpful. </a:t>
            </a:r>
          </a:p>
          <a:p>
            <a:endParaRPr lang="en-AU" sz="1200" b="1" dirty="0"/>
          </a:p>
          <a:p>
            <a:r>
              <a:rPr lang="en-AU" sz="1200" b="1" dirty="0"/>
              <a:t>You’ve created the chart for B) in Q6 so feel free to re-use this.</a:t>
            </a:r>
          </a:p>
          <a:p>
            <a:endParaRPr lang="en-AU" sz="1200" b="1" dirty="0"/>
          </a:p>
          <a:p>
            <a:r>
              <a:rPr lang="en-AU" sz="1200" b="1" dirty="0"/>
              <a:t>We’ve included an example on the right for the line chart and what it </a:t>
            </a:r>
            <a:r>
              <a:rPr lang="en-AU" sz="1200" b="1" i="1" dirty="0"/>
              <a:t>may</a:t>
            </a:r>
            <a:r>
              <a:rPr lang="en-AU" sz="1200" b="1" dirty="0"/>
              <a:t> look like.</a:t>
            </a:r>
          </a:p>
          <a:p>
            <a:endParaRPr lang="en-AU" sz="1200" b="1" dirty="0"/>
          </a:p>
        </p:txBody>
      </p:sp>
      <p:sp>
        <p:nvSpPr>
          <p:cNvPr id="4" name="TextBox 3">
            <a:extLst>
              <a:ext uri="{FF2B5EF4-FFF2-40B4-BE49-F238E27FC236}">
                <a16:creationId xmlns:a16="http://schemas.microsoft.com/office/drawing/2014/main" id="{57086ECD-9D9E-4DB0-8C88-272D3613C8FF}"/>
              </a:ext>
            </a:extLst>
          </p:cNvPr>
          <p:cNvSpPr txBox="1"/>
          <p:nvPr/>
        </p:nvSpPr>
        <p:spPr>
          <a:xfrm>
            <a:off x="171450" y="6409372"/>
            <a:ext cx="7841061" cy="253916"/>
          </a:xfrm>
          <a:prstGeom prst="rect">
            <a:avLst/>
          </a:prstGeom>
          <a:noFill/>
        </p:spPr>
        <p:txBody>
          <a:bodyPr wrap="square" rtlCol="0">
            <a:spAutoFit/>
          </a:bodyPr>
          <a:lstStyle/>
          <a:p>
            <a:r>
              <a:rPr lang="en-AU" sz="1050" b="1" i="1" dirty="0"/>
              <a:t>Note: We’ve included a sample headline for you – you can feel free to use this or modify this as you see fit</a:t>
            </a:r>
          </a:p>
        </p:txBody>
      </p:sp>
      <p:graphicFrame>
        <p:nvGraphicFramePr>
          <p:cNvPr id="10" name="Chart 9">
            <a:extLst>
              <a:ext uri="{FF2B5EF4-FFF2-40B4-BE49-F238E27FC236}">
                <a16:creationId xmlns:a16="http://schemas.microsoft.com/office/drawing/2014/main" id="{B01BDFEC-DCFD-3048-89B4-A8E459C0BBF3}"/>
              </a:ext>
            </a:extLst>
          </p:cNvPr>
          <p:cNvGraphicFramePr>
            <a:graphicFrameLocks/>
          </p:cNvGraphicFramePr>
          <p:nvPr>
            <p:extLst>
              <p:ext uri="{D42A27DB-BD31-4B8C-83A1-F6EECF244321}">
                <p14:modId xmlns:p14="http://schemas.microsoft.com/office/powerpoint/2010/main" val="3092101683"/>
              </p:ext>
            </p:extLst>
          </p:nvPr>
        </p:nvGraphicFramePr>
        <p:xfrm>
          <a:off x="3990533" y="1238975"/>
          <a:ext cx="4667692" cy="452431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A7AB03BE-96D2-2645-8091-0EF12FCF5DA7}"/>
              </a:ext>
            </a:extLst>
          </p:cNvPr>
          <p:cNvGraphicFramePr>
            <a:graphicFrameLocks/>
          </p:cNvGraphicFramePr>
          <p:nvPr>
            <p:extLst>
              <p:ext uri="{D42A27DB-BD31-4B8C-83A1-F6EECF244321}">
                <p14:modId xmlns:p14="http://schemas.microsoft.com/office/powerpoint/2010/main" val="2436323847"/>
              </p:ext>
            </p:extLst>
          </p:nvPr>
        </p:nvGraphicFramePr>
        <p:xfrm>
          <a:off x="85060" y="604838"/>
          <a:ext cx="8771861" cy="544508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3682973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escriptive Analysis has enabled us to clearly identify particular signature abnormalities showing clear signature changes in both Rolling Standard Deviation and Rolling Mean Datasets when observed over the respective failure period of interest.  </a:t>
            </a:r>
            <a:endParaRPr lang="en-AU" sz="1400" b="1" dirty="0"/>
          </a:p>
        </p:txBody>
      </p:sp>
      <p:cxnSp>
        <p:nvCxnSpPr>
          <p:cNvPr id="11" name="Straight Connector 10">
            <a:extLst>
              <a:ext uri="{FF2B5EF4-FFF2-40B4-BE49-F238E27FC236}">
                <a16:creationId xmlns:a16="http://schemas.microsoft.com/office/drawing/2014/main" id="{127E7470-E6FC-4CAE-AD2E-B0610F36C081}"/>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4D93FEF-20B3-4938-A65F-A142F4B92D1C}"/>
              </a:ext>
            </a:extLst>
          </p:cNvPr>
          <p:cNvSpPr txBox="1"/>
          <p:nvPr/>
        </p:nvSpPr>
        <p:spPr>
          <a:xfrm>
            <a:off x="171450" y="6409372"/>
            <a:ext cx="7841061" cy="253916"/>
          </a:xfrm>
          <a:prstGeom prst="rect">
            <a:avLst/>
          </a:prstGeom>
          <a:noFill/>
        </p:spPr>
        <p:txBody>
          <a:bodyPr wrap="square" rtlCol="0">
            <a:spAutoFit/>
          </a:bodyPr>
          <a:lstStyle/>
          <a:p>
            <a:r>
              <a:rPr lang="en-AU" sz="1050" b="1" i="1" dirty="0"/>
              <a:t>Note: We’ve included a sample headline for you – you can feel free to use this or modify this as you see fit</a:t>
            </a:r>
          </a:p>
        </p:txBody>
      </p:sp>
      <p:sp>
        <p:nvSpPr>
          <p:cNvPr id="7" name="Rectangle 6">
            <a:extLst>
              <a:ext uri="{FF2B5EF4-FFF2-40B4-BE49-F238E27FC236}">
                <a16:creationId xmlns:a16="http://schemas.microsoft.com/office/drawing/2014/main" id="{548FD5B0-4E40-45F1-A00B-B3459082779A}"/>
              </a:ext>
            </a:extLst>
          </p:cNvPr>
          <p:cNvSpPr/>
          <p:nvPr/>
        </p:nvSpPr>
        <p:spPr>
          <a:xfrm>
            <a:off x="303214" y="1238975"/>
            <a:ext cx="1483056" cy="5447645"/>
          </a:xfrm>
          <a:prstGeom prst="rect">
            <a:avLst/>
          </a:prstGeom>
        </p:spPr>
        <p:txBody>
          <a:bodyPr wrap="square">
            <a:spAutoFit/>
          </a:bodyPr>
          <a:lstStyle/>
          <a:p>
            <a:pPr lvl="0">
              <a:defRPr/>
            </a:pPr>
            <a:r>
              <a:rPr lang="en-AU" sz="1200" b="1" dirty="0"/>
              <a:t>The second slide now is starting to illustrate our story further. We will transition from Descriptive Statistics through to Inferential.</a:t>
            </a:r>
          </a:p>
          <a:p>
            <a:pPr lvl="0">
              <a:defRPr/>
            </a:pPr>
            <a:endParaRPr lang="en-AU" sz="1200" b="1" dirty="0"/>
          </a:p>
          <a:p>
            <a:pPr lvl="0">
              <a:defRPr/>
            </a:pPr>
            <a:r>
              <a:rPr lang="en-AU" sz="1200" b="1" dirty="0"/>
              <a:t>On this slide, we would like you to show two charts:</a:t>
            </a:r>
            <a:br>
              <a:rPr lang="en-AU" sz="1200" b="1" dirty="0"/>
            </a:br>
            <a:r>
              <a:rPr lang="en-AU" sz="1200" b="1" dirty="0"/>
              <a:t>A) Rolling Standard Deviation Plot</a:t>
            </a:r>
          </a:p>
          <a:p>
            <a:pPr lvl="0">
              <a:defRPr/>
            </a:pPr>
            <a:r>
              <a:rPr lang="en-AU" sz="1200" b="1" dirty="0"/>
              <a:t>B) Rolling Mean Plot</a:t>
            </a:r>
          </a:p>
          <a:p>
            <a:pPr lvl="0">
              <a:defRPr/>
            </a:pPr>
            <a:endParaRPr lang="en-AU" sz="1200" b="1" dirty="0"/>
          </a:p>
          <a:p>
            <a:pPr lvl="0">
              <a:defRPr/>
            </a:pPr>
            <a:endParaRPr lang="en-AU" sz="1200" b="1" dirty="0"/>
          </a:p>
          <a:p>
            <a:r>
              <a:rPr lang="en-AU" sz="1200" b="1" dirty="0"/>
              <a:t>Hint: The Chart you’ve created for the Descriptive Statistics Tab, Q3 may be helpful to complete this exercise. </a:t>
            </a:r>
          </a:p>
          <a:p>
            <a:endParaRPr lang="en-AU" sz="1200" b="1" dirty="0"/>
          </a:p>
          <a:p>
            <a:endParaRPr lang="en-AU" sz="1200" b="1" dirty="0"/>
          </a:p>
        </p:txBody>
      </p:sp>
      <p:graphicFrame>
        <p:nvGraphicFramePr>
          <p:cNvPr id="9" name="Chart 8">
            <a:extLst>
              <a:ext uri="{FF2B5EF4-FFF2-40B4-BE49-F238E27FC236}">
                <a16:creationId xmlns:a16="http://schemas.microsoft.com/office/drawing/2014/main" id="{F5C12800-3B90-3C40-8FDA-0D79CCB11869}"/>
              </a:ext>
            </a:extLst>
          </p:cNvPr>
          <p:cNvGraphicFramePr>
            <a:graphicFrameLocks/>
          </p:cNvGraphicFramePr>
          <p:nvPr>
            <p:extLst>
              <p:ext uri="{D42A27DB-BD31-4B8C-83A1-F6EECF244321}">
                <p14:modId xmlns:p14="http://schemas.microsoft.com/office/powerpoint/2010/main" val="1316838409"/>
              </p:ext>
            </p:extLst>
          </p:nvPr>
        </p:nvGraphicFramePr>
        <p:xfrm>
          <a:off x="1918034" y="1158964"/>
          <a:ext cx="6647480" cy="499728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677186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52EF05D3-CC1E-194A-9D79-58824DABDBC3}"/>
              </a:ext>
            </a:extLst>
          </p:cNvPr>
          <p:cNvGraphicFramePr>
            <a:graphicFrameLocks/>
          </p:cNvGraphicFramePr>
          <p:nvPr>
            <p:extLst>
              <p:ext uri="{D42A27DB-BD31-4B8C-83A1-F6EECF244321}">
                <p14:modId xmlns:p14="http://schemas.microsoft.com/office/powerpoint/2010/main" val="1889598519"/>
              </p:ext>
            </p:extLst>
          </p:nvPr>
        </p:nvGraphicFramePr>
        <p:xfrm>
          <a:off x="765544" y="636533"/>
          <a:ext cx="7618185" cy="544840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871197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Further segmentation of the data via binary means (Pump Failure = 0 or 1) illustrated through Box and whisker Plots, show a clear signature difference between that of normal behaviour and that of Failure with Pump Torque, Pump speed, Pump Efficiency showing the 3 largest variances.</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9AF51E9D-06DF-490B-AEE8-64E63CDAFBD8}"/>
              </a:ext>
            </a:extLst>
          </p:cNvPr>
          <p:cNvSpPr/>
          <p:nvPr/>
        </p:nvSpPr>
        <p:spPr>
          <a:xfrm>
            <a:off x="303214" y="1238975"/>
            <a:ext cx="2535680" cy="5632311"/>
          </a:xfrm>
          <a:prstGeom prst="rect">
            <a:avLst/>
          </a:prstGeom>
        </p:spPr>
        <p:txBody>
          <a:bodyPr wrap="square">
            <a:spAutoFit/>
          </a:bodyPr>
          <a:lstStyle/>
          <a:p>
            <a:pPr lvl="0">
              <a:defRPr/>
            </a:pPr>
            <a:r>
              <a:rPr lang="en-AU" sz="1200" b="1" dirty="0"/>
              <a:t>The third slide will illustrate how we have made use of descriptive statistics plot to identify which variables have exhibited the largest overall variances. </a:t>
            </a:r>
          </a:p>
          <a:p>
            <a:pPr lvl="0">
              <a:defRPr/>
            </a:pPr>
            <a:endParaRPr lang="en-AU" sz="1200" b="1" dirty="0"/>
          </a:p>
          <a:p>
            <a:pPr lvl="0">
              <a:defRPr/>
            </a:pPr>
            <a:r>
              <a:rPr lang="en-AU" sz="1200" b="1" dirty="0"/>
              <a:t>On this slide, we would like you to show four charts:</a:t>
            </a:r>
            <a:br>
              <a:rPr lang="en-AU" sz="1200" b="1" dirty="0"/>
            </a:br>
            <a:r>
              <a:rPr lang="en-AU" sz="1200" b="1" dirty="0"/>
              <a:t>A) Rolling Standard Deviation Plot (Pump Failure = 1)</a:t>
            </a:r>
          </a:p>
          <a:p>
            <a:pPr lvl="0">
              <a:defRPr/>
            </a:pPr>
            <a:r>
              <a:rPr lang="en-AU" sz="1200" b="1" dirty="0"/>
              <a:t>B) Rolling Standard Deviation Plot (Pump Failure = 0) </a:t>
            </a:r>
          </a:p>
          <a:p>
            <a:pPr lvl="0">
              <a:defRPr/>
            </a:pPr>
            <a:r>
              <a:rPr lang="en-AU" sz="1200" b="1" dirty="0"/>
              <a:t>C) Rolling Mean Plot (Pump Failure = 1)</a:t>
            </a:r>
          </a:p>
          <a:p>
            <a:pPr lvl="0">
              <a:defRPr/>
            </a:pPr>
            <a:r>
              <a:rPr lang="en-AU" sz="1200" b="1" dirty="0"/>
              <a:t>D) Rolling Mean Plot (Pump Failure = 0) </a:t>
            </a:r>
          </a:p>
          <a:p>
            <a:pPr lvl="0">
              <a:defRPr/>
            </a:pPr>
            <a:endParaRPr lang="en-AU" sz="1200" b="1" dirty="0"/>
          </a:p>
          <a:p>
            <a:pPr lvl="0">
              <a:defRPr/>
            </a:pPr>
            <a:endParaRPr lang="en-AU" sz="1200" b="1" dirty="0"/>
          </a:p>
          <a:p>
            <a:r>
              <a:rPr lang="en-AU" sz="1200" b="1" dirty="0"/>
              <a:t>Hint: The Chart you’ve created for the Descriptive Statistics Tab, Q4 may be helpful to complete this exercise. </a:t>
            </a:r>
          </a:p>
          <a:p>
            <a:endParaRPr lang="en-AU" sz="1200" b="1" dirty="0"/>
          </a:p>
          <a:p>
            <a:r>
              <a:rPr lang="en-AU" sz="1200" b="1" dirty="0"/>
              <a:t>We’ve included an example of what the descriptive statistics plots might look like on the right.</a:t>
            </a:r>
          </a:p>
          <a:p>
            <a:endParaRPr lang="en-AU" sz="1200" b="1" dirty="0"/>
          </a:p>
          <a:p>
            <a:endParaRPr lang="en-AU" sz="1200" b="1" dirty="0"/>
          </a:p>
        </p:txBody>
      </p:sp>
      <p:sp>
        <p:nvSpPr>
          <p:cNvPr id="7" name="TextBox 6">
            <a:extLst>
              <a:ext uri="{FF2B5EF4-FFF2-40B4-BE49-F238E27FC236}">
                <a16:creationId xmlns:a16="http://schemas.microsoft.com/office/drawing/2014/main" id="{226E5207-9197-48D6-B5F6-50575C4A336F}"/>
              </a:ext>
            </a:extLst>
          </p:cNvPr>
          <p:cNvSpPr txBox="1"/>
          <p:nvPr/>
        </p:nvSpPr>
        <p:spPr>
          <a:xfrm>
            <a:off x="171450" y="6409372"/>
            <a:ext cx="7841061" cy="253916"/>
          </a:xfrm>
          <a:prstGeom prst="rect">
            <a:avLst/>
          </a:prstGeom>
          <a:noFill/>
        </p:spPr>
        <p:txBody>
          <a:bodyPr wrap="square" rtlCol="0">
            <a:spAutoFit/>
          </a:bodyPr>
          <a:lstStyle/>
          <a:p>
            <a:r>
              <a:rPr lang="en-AU" sz="1050" b="1" i="1" dirty="0"/>
              <a:t>Note: We’ve included a sample headline for you – you can feel free to use this or modify this as you see fit</a:t>
            </a:r>
          </a:p>
        </p:txBody>
      </p:sp>
      <p:pic>
        <p:nvPicPr>
          <p:cNvPr id="8" name="Picture 7">
            <a:extLst>
              <a:ext uri="{FF2B5EF4-FFF2-40B4-BE49-F238E27FC236}">
                <a16:creationId xmlns:a16="http://schemas.microsoft.com/office/drawing/2014/main" id="{BB791456-9AC7-1546-8866-49D38E99D7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79742" y="1126243"/>
            <a:ext cx="4972728" cy="2637976"/>
          </a:xfrm>
          <a:prstGeom prst="rect">
            <a:avLst/>
          </a:prstGeom>
        </p:spPr>
      </p:pic>
      <mc:AlternateContent xmlns:mc="http://schemas.openxmlformats.org/markup-compatibility/2006" xmlns:cx1="http://schemas.microsoft.com/office/drawing/2015/9/8/chartex">
        <mc:Choice Requires="cx1">
          <p:graphicFrame>
            <p:nvGraphicFramePr>
              <p:cNvPr id="9" name="Chart 8">
                <a:extLst>
                  <a:ext uri="{FF2B5EF4-FFF2-40B4-BE49-F238E27FC236}">
                    <a16:creationId xmlns:a16="http://schemas.microsoft.com/office/drawing/2014/main" id="{790619A6-202D-7E46-A25C-207C071E833E}"/>
                  </a:ext>
                </a:extLst>
              </p:cNvPr>
              <p:cNvGraphicFramePr/>
              <p:nvPr>
                <p:extLst>
                  <p:ext uri="{D42A27DB-BD31-4B8C-83A1-F6EECF244321}">
                    <p14:modId xmlns:p14="http://schemas.microsoft.com/office/powerpoint/2010/main" val="2651571871"/>
                  </p:ext>
                </p:extLst>
              </p:nvPr>
            </p:nvGraphicFramePr>
            <p:xfrm>
              <a:off x="3679742" y="3793767"/>
              <a:ext cx="5050466" cy="2615605"/>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9" name="Chart 8">
                <a:extLst>
                  <a:ext uri="{FF2B5EF4-FFF2-40B4-BE49-F238E27FC236}">
                    <a16:creationId xmlns:a16="http://schemas.microsoft.com/office/drawing/2014/main" id="{790619A6-202D-7E46-A25C-207C071E833E}"/>
                  </a:ext>
                </a:extLst>
              </p:cNvPr>
              <p:cNvPicPr>
                <a:picLocks noGrp="1" noRot="1" noChangeAspect="1" noMove="1" noResize="1" noEditPoints="1" noAdjustHandles="1" noChangeArrowheads="1" noChangeShapeType="1"/>
              </p:cNvPicPr>
              <p:nvPr/>
            </p:nvPicPr>
            <p:blipFill>
              <a:blip r:embed="rId4"/>
              <a:stretch>
                <a:fillRect/>
              </a:stretch>
            </p:blipFill>
            <p:spPr>
              <a:xfrm>
                <a:off x="3679742" y="3793767"/>
                <a:ext cx="5050466" cy="2615605"/>
              </a:xfrm>
              <a:prstGeom prst="rect">
                <a:avLst/>
              </a:prstGeom>
            </p:spPr>
          </p:pic>
        </mc:Fallback>
      </mc:AlternateContent>
    </p:spTree>
    <p:extLst>
      <p:ext uri="{BB962C8B-B14F-4D97-AF65-F5344CB8AC3E}">
        <p14:creationId xmlns:p14="http://schemas.microsoft.com/office/powerpoint/2010/main" val="28442866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DCB248A-70F8-1449-8A6F-C283BBA7B4E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47219" y="120341"/>
            <a:ext cx="5425719" cy="2781444"/>
          </a:xfrm>
          <a:prstGeom prst="rect">
            <a:avLst/>
          </a:prstGeom>
        </p:spPr>
      </p:pic>
      <mc:AlternateContent xmlns:mc="http://schemas.openxmlformats.org/markup-compatibility/2006" xmlns:cx1="http://schemas.microsoft.com/office/drawing/2015/9/8/chartex">
        <mc:Choice Requires="cx1">
          <p:graphicFrame>
            <p:nvGraphicFramePr>
              <p:cNvPr id="4" name="Chart 3">
                <a:extLst>
                  <a:ext uri="{FF2B5EF4-FFF2-40B4-BE49-F238E27FC236}">
                    <a16:creationId xmlns:a16="http://schemas.microsoft.com/office/drawing/2014/main" id="{1A427959-FA3E-554C-A1BF-13E9A317265D}"/>
                  </a:ext>
                </a:extLst>
              </p:cNvPr>
              <p:cNvGraphicFramePr/>
              <p:nvPr>
                <p:extLst>
                  <p:ext uri="{D42A27DB-BD31-4B8C-83A1-F6EECF244321}">
                    <p14:modId xmlns:p14="http://schemas.microsoft.com/office/powerpoint/2010/main" val="3779031405"/>
                  </p:ext>
                </p:extLst>
              </p:nvPr>
            </p:nvGraphicFramePr>
            <p:xfrm>
              <a:off x="1347219" y="3008111"/>
              <a:ext cx="5649005" cy="3456485"/>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4" name="Chart 3">
                <a:extLst>
                  <a:ext uri="{FF2B5EF4-FFF2-40B4-BE49-F238E27FC236}">
                    <a16:creationId xmlns:a16="http://schemas.microsoft.com/office/drawing/2014/main" id="{1A427959-FA3E-554C-A1BF-13E9A317265D}"/>
                  </a:ext>
                </a:extLst>
              </p:cNvPr>
              <p:cNvPicPr>
                <a:picLocks noGrp="1" noRot="1" noChangeAspect="1" noMove="1" noResize="1" noEditPoints="1" noAdjustHandles="1" noChangeArrowheads="1" noChangeShapeType="1"/>
              </p:cNvPicPr>
              <p:nvPr/>
            </p:nvPicPr>
            <p:blipFill>
              <a:blip r:embed="rId4"/>
              <a:stretch>
                <a:fillRect/>
              </a:stretch>
            </p:blipFill>
            <p:spPr>
              <a:xfrm>
                <a:off x="1347219" y="3008111"/>
                <a:ext cx="5649005" cy="3456485"/>
              </a:xfrm>
              <a:prstGeom prst="rect">
                <a:avLst/>
              </a:prstGeom>
            </p:spPr>
          </p:pic>
        </mc:Fallback>
      </mc:AlternateContent>
    </p:spTree>
    <p:extLst>
      <p:ext uri="{BB962C8B-B14F-4D97-AF65-F5344CB8AC3E}">
        <p14:creationId xmlns:p14="http://schemas.microsoft.com/office/powerpoint/2010/main" val="14060410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50BAF-2454-4B5F-A0FE-F4B4B997D8FF}"/>
              </a:ext>
            </a:extLst>
          </p:cNvPr>
          <p:cNvSpPr>
            <a:spLocks noGrp="1"/>
          </p:cNvSpPr>
          <p:nvPr>
            <p:ph type="title"/>
          </p:nvPr>
        </p:nvSpPr>
        <p:spPr>
          <a:xfrm>
            <a:off x="171450" y="38049"/>
            <a:ext cx="8618537" cy="861774"/>
          </a:xfrm>
        </p:spPr>
        <p:txBody>
          <a:bodyPr/>
          <a:lstStyle/>
          <a:p>
            <a:pPr algn="just"/>
            <a:r>
              <a:rPr lang="en-AU" sz="1400" b="1" dirty="0"/>
              <a:t>Correlation analyses across datasets yield interesting insights with Volumetric Flow meter and Pump Efficiency negatively correlated with Pump Failure in the Rolling Mean  Data, whilst Volumetric Flow meter and Pump Efficiency show a subsequently strong positive correlation in the Rolling </a:t>
            </a:r>
            <a:r>
              <a:rPr lang="en-AU" sz="1400" b="1" dirty="0" err="1"/>
              <a:t>Stdev</a:t>
            </a:r>
            <a:r>
              <a:rPr lang="en-AU" sz="1400" b="1" dirty="0"/>
              <a:t>  Dataset. </a:t>
            </a:r>
          </a:p>
        </p:txBody>
      </p:sp>
      <p:cxnSp>
        <p:nvCxnSpPr>
          <p:cNvPr id="7" name="Straight Connector 6">
            <a:extLst>
              <a:ext uri="{FF2B5EF4-FFF2-40B4-BE49-F238E27FC236}">
                <a16:creationId xmlns:a16="http://schemas.microsoft.com/office/drawing/2014/main" id="{FF7B0642-27F1-4360-B160-74B9D15E0003}"/>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38AE4384-3887-4990-8552-96D5AB244392}"/>
              </a:ext>
            </a:extLst>
          </p:cNvPr>
          <p:cNvSpPr/>
          <p:nvPr/>
        </p:nvSpPr>
        <p:spPr>
          <a:xfrm>
            <a:off x="303213" y="1238976"/>
            <a:ext cx="2737699" cy="5447645"/>
          </a:xfrm>
          <a:prstGeom prst="rect">
            <a:avLst/>
          </a:prstGeom>
        </p:spPr>
        <p:txBody>
          <a:bodyPr wrap="square">
            <a:spAutoFit/>
          </a:bodyPr>
          <a:lstStyle/>
          <a:p>
            <a:pPr lvl="0">
              <a:defRPr/>
            </a:pPr>
            <a:r>
              <a:rPr lang="en-AU" sz="1200" b="1" dirty="0"/>
              <a:t>The fourth slide will illustrate how we have made use of inferential statistics to identify which variables have exhibited the largest correlation spreads. </a:t>
            </a:r>
          </a:p>
          <a:p>
            <a:pPr lvl="0">
              <a:defRPr/>
            </a:pPr>
            <a:endParaRPr lang="en-AU" sz="1200" b="1" dirty="0"/>
          </a:p>
          <a:p>
            <a:pPr lvl="0">
              <a:defRPr/>
            </a:pPr>
            <a:r>
              <a:rPr lang="en-AU" sz="1200" b="1" dirty="0"/>
              <a:t>On this slide, we would like you to show three charts.</a:t>
            </a:r>
          </a:p>
          <a:p>
            <a:pPr lvl="0">
              <a:defRPr/>
            </a:pPr>
            <a:r>
              <a:rPr lang="en-AU" sz="1200" b="1" dirty="0"/>
              <a:t>A) Raw Dataset Correlation against Pump Failure </a:t>
            </a:r>
          </a:p>
          <a:p>
            <a:pPr lvl="0">
              <a:defRPr/>
            </a:pPr>
            <a:r>
              <a:rPr lang="en-AU" sz="1200" b="1" dirty="0"/>
              <a:t>B) Rolling Mean Dataset Correlation against Pump Failure </a:t>
            </a:r>
          </a:p>
          <a:p>
            <a:pPr>
              <a:defRPr/>
            </a:pPr>
            <a:r>
              <a:rPr lang="en-AU" sz="1200" b="1" dirty="0"/>
              <a:t>C) Rolling Standard Deviation Dataset Correlation against Pump Failure </a:t>
            </a:r>
          </a:p>
          <a:p>
            <a:r>
              <a:rPr lang="en-AU" sz="1200" b="1" dirty="0"/>
              <a:t>Hint: The Correlation Heatmap’s you’ve created in Q5 on the Inferential Tab will be very helpful for this question. Don’t forget to reference the ‘Pump Failure (1 or 0)’ row for specifically the correlations related to this.</a:t>
            </a:r>
          </a:p>
          <a:p>
            <a:endParaRPr lang="en-AU" sz="1200" b="1" dirty="0"/>
          </a:p>
          <a:p>
            <a:r>
              <a:rPr lang="en-AU" sz="1200" b="1" dirty="0"/>
              <a:t>We’ve included an example of what the correlation plot for one of the datasets might look like for your reference. </a:t>
            </a:r>
          </a:p>
          <a:p>
            <a:endParaRPr lang="en-AU" sz="1200" b="1" dirty="0"/>
          </a:p>
          <a:p>
            <a:endParaRPr lang="en-AU" sz="1200" b="1" dirty="0"/>
          </a:p>
        </p:txBody>
      </p:sp>
      <p:sp>
        <p:nvSpPr>
          <p:cNvPr id="6" name="TextBox 5">
            <a:extLst>
              <a:ext uri="{FF2B5EF4-FFF2-40B4-BE49-F238E27FC236}">
                <a16:creationId xmlns:a16="http://schemas.microsoft.com/office/drawing/2014/main" id="{4A968194-61AD-4C31-A189-FF4A210F4FA3}"/>
              </a:ext>
            </a:extLst>
          </p:cNvPr>
          <p:cNvSpPr txBox="1"/>
          <p:nvPr/>
        </p:nvSpPr>
        <p:spPr>
          <a:xfrm>
            <a:off x="171450" y="6409372"/>
            <a:ext cx="7841061" cy="253916"/>
          </a:xfrm>
          <a:prstGeom prst="rect">
            <a:avLst/>
          </a:prstGeom>
          <a:noFill/>
        </p:spPr>
        <p:txBody>
          <a:bodyPr wrap="square" rtlCol="0">
            <a:spAutoFit/>
          </a:bodyPr>
          <a:lstStyle/>
          <a:p>
            <a:r>
              <a:rPr lang="en-AU" sz="1050" b="1" i="1" dirty="0"/>
              <a:t>Note: We’ve included a sample headline for you – you can feel free to use this or modify this as you see fit</a:t>
            </a:r>
          </a:p>
        </p:txBody>
      </p:sp>
      <p:graphicFrame>
        <p:nvGraphicFramePr>
          <p:cNvPr id="8" name="Chart 7">
            <a:extLst>
              <a:ext uri="{FF2B5EF4-FFF2-40B4-BE49-F238E27FC236}">
                <a16:creationId xmlns:a16="http://schemas.microsoft.com/office/drawing/2014/main" id="{E0222171-9AE9-8F41-9972-AC4B4B42F77E}"/>
              </a:ext>
            </a:extLst>
          </p:cNvPr>
          <p:cNvGraphicFramePr>
            <a:graphicFrameLocks/>
          </p:cNvGraphicFramePr>
          <p:nvPr>
            <p:extLst>
              <p:ext uri="{D42A27DB-BD31-4B8C-83A1-F6EECF244321}">
                <p14:modId xmlns:p14="http://schemas.microsoft.com/office/powerpoint/2010/main" val="618958180"/>
              </p:ext>
            </p:extLst>
          </p:nvPr>
        </p:nvGraphicFramePr>
        <p:xfrm>
          <a:off x="3306726" y="1090127"/>
          <a:ext cx="5589588" cy="476839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231640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1C0BCD20-B297-BF4E-967F-052BC869933F}"/>
              </a:ext>
            </a:extLst>
          </p:cNvPr>
          <p:cNvGraphicFramePr>
            <a:graphicFrameLocks/>
          </p:cNvGraphicFramePr>
          <p:nvPr>
            <p:extLst>
              <p:ext uri="{D42A27DB-BD31-4B8C-83A1-F6EECF244321}">
                <p14:modId xmlns:p14="http://schemas.microsoft.com/office/powerpoint/2010/main" val="2075427605"/>
              </p:ext>
            </p:extLst>
          </p:nvPr>
        </p:nvGraphicFramePr>
        <p:xfrm>
          <a:off x="1872193" y="183688"/>
          <a:ext cx="5379212" cy="294228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38C16D05-57D8-3548-9F91-5C53FEC44490}"/>
              </a:ext>
            </a:extLst>
          </p:cNvPr>
          <p:cNvGraphicFramePr>
            <a:graphicFrameLocks/>
          </p:cNvGraphicFramePr>
          <p:nvPr>
            <p:extLst>
              <p:ext uri="{D42A27DB-BD31-4B8C-83A1-F6EECF244321}">
                <p14:modId xmlns:p14="http://schemas.microsoft.com/office/powerpoint/2010/main" val="675398150"/>
              </p:ext>
            </p:extLst>
          </p:nvPr>
        </p:nvGraphicFramePr>
        <p:xfrm>
          <a:off x="1872193" y="3777495"/>
          <a:ext cx="5613128" cy="276029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6467625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22670"/>
            <a:ext cx="8737599" cy="1061827"/>
          </a:xfrm>
        </p:spPr>
        <p:txBody>
          <a:bodyPr/>
          <a:lstStyle/>
          <a:p>
            <a:r>
              <a:rPr lang="en-GB" sz="1400" b="1" dirty="0"/>
              <a:t>Lastly, analysis of the model fit reveals that with a R Squared of 78%, a linear model is a good fit for the data with variables Horse Power, Pump Efficiency and Volumetric Flow Meter 1 having the largest coefficients, indicative that these variables have the most immediate relationship with respect to Pump Failure behaviour. </a:t>
            </a:r>
            <a:endParaRPr lang="en-AU" sz="14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3349F53E-88E6-4D79-9588-9BEAF3EEC79C}"/>
              </a:ext>
            </a:extLst>
          </p:cNvPr>
          <p:cNvSpPr/>
          <p:nvPr/>
        </p:nvSpPr>
        <p:spPr>
          <a:xfrm>
            <a:off x="501035" y="4575147"/>
            <a:ext cx="8196398" cy="2123658"/>
          </a:xfrm>
          <a:prstGeom prst="rect">
            <a:avLst/>
          </a:prstGeom>
        </p:spPr>
        <p:txBody>
          <a:bodyPr wrap="square">
            <a:spAutoFit/>
          </a:bodyPr>
          <a:lstStyle/>
          <a:p>
            <a:pPr lvl="0">
              <a:defRPr/>
            </a:pPr>
            <a:r>
              <a:rPr lang="en-AU" sz="1200" b="1" dirty="0"/>
              <a:t>The fifth and final slide will close out our story and showcase how we have identified which variables have the highest regression coefficients in our Multivariate Linear Regression Model.</a:t>
            </a:r>
          </a:p>
          <a:p>
            <a:pPr lvl="0">
              <a:defRPr/>
            </a:pPr>
            <a:endParaRPr lang="en-AU" sz="1200" b="1" dirty="0"/>
          </a:p>
          <a:p>
            <a:pPr lvl="0">
              <a:defRPr/>
            </a:pPr>
            <a:r>
              <a:rPr lang="en-AU" sz="1200" b="1" dirty="0"/>
              <a:t>On this slide, we would like you to show one char:</a:t>
            </a:r>
          </a:p>
          <a:p>
            <a:pPr lvl="0">
              <a:defRPr/>
            </a:pPr>
            <a:endParaRPr lang="en-AU" sz="1200" b="1" dirty="0"/>
          </a:p>
          <a:p>
            <a:pPr marL="228600" lvl="0" indent="-228600">
              <a:buAutoNum type="alphaUcParenR"/>
              <a:defRPr/>
            </a:pPr>
            <a:r>
              <a:rPr lang="en-AU" sz="1200" b="1" dirty="0"/>
              <a:t>Create a column-chart from the Multivariate Regression which shows the Regression Coefficients ordered from highest to lowest (i.e. The variable with the largest co-efficient has the highest rate-of-change with respect to Pump Failure)</a:t>
            </a:r>
          </a:p>
          <a:p>
            <a:pPr lvl="0">
              <a:defRPr/>
            </a:pPr>
            <a:endParaRPr lang="en-AU" sz="1200" b="1" dirty="0"/>
          </a:p>
          <a:p>
            <a:r>
              <a:rPr lang="en-AU" sz="1200" b="1" dirty="0"/>
              <a:t>Hint: Reference Q9 that you’ve completed in the Assignment to close out this presentation.</a:t>
            </a:r>
          </a:p>
          <a:p>
            <a:endParaRPr lang="en-AU" sz="1200" b="1" dirty="0"/>
          </a:p>
        </p:txBody>
      </p:sp>
      <p:graphicFrame>
        <p:nvGraphicFramePr>
          <p:cNvPr id="6" name="Chart 5">
            <a:extLst>
              <a:ext uri="{FF2B5EF4-FFF2-40B4-BE49-F238E27FC236}">
                <a16:creationId xmlns:a16="http://schemas.microsoft.com/office/drawing/2014/main" id="{98EC192D-B5A3-F04A-93E5-783F1472518A}"/>
              </a:ext>
            </a:extLst>
          </p:cNvPr>
          <p:cNvGraphicFramePr>
            <a:graphicFrameLocks/>
          </p:cNvGraphicFramePr>
          <p:nvPr>
            <p:extLst>
              <p:ext uri="{D42A27DB-BD31-4B8C-83A1-F6EECF244321}">
                <p14:modId xmlns:p14="http://schemas.microsoft.com/office/powerpoint/2010/main" val="754697442"/>
              </p:ext>
            </p:extLst>
          </p:nvPr>
        </p:nvGraphicFramePr>
        <p:xfrm>
          <a:off x="501035" y="1084498"/>
          <a:ext cx="7686035" cy="334927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6676576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523</TotalTime>
  <Words>948</Words>
  <Application>Microsoft Macintosh PowerPoint</Application>
  <PresentationFormat>Custom</PresentationFormat>
  <Paragraphs>63</Paragraphs>
  <Slides>9</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3" baseType="lpstr">
      <vt:lpstr>Arial</vt:lpstr>
      <vt:lpstr>Calibri</vt:lpstr>
      <vt:lpstr>1_Synergy_CF_YNR013</vt:lpstr>
      <vt:lpstr>think-cell Slide</vt:lpstr>
      <vt:lpstr>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vt:lpstr>
      <vt:lpstr>PowerPoint Presentation</vt:lpstr>
      <vt:lpstr>Descriptive Analysis has enabled us to clearly identify particular signature abnormalities showing clear signature changes in both Rolling Standard Deviation and Rolling Mean Datasets when observed over the respective failure period of interest.  </vt:lpstr>
      <vt:lpstr>PowerPoint Presentation</vt:lpstr>
      <vt:lpstr>Further segmentation of the data via binary means (Pump Failure = 0 or 1) illustrated through Box and whisker Plots, show a clear signature difference between that of normal behaviour and that of Failure with Pump Torque, Pump speed, Pump Efficiency showing the 3 largest variances.</vt:lpstr>
      <vt:lpstr>PowerPoint Presentation</vt:lpstr>
      <vt:lpstr>Correlation analyses across datasets yield interesting insights with Volumetric Flow meter and Pump Efficiency negatively correlated with Pump Failure in the Rolling Mean  Data, whilst Volumetric Flow meter and Pump Efficiency show a subsequently strong positive correlation in the Rolling Stdev  Dataset. </vt:lpstr>
      <vt:lpstr>PowerPoint Presentation</vt:lpstr>
      <vt:lpstr>Lastly, analysis of the model fit reveals that with a R Squared of 78%, a linear model is a good fit for the data with variables Horse Power, Pump Efficiency and Volumetric Flow Meter 1 having the largest coefficients, indicative that these variables have the most immediate relationship with respect to Pump Failure behaviou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divya.bastola20@gmail.com</cp:lastModifiedBy>
  <cp:revision>88</cp:revision>
  <dcterms:created xsi:type="dcterms:W3CDTF">2020-04-12T13:23:13Z</dcterms:created>
  <dcterms:modified xsi:type="dcterms:W3CDTF">2022-04-01T21:59:39Z</dcterms:modified>
</cp:coreProperties>
</file>